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55"/>
  </p:notesMasterIdLst>
  <p:handoutMasterIdLst>
    <p:handoutMasterId r:id="rId56"/>
  </p:handoutMasterIdLst>
  <p:sldIdLst>
    <p:sldId id="4289" r:id="rId2"/>
    <p:sldId id="4273" r:id="rId3"/>
    <p:sldId id="4457" r:id="rId4"/>
    <p:sldId id="4270" r:id="rId5"/>
    <p:sldId id="4293" r:id="rId6"/>
    <p:sldId id="4312" r:id="rId7"/>
    <p:sldId id="4313" r:id="rId8"/>
    <p:sldId id="4456" r:id="rId9"/>
    <p:sldId id="4300" r:id="rId10"/>
    <p:sldId id="4315" r:id="rId11"/>
    <p:sldId id="4304" r:id="rId12"/>
    <p:sldId id="4305" r:id="rId13"/>
    <p:sldId id="4458" r:id="rId14"/>
    <p:sldId id="4459" r:id="rId15"/>
    <p:sldId id="4335" r:id="rId16"/>
    <p:sldId id="4460" r:id="rId17"/>
    <p:sldId id="4463" r:id="rId18"/>
    <p:sldId id="4461" r:id="rId19"/>
    <p:sldId id="4462" r:id="rId20"/>
    <p:sldId id="4478" r:id="rId21"/>
    <p:sldId id="4486" r:id="rId22"/>
    <p:sldId id="4487" r:id="rId23"/>
    <p:sldId id="4489" r:id="rId24"/>
    <p:sldId id="4490" r:id="rId25"/>
    <p:sldId id="4317" r:id="rId26"/>
    <p:sldId id="4336" r:id="rId27"/>
    <p:sldId id="656" r:id="rId28"/>
    <p:sldId id="3416" r:id="rId29"/>
    <p:sldId id="4453" r:id="rId30"/>
    <p:sldId id="4454" r:id="rId31"/>
    <p:sldId id="4479" r:id="rId32"/>
    <p:sldId id="4477" r:id="rId33"/>
    <p:sldId id="4323" r:id="rId34"/>
    <p:sldId id="4455" r:id="rId35"/>
    <p:sldId id="4464" r:id="rId36"/>
    <p:sldId id="4488" r:id="rId37"/>
    <p:sldId id="4466" r:id="rId38"/>
    <p:sldId id="4465" r:id="rId39"/>
    <p:sldId id="4480" r:id="rId40"/>
    <p:sldId id="4467" r:id="rId41"/>
    <p:sldId id="4468" r:id="rId42"/>
    <p:sldId id="4330" r:id="rId43"/>
    <p:sldId id="4470" r:id="rId44"/>
    <p:sldId id="4471" r:id="rId45"/>
    <p:sldId id="4483" r:id="rId46"/>
    <p:sldId id="4482" r:id="rId47"/>
    <p:sldId id="4472" r:id="rId48"/>
    <p:sldId id="4473" r:id="rId49"/>
    <p:sldId id="4474" r:id="rId50"/>
    <p:sldId id="4484" r:id="rId51"/>
    <p:sldId id="4485" r:id="rId52"/>
    <p:sldId id="4475" r:id="rId53"/>
    <p:sldId id="4298" r:id="rId54"/>
  </p:sldIdLst>
  <p:sldSz cx="12192000" cy="6858000"/>
  <p:notesSz cx="6797675" cy="9926638"/>
  <p:custDataLst>
    <p:tags r:id="rId5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Orla Casey" initials="OC"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36" autoAdjust="0"/>
    <p:restoredTop sz="94663"/>
  </p:normalViewPr>
  <p:slideViewPr>
    <p:cSldViewPr snapToGrid="0" snapToObjects="1">
      <p:cViewPr varScale="1">
        <p:scale>
          <a:sx n="113" d="100"/>
          <a:sy n="113" d="100"/>
        </p:scale>
        <p:origin x="342" y="126"/>
      </p:cViewPr>
      <p:guideLst/>
    </p:cSldViewPr>
  </p:slideViewPr>
  <p:notesTextViewPr>
    <p:cViewPr>
      <p:scale>
        <a:sx n="1" d="1"/>
        <a:sy n="1" d="1"/>
      </p:scale>
      <p:origin x="0" y="0"/>
    </p:cViewPr>
  </p:notesTextViewPr>
  <p:sorterViewPr>
    <p:cViewPr>
      <p:scale>
        <a:sx n="58" d="100"/>
        <a:sy n="58" d="100"/>
      </p:scale>
      <p:origin x="0" y="-6568"/>
    </p:cViewPr>
  </p:sorterViewPr>
  <p:notesViewPr>
    <p:cSldViewPr snapToGrid="0" snapToObjects="1">
      <p:cViewPr varScale="1">
        <p:scale>
          <a:sx n="42" d="100"/>
          <a:sy n="42" d="100"/>
        </p:scale>
        <p:origin x="2828" y="4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notesMaster" Target="notesMasters/notes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gs" Target="tags/tag1.xml"/><Relationship Id="rId61"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rgbClr val="B41F7A"/>
                </a:solidFill>
                <a:latin typeface="+mn-lt"/>
                <a:ea typeface="+mn-ea"/>
                <a:cs typeface="+mn-cs"/>
              </a:defRPr>
            </a:pPr>
            <a:r>
              <a:rPr lang="en-US" sz="1800" b="1">
                <a:solidFill>
                  <a:srgbClr val="F16924"/>
                </a:solidFill>
              </a:rPr>
              <a:t>Identificación de las crisis</a:t>
            </a:r>
          </a:p>
        </c:rich>
      </c:tx>
      <c:overlay val="0"/>
      <c:spPr>
        <a:noFill/>
        <a:ln>
          <a:noFill/>
        </a:ln>
        <a:effectLst/>
      </c:spPr>
      <c:txPr>
        <a:bodyPr rot="0" spcFirstLastPara="1" vertOverflow="ellipsis" vert="horz" wrap="square" anchor="ctr" anchorCtr="1"/>
        <a:lstStyle/>
        <a:p>
          <a:pPr>
            <a:defRPr sz="1800" b="0" i="0" u="none" strike="noStrike" kern="1200" spc="0" baseline="0">
              <a:solidFill>
                <a:srgbClr val="B41F7A"/>
              </a:solidFill>
              <a:latin typeface="+mn-lt"/>
              <a:ea typeface="+mn-ea"/>
              <a:cs typeface="+mn-cs"/>
            </a:defRPr>
          </a:pPr>
          <a:endParaRPr lang="es-ES"/>
        </a:p>
      </c:txPr>
    </c:title>
    <c:autoTitleDeleted val="0"/>
    <c:plotArea>
      <c:layout/>
      <c:barChart>
        <c:barDir val="col"/>
        <c:grouping val="clustered"/>
        <c:varyColors val="0"/>
        <c:ser>
          <c:idx val="0"/>
          <c:order val="0"/>
          <c:tx>
            <c:strRef>
              <c:f>Tabelle1!$B$1</c:f>
              <c:strCache>
                <c:ptCount val="1"/>
                <c:pt idx="0">
                  <c:v>Facturación en millones de euros</c:v>
                </c:pt>
              </c:strCache>
            </c:strRef>
          </c:tx>
          <c:spPr>
            <a:solidFill>
              <a:srgbClr val="EDA13E"/>
            </a:solidFill>
            <a:ln>
              <a:noFill/>
            </a:ln>
            <a:effectLst/>
          </c:spPr>
          <c:invertIfNegative val="0"/>
          <c:cat>
            <c:strRef>
              <c:f>Tabelle1!$A$2:$A$8</c:f>
              <c:strCache>
                <c:ptCount val="6"/>
                <c:pt idx="0">
                  <c:v>5+ Years</c:v>
                </c:pt>
                <c:pt idx="1">
                  <c:v>4 Years</c:v>
                </c:pt>
                <c:pt idx="2">
                  <c:v>3 Years</c:v>
                </c:pt>
                <c:pt idx="3">
                  <c:v>2 Years</c:v>
                </c:pt>
                <c:pt idx="4">
                  <c:v>1 Year</c:v>
                </c:pt>
                <c:pt idx="5">
                  <c:v>0</c:v>
                </c:pt>
              </c:strCache>
            </c:strRef>
          </c:cat>
          <c:val>
            <c:numRef>
              <c:f>Tabelle1!$B$2:$B$8</c:f>
              <c:numCache>
                <c:formatCode>General</c:formatCode>
                <c:ptCount val="7"/>
                <c:pt idx="0">
                  <c:v>28</c:v>
                </c:pt>
                <c:pt idx="1">
                  <c:v>43</c:v>
                </c:pt>
                <c:pt idx="2">
                  <c:v>63</c:v>
                </c:pt>
                <c:pt idx="3">
                  <c:v>91</c:v>
                </c:pt>
                <c:pt idx="4">
                  <c:v>100</c:v>
                </c:pt>
              </c:numCache>
            </c:numRef>
          </c:val>
          <c:extLst xmlns:a14="http://schemas.microsoft.com/office/drawing/2010/main" xmlns:wp="http://schemas.openxmlformats.org/drawingml/2006/wordprocessingDrawing" xmlns:w="http://schemas.openxmlformats.org/wordprocessingml/2006/main" xmlns:m="http://schemas.openxmlformats.org/officeDocument/2006/math">
            <c:ext xmlns:c16="http://schemas.microsoft.com/office/drawing/2014/chart" uri="{C3380CC4-5D6E-409C-BE32-E72D297353CC}">
              <c16:uniqueId val="{00000000-1B8B-49BA-B6AC-299F11451F5A}"/>
            </c:ext>
          </c:extLst>
        </c:ser>
        <c:dLbls>
          <c:showLegendKey val="0"/>
          <c:showVal val="0"/>
          <c:showCatName val="0"/>
          <c:showSerName val="0"/>
          <c:showPercent val="0"/>
          <c:showBubbleSize val="0"/>
        </c:dLbls>
        <c:gapWidth val="219"/>
        <c:overlap val="-27"/>
        <c:axId val="153392256"/>
        <c:axId val="153393792"/>
      </c:barChart>
      <c:catAx>
        <c:axId val="1533922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smtId="4294967295">
                <a:solidFill>
                  <a:srgbClr val="B41F7A"/>
                </a:solidFill>
                <a:latin typeface="+mn-lt"/>
                <a:ea typeface="+mn-ea"/>
                <a:cs typeface="+mn-cs"/>
              </a:defRPr>
            </a:pPr>
            <a:endParaRPr lang="es-ES"/>
          </a:p>
        </c:txPr>
        <c:crossAx val="153393792"/>
        <c:crosses val="autoZero"/>
        <c:auto val="0"/>
        <c:lblAlgn val="ctr"/>
        <c:lblOffset val="100"/>
        <c:noMultiLvlLbl val="0"/>
      </c:catAx>
      <c:valAx>
        <c:axId val="153393792"/>
        <c:scaling>
          <c:orientation val="minMax"/>
          <c:max val="100"/>
        </c:scaling>
        <c:delete val="0"/>
        <c:axPos val="l"/>
        <c:majorGridlines>
          <c:spPr>
            <a:ln w="9525" cap="flat" cmpd="sng" algn="ctr">
              <a:solidFill>
                <a:srgbClr val="595959"/>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smtId="4294967295">
                <a:solidFill>
                  <a:srgbClr val="B41F7A"/>
                </a:solidFill>
                <a:latin typeface="+mn-lt"/>
                <a:ea typeface="+mn-ea"/>
                <a:cs typeface="+mn-cs"/>
              </a:defRPr>
            </a:pPr>
            <a:endParaRPr lang="es-ES"/>
          </a:p>
        </c:txPr>
        <c:crossAx val="1533922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smtId="4294967295">
              <a:solidFill>
                <a:srgbClr val="B41F7A"/>
              </a:solidFill>
              <a:latin typeface="+mn-lt"/>
              <a:ea typeface="+mn-ea"/>
              <a:cs typeface="+mn-cs"/>
            </a:defRPr>
          </a:pPr>
          <a:endParaRPr lang="es-ES"/>
        </a:p>
      </c:txPr>
    </c:legend>
    <c:plotVisOnly val="1"/>
    <c:dispBlanksAs val="gap"/>
    <c:extLst xmlns:a14="http://schemas.microsoft.com/office/drawing/2010/main" xmlns:wp="http://schemas.openxmlformats.org/drawingml/2006/wordprocessingDrawing" xmlns:w="http://schemas.openxmlformats.org/wordprocessingml/2006/main" xmlns:m="http://schemas.openxmlformats.org/officeDocument/2006/math">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E70893E-3828-2BA2-4577-59D4CA1509DB}"/>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0877DF93-C69E-7084-0691-17C06CB2ECF9}"/>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2E2C5459-34B8-694F-A4E3-446C77C70A48}" type="datetimeFigureOut">
              <a:rPr lang="en-US" smtClean="0"/>
              <a:t>11/7/2022</a:t>
            </a:fld>
            <a:endParaRPr lang="en-US"/>
          </a:p>
        </p:txBody>
      </p:sp>
      <p:sp>
        <p:nvSpPr>
          <p:cNvPr id="4" name="Footer Placeholder 3">
            <a:extLst>
              <a:ext uri="{FF2B5EF4-FFF2-40B4-BE49-F238E27FC236}">
                <a16:creationId xmlns:a16="http://schemas.microsoft.com/office/drawing/2014/main" id="{D72AA7EA-62A6-CE2D-4A17-96D3FB239F99}"/>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B3EDDE1A-B977-B06E-809E-D25A247A097F}"/>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8BA80781-81C0-994E-B058-93A347A8B71C}" type="slidenum">
              <a:rPr lang="en-US" smtClean="0"/>
              <a:t>‹Nº›</a:t>
            </a:fld>
            <a:endParaRPr lang="en-US"/>
          </a:p>
        </p:txBody>
      </p:sp>
    </p:spTree>
    <p:extLst>
      <p:ext uri="{BB962C8B-B14F-4D97-AF65-F5344CB8AC3E}">
        <p14:creationId xmlns:p14="http://schemas.microsoft.com/office/powerpoint/2010/main" val="6855141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12859788-52C2-4B8F-BBBD-8B962046C54E}" type="datetimeFigureOut">
              <a:rPr lang="en-IE" smtClean="0"/>
              <a:t>07/11/2022</a:t>
            </a:fld>
            <a:endParaRPr lang="en-IE"/>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Haga clic para editar los estilos de texto maestro</a:t>
            </a:r>
          </a:p>
          <a:p>
            <a:pPr lvl="1"/>
            <a:r>
              <a:rPr lang="en-US"/>
              <a:t>Segundo nivel</a:t>
            </a:r>
          </a:p>
          <a:p>
            <a:pPr lvl="2"/>
            <a:r>
              <a:rPr lang="en-US"/>
              <a:t>Tercer nivel</a:t>
            </a:r>
          </a:p>
          <a:p>
            <a:pPr lvl="3"/>
            <a:r>
              <a:rPr lang="en-US"/>
              <a:t>Cuarto nivel</a:t>
            </a:r>
          </a:p>
          <a:p>
            <a:pPr lvl="4"/>
            <a:r>
              <a:rPr lang="en-US"/>
              <a:t>Quinto nivel</a:t>
            </a:r>
            <a:endParaRPr lang="en-IE"/>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EECA971F-9F71-45AC-B80A-D85269BAA52C}" type="slidenum">
              <a:rPr lang="en-IE" smtClean="0"/>
              <a:t>‹Nº›</a:t>
            </a:fld>
            <a:endParaRPr lang="en-IE"/>
          </a:p>
        </p:txBody>
      </p:sp>
    </p:spTree>
    <p:extLst>
      <p:ext uri="{BB962C8B-B14F-4D97-AF65-F5344CB8AC3E}">
        <p14:creationId xmlns:p14="http://schemas.microsoft.com/office/powerpoint/2010/main" val="2160700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a:p>
        </p:txBody>
      </p:sp>
    </p:spTree>
    <p:extLst>
      <p:ext uri="{BB962C8B-B14F-4D97-AF65-F5344CB8AC3E}">
        <p14:creationId xmlns:p14="http://schemas.microsoft.com/office/powerpoint/2010/main" val="13121843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7066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a:p>
        </p:txBody>
      </p:sp>
    </p:spTree>
    <p:extLst>
      <p:ext uri="{BB962C8B-B14F-4D97-AF65-F5344CB8AC3E}">
        <p14:creationId xmlns:p14="http://schemas.microsoft.com/office/powerpoint/2010/main" val="2780054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43444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98151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68312D77-9186-46F9-9D74-D9FF47C81047}" type="slidenum">
              <a:rPr lang="en-GB" smtClean="0"/>
              <a:t>27</a:t>
            </a:fld>
            <a:endParaRPr lang="en-GB"/>
          </a:p>
        </p:txBody>
      </p:sp>
    </p:spTree>
    <p:extLst>
      <p:ext uri="{BB962C8B-B14F-4D97-AF65-F5344CB8AC3E}">
        <p14:creationId xmlns:p14="http://schemas.microsoft.com/office/powerpoint/2010/main" val="18904628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68312D77-9186-46F9-9D74-D9FF47C81047}" type="slidenum">
              <a:rPr lang="en-GB" smtClean="0"/>
              <a:t>28</a:t>
            </a:fld>
            <a:endParaRPr lang="en-GB"/>
          </a:p>
        </p:txBody>
      </p:sp>
    </p:spTree>
    <p:extLst>
      <p:ext uri="{BB962C8B-B14F-4D97-AF65-F5344CB8AC3E}">
        <p14:creationId xmlns:p14="http://schemas.microsoft.com/office/powerpoint/2010/main" val="3279176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68312D77-9186-46F9-9D74-D9FF47C81047}" type="slidenum">
              <a:rPr lang="en-GB" smtClean="0"/>
              <a:t>29</a:t>
            </a:fld>
            <a:endParaRPr lang="en-GB"/>
          </a:p>
        </p:txBody>
      </p:sp>
    </p:spTree>
    <p:extLst>
      <p:ext uri="{BB962C8B-B14F-4D97-AF65-F5344CB8AC3E}">
        <p14:creationId xmlns:p14="http://schemas.microsoft.com/office/powerpoint/2010/main" val="31088185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fld id="{68312D77-9186-46F9-9D74-D9FF47C81047}" type="slidenum">
              <a:rPr lang="en-GB" smtClean="0"/>
              <a:t>30</a:t>
            </a:fld>
            <a:endParaRPr lang="en-GB"/>
          </a:p>
        </p:txBody>
      </p:sp>
    </p:spTree>
    <p:extLst>
      <p:ext uri="{BB962C8B-B14F-4D97-AF65-F5344CB8AC3E}">
        <p14:creationId xmlns:p14="http://schemas.microsoft.com/office/powerpoint/2010/main" val="2739272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334AC054-D004-974A-8D8E-E228282ED49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18995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1446550"/>
          </a:xfrm>
          <a:prstGeom prst="rect">
            <a:avLst/>
          </a:prstGeom>
        </p:spPr>
        <p:txBody>
          <a:bodyPr wrap="square">
            <a:spAutoFit/>
          </a:bodyPr>
          <a:lstStyle/>
          <a:p>
            <a:pPr fontAlgn="base"/>
            <a:r>
              <a:rPr lang="en-IE" sz="4400" b="1" i="0" u="none" strike="noStrike" kern="1200" baseline="0">
                <a:solidFill>
                  <a:schemeClr val="bg1"/>
                </a:solidFill>
                <a:effectLst/>
                <a:latin typeface="+mn-lt"/>
                <a:ea typeface="+mn-ea"/>
                <a:cs typeface="+mn-cs"/>
                <a:sym typeface="Quattrocento Sans"/>
              </a:rPr>
              <a:t>SECURE BLOCKCHAIN</a:t>
            </a:r>
          </a:p>
          <a:p>
            <a:pPr fontAlgn="base"/>
            <a:r>
              <a:rPr lang="en-IE" sz="4400" b="0" i="0" u="none" strike="noStrike" kern="1200" baseline="0">
                <a:solidFill>
                  <a:schemeClr val="bg1"/>
                </a:solidFill>
                <a:effectLst/>
                <a:latin typeface="+mn-lt"/>
                <a:ea typeface="+mn-ea"/>
                <a:cs typeface="+mn-cs"/>
                <a:sym typeface="Quattrocento Sans"/>
              </a:rPr>
              <a:t>FONT TYPEFACE &amp; SIZE</a:t>
            </a:r>
            <a:endParaRPr lang="en-IE" sz="3600" baseline="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a:solidFill>
                  <a:schemeClr val="bg1"/>
                </a:solidFill>
                <a:effectLst/>
                <a:latin typeface="+mn-lt"/>
                <a:ea typeface="+mn-ea"/>
                <a:cs typeface="+mn-cs"/>
              </a:rPr>
              <a:t>PLEASE</a:t>
            </a:r>
            <a:r>
              <a:rPr lang="en-IE" sz="3000" b="0" i="0" u="none" strike="noStrike" kern="1200" baseline="0">
                <a:solidFill>
                  <a:schemeClr val="bg1"/>
                </a:solidFill>
                <a:effectLst/>
                <a:latin typeface="+mn-lt"/>
                <a:ea typeface="+mn-ea"/>
                <a:cs typeface="+mn-cs"/>
              </a:rPr>
              <a:t> ENSURE TO KEEP FONTS AS PER THE LAYOUT</a:t>
            </a:r>
            <a:endParaRPr lang="en-IE" sz="3000" b="0" i="0" u="none" strike="noStrike" kern="1200">
              <a:solidFill>
                <a:schemeClr val="bg1"/>
              </a:solidFill>
              <a:effectLst/>
              <a:latin typeface="+mn-lt"/>
              <a:ea typeface="+mn-ea"/>
              <a:cs typeface="+mn-cs"/>
            </a:endParaRPr>
          </a:p>
          <a:p>
            <a:pPr fontAlgn="base"/>
            <a:endParaRPr lang="en-IE" sz="3000" b="0" i="0" u="none" strike="noStrike" kern="1200">
              <a:solidFill>
                <a:schemeClr val="bg1"/>
              </a:solidFill>
              <a:effectLst/>
              <a:latin typeface="+mn-lt"/>
              <a:ea typeface="+mn-ea"/>
              <a:cs typeface="+mn-cs"/>
            </a:endParaRPr>
          </a:p>
          <a:p>
            <a:pPr marL="0" lvl="0" indent="0" algn="l" rtl="0">
              <a:spcBef>
                <a:spcPct val="0"/>
              </a:spcBef>
              <a:spcAft>
                <a:spcPct val="0"/>
              </a:spcAft>
              <a:buClr>
                <a:schemeClr val="dk1"/>
              </a:buClr>
              <a:buSzPts val="1100"/>
              <a:buFont typeface="Arial"/>
              <a:buNone/>
            </a:pPr>
            <a:r>
              <a:rPr lang="en-IE" sz="3000" b="0" i="0" u="none" strike="noStrike" kern="1200">
                <a:solidFill>
                  <a:schemeClr val="bg1"/>
                </a:solidFill>
                <a:effectLst/>
                <a:latin typeface="+mn-lt"/>
                <a:ea typeface="+mn-ea"/>
                <a:cs typeface="+mn-cs"/>
              </a:rPr>
              <a:t>48 point </a:t>
            </a:r>
            <a:r>
              <a:rPr lang="en-IE" sz="3000" b="0" i="0" u="none" strike="noStrike" kern="1200" baseline="0">
                <a:solidFill>
                  <a:schemeClr val="bg1"/>
                </a:solidFill>
                <a:effectLst/>
                <a:latin typeface="+mn-lt"/>
                <a:ea typeface="+mn-ea"/>
                <a:cs typeface="+mn-cs"/>
              </a:rPr>
              <a:t> -  </a:t>
            </a:r>
            <a:r>
              <a:rPr lang="en-IE" sz="3000" b="0" i="0" u="none" strike="noStrike" kern="1200">
                <a:solidFill>
                  <a:schemeClr val="bg1"/>
                </a:solidFill>
                <a:effectLst/>
                <a:latin typeface="+mn-lt"/>
                <a:ea typeface="+mn-ea"/>
                <a:cs typeface="+mn-cs"/>
              </a:rPr>
              <a:t>Divider</a:t>
            </a:r>
            <a:r>
              <a:rPr lang="en-IE" sz="3000" b="0" i="0" u="none" strike="noStrike" kern="1200" baseline="0">
                <a:solidFill>
                  <a:schemeClr val="bg1"/>
                </a:solidFill>
                <a:effectLst/>
                <a:latin typeface="+mn-lt"/>
                <a:ea typeface="+mn-ea"/>
                <a:cs typeface="+mn-cs"/>
              </a:rPr>
              <a:t> Slides</a:t>
            </a:r>
          </a:p>
          <a:p>
            <a:pPr marL="0" lvl="0" indent="0" algn="l" rtl="0">
              <a:spcBef>
                <a:spcPct val="0"/>
              </a:spcBef>
              <a:spcAft>
                <a:spcPct val="0"/>
              </a:spcAft>
              <a:buClr>
                <a:schemeClr val="dk1"/>
              </a:buClr>
              <a:buSzPts val="1100"/>
              <a:buFont typeface="Arial"/>
              <a:buNone/>
            </a:pPr>
            <a:endParaRPr lang="en-IE" sz="1000" b="1" baseline="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ct val="0"/>
              </a:spcBef>
              <a:spcAft>
                <a:spcPct val="0"/>
              </a:spcAft>
              <a:buClr>
                <a:schemeClr val="dk1"/>
              </a:buClr>
              <a:buSzPts val="1100"/>
              <a:buFont typeface="Arial"/>
              <a:buNone/>
              <a:defRPr/>
            </a:pPr>
            <a:r>
              <a:rPr lang="en-IE" sz="3000" b="0" i="0" u="none" strike="noStrike" kern="1200">
                <a:solidFill>
                  <a:schemeClr val="bg1"/>
                </a:solidFill>
                <a:effectLst/>
                <a:latin typeface="+mn-lt"/>
                <a:ea typeface="+mn-ea"/>
                <a:cs typeface="+mn-cs"/>
              </a:rPr>
              <a:t>36 point</a:t>
            </a:r>
            <a:r>
              <a:rPr lang="en-IE" sz="3000" b="0" i="0" u="none" strike="noStrike" kern="1200" baseline="0">
                <a:solidFill>
                  <a:schemeClr val="bg1"/>
                </a:solidFill>
                <a:effectLst/>
                <a:latin typeface="+mn-lt"/>
                <a:ea typeface="+mn-ea"/>
                <a:cs typeface="+mn-cs"/>
              </a:rPr>
              <a:t>  -  </a:t>
            </a:r>
            <a:r>
              <a:rPr lang="en-IE" sz="3000" b="0" i="0" u="none" strike="noStrike" kern="120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ct val="0"/>
              </a:spcBef>
              <a:spcAft>
                <a:spcPct val="0"/>
              </a:spcAft>
              <a:buClr>
                <a:schemeClr val="dk1"/>
              </a:buClr>
              <a:buSzPts val="1100"/>
              <a:buFont typeface="Arial"/>
              <a:buNone/>
              <a:defRPr/>
            </a:pPr>
            <a:endParaRPr lang="en-IE" sz="1000" b="0" i="0" u="none" strike="noStrike" kern="1200">
              <a:solidFill>
                <a:schemeClr val="bg1"/>
              </a:solidFill>
              <a:effectLst/>
              <a:latin typeface="+mn-lt"/>
              <a:ea typeface="+mn-ea"/>
              <a:cs typeface="+mn-cs"/>
            </a:endParaRPr>
          </a:p>
          <a:p>
            <a:pPr marL="0" marR="0" lvl="0" indent="0" algn="l" defTabSz="914400" rtl="0" eaLnBrk="1" fontAlgn="auto" latinLnBrk="0" hangingPunct="1">
              <a:lnSpc>
                <a:spcPct val="100000"/>
              </a:lnSpc>
              <a:spcBef>
                <a:spcPct val="0"/>
              </a:spcBef>
              <a:spcAft>
                <a:spcPct val="0"/>
              </a:spcAft>
              <a:buClr>
                <a:schemeClr val="dk1"/>
              </a:buClr>
              <a:buSzPts val="1100"/>
              <a:buFont typeface="Arial"/>
              <a:buNone/>
              <a:defRPr/>
            </a:pPr>
            <a:r>
              <a:rPr lang="en-IE" sz="3000" b="0" i="0" u="none" strike="noStrike" kern="1200">
                <a:solidFill>
                  <a:schemeClr val="bg1"/>
                </a:solidFill>
                <a:effectLst/>
                <a:latin typeface="+mn-lt"/>
                <a:ea typeface="+mn-ea"/>
                <a:cs typeface="+mn-cs"/>
              </a:rPr>
              <a:t>30 point</a:t>
            </a:r>
            <a:r>
              <a:rPr lang="en-IE" sz="3000" b="0" i="0" u="none" strike="noStrike" kern="1200" baseline="0">
                <a:solidFill>
                  <a:schemeClr val="bg1"/>
                </a:solidFill>
                <a:effectLst/>
                <a:latin typeface="+mn-lt"/>
                <a:ea typeface="+mn-ea"/>
                <a:cs typeface="+mn-cs"/>
              </a:rPr>
              <a:t>  -  </a:t>
            </a:r>
            <a:r>
              <a:rPr lang="en-IE" sz="3000" b="0" i="0" u="none" strike="noStrike" kern="120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ct val="0"/>
              </a:spcBef>
              <a:spcAft>
                <a:spcPct val="0"/>
              </a:spcAft>
              <a:buClr>
                <a:schemeClr val="dk1"/>
              </a:buClr>
              <a:buSzPts val="1100"/>
              <a:buFont typeface="Arial"/>
              <a:buNone/>
              <a:defRPr/>
            </a:pPr>
            <a:r>
              <a:rPr lang="en-IE" sz="3000" b="0" i="0" u="none" strike="noStrike" kern="1200">
                <a:solidFill>
                  <a:schemeClr val="bg1"/>
                </a:solidFill>
                <a:effectLst/>
                <a:latin typeface="+mn-lt"/>
                <a:ea typeface="+mn-ea"/>
                <a:cs typeface="+mn-cs"/>
              </a:rPr>
              <a:t>	</a:t>
            </a:r>
            <a:r>
              <a:rPr lang="en-IE" sz="3000" b="0" i="0" u="none" strike="noStrike" kern="1200" baseline="0">
                <a:solidFill>
                  <a:schemeClr val="bg1"/>
                </a:solidFill>
                <a:effectLst/>
                <a:latin typeface="+mn-lt"/>
                <a:ea typeface="+mn-ea"/>
                <a:cs typeface="+mn-cs"/>
              </a:rPr>
              <a:t>       </a:t>
            </a:r>
            <a:r>
              <a:rPr lang="en-IE" sz="3000" b="0" i="0" u="none" strike="noStrike" kern="120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ct val="0"/>
              </a:spcBef>
              <a:spcAft>
                <a:spcPct val="0"/>
              </a:spcAft>
              <a:buClr>
                <a:schemeClr val="dk1"/>
              </a:buClr>
              <a:buSzPts val="1100"/>
              <a:buFont typeface="Arial"/>
              <a:buNone/>
              <a:defRPr/>
            </a:pPr>
            <a:endParaRPr lang="en-IE" sz="1000" b="0" i="0" u="none" strike="noStrike" kern="1200">
              <a:solidFill>
                <a:schemeClr val="bg1"/>
              </a:solidFill>
              <a:effectLst/>
              <a:latin typeface="+mn-lt"/>
              <a:ea typeface="+mn-ea"/>
              <a:cs typeface="+mn-cs"/>
            </a:endParaRPr>
          </a:p>
          <a:p>
            <a:pPr marL="0" marR="0" lvl="0" indent="0" algn="l" defTabSz="914400" rtl="0" eaLnBrk="1" fontAlgn="auto" latinLnBrk="0" hangingPunct="1">
              <a:lnSpc>
                <a:spcPct val="100000"/>
              </a:lnSpc>
              <a:spcBef>
                <a:spcPct val="0"/>
              </a:spcBef>
              <a:spcAft>
                <a:spcPct val="0"/>
              </a:spcAft>
              <a:buClr>
                <a:schemeClr val="dk1"/>
              </a:buClr>
              <a:buSzPts val="1100"/>
              <a:buFont typeface="Arial"/>
              <a:buNone/>
              <a:defRPr/>
            </a:pPr>
            <a:r>
              <a:rPr lang="en-IE" sz="3000" b="0" i="0" u="none" strike="noStrike" kern="1200">
                <a:solidFill>
                  <a:schemeClr val="bg1"/>
                </a:solidFill>
                <a:effectLst/>
                <a:latin typeface="+mn-lt"/>
                <a:ea typeface="+mn-ea"/>
                <a:cs typeface="+mn-cs"/>
              </a:rPr>
              <a:t>24 point</a:t>
            </a:r>
            <a:r>
              <a:rPr lang="en-IE" sz="3000" b="0" i="0" u="none" strike="noStrike" kern="1200" baseline="0">
                <a:solidFill>
                  <a:schemeClr val="bg1"/>
                </a:solidFill>
                <a:effectLst/>
                <a:latin typeface="+mn-lt"/>
                <a:ea typeface="+mn-ea"/>
                <a:cs typeface="+mn-cs"/>
              </a:rPr>
              <a:t>  -  </a:t>
            </a:r>
            <a:r>
              <a:rPr lang="en-IE" sz="3000" b="0" i="0" u="none" strike="noStrike" kern="1200" baseline="0">
                <a:solidFill>
                  <a:schemeClr val="bg1"/>
                </a:solidFill>
                <a:effectLst/>
                <a:latin typeface="+mn-lt"/>
                <a:ea typeface="Quattrocento Sans"/>
                <a:cs typeface="Quattrocento Sans"/>
                <a:sym typeface="Quattrocento Sans"/>
              </a:rPr>
              <a:t>Main </a:t>
            </a:r>
            <a:r>
              <a:rPr lang="en-IE" sz="3000" b="0" i="0" u="none" strike="noStrike" kern="1200">
                <a:solidFill>
                  <a:schemeClr val="bg1"/>
                </a:solidFill>
                <a:effectLst/>
                <a:latin typeface="+mn-lt"/>
                <a:ea typeface="+mn-ea"/>
                <a:cs typeface="+mn-cs"/>
              </a:rPr>
              <a:t>Text Body </a:t>
            </a:r>
            <a:endParaRPr lang="en-US" sz="3000"/>
          </a:p>
          <a:p>
            <a:pPr fontAlgn="base"/>
            <a:endParaRPr lang="en-IE" sz="3000" b="0" i="0" u="none" strike="noStrike" kern="1200">
              <a:solidFill>
                <a:schemeClr val="bg1"/>
              </a:solidFill>
              <a:effectLst/>
              <a:latin typeface="+mn-lt"/>
              <a:ea typeface="+mn-ea"/>
              <a:cs typeface="+mn-cs"/>
            </a:endParaRPr>
          </a:p>
        </p:txBody>
      </p:sp>
      <p:sp>
        <p:nvSpPr>
          <p:cNvPr id="9" name="Rectangle 8"/>
          <p:cNvSpPr/>
          <p:nvPr userDrawn="1"/>
        </p:nvSpPr>
        <p:spPr>
          <a:xfrm>
            <a:off x="424668" y="2883583"/>
            <a:ext cx="5845501" cy="2123658"/>
          </a:xfrm>
          <a:prstGeom prst="rect">
            <a:avLst/>
          </a:prstGeom>
        </p:spPr>
        <p:txBody>
          <a:bodyPr wrap="square">
            <a:spAutoFit/>
          </a:bodyPr>
          <a:lstStyle/>
          <a:p>
            <a:pPr fontAlgn="base"/>
            <a:r>
              <a:rPr lang="en-IE" sz="2400" b="0" i="0" u="none" strike="noStrike" kern="1200" baseline="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a:solidFill>
                  <a:schemeClr val="bg1"/>
                </a:solidFill>
                <a:effectLst/>
                <a:latin typeface="+mn-lt"/>
                <a:ea typeface="+mn-ea"/>
                <a:cs typeface="+mn-cs"/>
                <a:sym typeface="Quattrocento Sans"/>
              </a:rPr>
              <a:t>SECURE </a:t>
            </a:r>
            <a:r>
              <a:rPr lang="en-IE" sz="2400" b="0" i="0" u="none" strike="noStrike" kern="1200" baseline="0">
                <a:solidFill>
                  <a:schemeClr val="bg1"/>
                </a:solidFill>
                <a:effectLst/>
                <a:latin typeface="+mn-lt"/>
                <a:ea typeface="+mn-ea"/>
                <a:cs typeface="+mn-cs"/>
                <a:sym typeface="Quattrocento Sans"/>
              </a:rPr>
              <a:t>PowerPoint is</a:t>
            </a:r>
            <a:r>
              <a:rPr lang="is-IS" sz="2400" b="0" i="0" u="none" strike="noStrike" kern="1200" baseline="0">
                <a:solidFill>
                  <a:schemeClr val="bg1"/>
                </a:solidFill>
                <a:effectLst/>
                <a:latin typeface="+mn-lt"/>
                <a:ea typeface="+mn-ea"/>
                <a:cs typeface="+mn-cs"/>
                <a:sym typeface="Quattrocento Sans"/>
              </a:rPr>
              <a:t>….</a:t>
            </a:r>
            <a:endParaRPr lang="en-IE" sz="2400" b="0" i="0" u="none" strike="noStrike" kern="1200" baseline="0">
              <a:solidFill>
                <a:schemeClr val="bg1"/>
              </a:solidFill>
              <a:effectLst/>
              <a:latin typeface="+mn-lt"/>
              <a:ea typeface="+mn-ea"/>
              <a:cs typeface="+mn-cs"/>
              <a:sym typeface="Quattrocento Sans"/>
            </a:endParaRPr>
          </a:p>
          <a:p>
            <a:pPr fontAlgn="base"/>
            <a:endParaRPr lang="en-IE" sz="2400" b="0" i="0" u="none" strike="noStrike" kern="1200" baseline="0">
              <a:solidFill>
                <a:schemeClr val="bg1"/>
              </a:solidFill>
              <a:effectLst/>
              <a:latin typeface="+mn-lt"/>
              <a:ea typeface="+mn-ea"/>
              <a:cs typeface="+mn-cs"/>
              <a:sym typeface="Quattrocento Sans"/>
            </a:endParaRPr>
          </a:p>
          <a:p>
            <a:pPr fontAlgn="base"/>
            <a:r>
              <a:rPr lang="en-IE" sz="3600" b="1" i="1" baseline="0">
                <a:solidFill>
                  <a:schemeClr val="bg1"/>
                </a:solidFill>
                <a:latin typeface="+mn-lt"/>
                <a:ea typeface="Quattrocento Sans"/>
                <a:cs typeface="Quattrocento Sans"/>
                <a:sym typeface="Quattrocento Sans"/>
              </a:rPr>
              <a:t>Calibri</a:t>
            </a:r>
            <a:endParaRPr lang="en-IE" sz="3600" baseline="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flipH="1">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2503620"/>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a:solidFill>
                  <a:schemeClr val="bg1"/>
                </a:solidFill>
                <a:effectLst/>
                <a:latin typeface="+mn-lt"/>
                <a:ea typeface="+mn-ea"/>
                <a:cs typeface="+mn-cs"/>
              </a:rPr>
              <a:t>*** </a:t>
            </a:r>
            <a:r>
              <a:rPr lang="en-IE" sz="2400" b="1" kern="1200">
                <a:solidFill>
                  <a:schemeClr val="bg1"/>
                </a:solidFill>
                <a:effectLst/>
                <a:latin typeface="+mn-lt"/>
                <a:ea typeface="+mn-ea"/>
                <a:cs typeface="+mn-cs"/>
              </a:rPr>
              <a:t>PLEASE DELETE THIS INSTRUCTION SLIDE BEFORE PRESENTING FINAL PRESENTATION </a:t>
            </a:r>
            <a:r>
              <a:rPr lang="en-IE" sz="2400" kern="1200">
                <a:solidFill>
                  <a:schemeClr val="bg1"/>
                </a:solidFill>
                <a:effectLst/>
                <a:latin typeface="+mn-lt"/>
                <a:ea typeface="+mn-ea"/>
                <a:cs typeface="+mn-cs"/>
              </a:rPr>
              <a:t>*** </a:t>
            </a:r>
            <a:endParaRPr lang="en-US" sz="2400" kern="120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with Photo - Pi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C3F487-F604-4546-B7CE-1F7FE26D0DFD}"/>
              </a:ext>
            </a:extLst>
          </p:cNvPr>
          <p:cNvSpPr/>
          <p:nvPr userDrawn="1"/>
        </p:nvSpPr>
        <p:spPr>
          <a:xfrm flipV="1">
            <a:off x="1115878" y="-3"/>
            <a:ext cx="5736184" cy="6892757"/>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ontserrat Light" charset="0"/>
            </a:endParaRPr>
          </a:p>
        </p:txBody>
      </p:sp>
      <p:sp>
        <p:nvSpPr>
          <p:cNvPr id="3" name="Rectangle 2">
            <a:extLst>
              <a:ext uri="{FF2B5EF4-FFF2-40B4-BE49-F238E27FC236}">
                <a16:creationId xmlns:a16="http://schemas.microsoft.com/office/drawing/2014/main" id="{3DEFE2F3-1083-6042-8E1A-CF09DF7F7B14}"/>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sp>
        <p:nvSpPr>
          <p:cNvPr id="4" name="Picture Placeholder 17">
            <a:extLst>
              <a:ext uri="{FF2B5EF4-FFF2-40B4-BE49-F238E27FC236}">
                <a16:creationId xmlns:a16="http://schemas.microsoft.com/office/drawing/2014/main" id="{8105646A-9E0C-4145-97C2-3734A31A2B2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to add photo</a:t>
            </a:r>
          </a:p>
        </p:txBody>
      </p:sp>
      <p:sp>
        <p:nvSpPr>
          <p:cNvPr id="5" name="Text Placeholder 17">
            <a:extLst>
              <a:ext uri="{FF2B5EF4-FFF2-40B4-BE49-F238E27FC236}">
                <a16:creationId xmlns:a16="http://schemas.microsoft.com/office/drawing/2014/main" id="{327CD189-A588-D340-AEE6-ABA0AF7E6B0D}"/>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ub-heading</a:t>
            </a:r>
            <a:endParaRPr lang="en-US"/>
          </a:p>
        </p:txBody>
      </p:sp>
      <p:sp>
        <p:nvSpPr>
          <p:cNvPr id="7" name="Text Placeholder 23">
            <a:extLst>
              <a:ext uri="{FF2B5EF4-FFF2-40B4-BE49-F238E27FC236}">
                <a16:creationId xmlns:a16="http://schemas.microsoft.com/office/drawing/2014/main" id="{1C4A4EBF-8A47-914B-A531-A68FE8F2B616}"/>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a:t>Heading</a:t>
            </a:r>
          </a:p>
        </p:txBody>
      </p:sp>
      <p:sp>
        <p:nvSpPr>
          <p:cNvPr id="9" name="Rectangle 8">
            <a:extLst>
              <a:ext uri="{FF2B5EF4-FFF2-40B4-BE49-F238E27FC236}">
                <a16:creationId xmlns:a16="http://schemas.microsoft.com/office/drawing/2014/main" id="{D03E0E12-FB23-2F44-87D8-ABAAFB8156D3}"/>
              </a:ext>
            </a:extLst>
          </p:cNvPr>
          <p:cNvSpPr/>
          <p:nvPr userDrawn="1"/>
        </p:nvSpPr>
        <p:spPr>
          <a:xfrm>
            <a:off x="1400660" y="145829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EE8DA8D2-4676-2040-818E-4838677D4471}"/>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rot="16200000">
            <a:off x="-351693" y="5630084"/>
            <a:ext cx="1444281" cy="160129"/>
          </a:xfrm>
          <a:prstGeom prst="rect">
            <a:avLst/>
          </a:prstGeom>
        </p:spPr>
      </p:pic>
    </p:spTree>
    <p:extLst>
      <p:ext uri="{BB962C8B-B14F-4D97-AF65-F5344CB8AC3E}">
        <p14:creationId xmlns:p14="http://schemas.microsoft.com/office/powerpoint/2010/main" val="144705370"/>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with Photo - Orang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910D071-4356-2D46-B791-8EBEB450F3C7}"/>
              </a:ext>
            </a:extLst>
          </p:cNvPr>
          <p:cNvSpPr/>
          <p:nvPr userDrawn="1"/>
        </p:nvSpPr>
        <p:spPr>
          <a:xfrm flipV="1">
            <a:off x="1115878" y="-3"/>
            <a:ext cx="5736184" cy="6892757"/>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ontserrat Light" charset="0"/>
            </a:endParaRPr>
          </a:p>
        </p:txBody>
      </p:sp>
      <p:sp>
        <p:nvSpPr>
          <p:cNvPr id="14" name="Rectangle 13">
            <a:extLst>
              <a:ext uri="{FF2B5EF4-FFF2-40B4-BE49-F238E27FC236}">
                <a16:creationId xmlns:a16="http://schemas.microsoft.com/office/drawing/2014/main" id="{69A8DAD9-271A-B649-A3C8-65149F616022}"/>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sp>
        <p:nvSpPr>
          <p:cNvPr id="18" name="Picture Placeholder 17">
            <a:extLst>
              <a:ext uri="{FF2B5EF4-FFF2-40B4-BE49-F238E27FC236}">
                <a16:creationId xmlns:a16="http://schemas.microsoft.com/office/drawing/2014/main" id="{9BCF657B-2521-9848-AF64-509B4171F96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to add photo</a:t>
            </a:r>
          </a:p>
        </p:txBody>
      </p:sp>
      <p:sp>
        <p:nvSpPr>
          <p:cNvPr id="19" name="Text Placeholder 17">
            <a:extLst>
              <a:ext uri="{FF2B5EF4-FFF2-40B4-BE49-F238E27FC236}">
                <a16:creationId xmlns:a16="http://schemas.microsoft.com/office/drawing/2014/main" id="{C19CD423-B11E-D74D-8B58-62A243837FDA}"/>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ub-heading</a:t>
            </a:r>
            <a:endParaRPr lang="en-US"/>
          </a:p>
        </p:txBody>
      </p:sp>
      <p:sp>
        <p:nvSpPr>
          <p:cNvPr id="20" name="Text Placeholder 23">
            <a:extLst>
              <a:ext uri="{FF2B5EF4-FFF2-40B4-BE49-F238E27FC236}">
                <a16:creationId xmlns:a16="http://schemas.microsoft.com/office/drawing/2014/main" id="{41D8DDE8-E549-3B4C-867F-F463309162A3}"/>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a:t>Heading</a:t>
            </a:r>
          </a:p>
        </p:txBody>
      </p:sp>
      <p:sp>
        <p:nvSpPr>
          <p:cNvPr id="21" name="Rectangle 20">
            <a:extLst>
              <a:ext uri="{FF2B5EF4-FFF2-40B4-BE49-F238E27FC236}">
                <a16:creationId xmlns:a16="http://schemas.microsoft.com/office/drawing/2014/main" id="{6D1C72D2-6F43-5B47-861B-840EBB300E28}"/>
              </a:ext>
            </a:extLst>
          </p:cNvPr>
          <p:cNvSpPr/>
          <p:nvPr userDrawn="1"/>
        </p:nvSpPr>
        <p:spPr>
          <a:xfrm>
            <a:off x="1400660" y="1458295"/>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BDBD618-9343-6A4D-ABE7-49A5393A3B7C}"/>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rot="16200000">
            <a:off x="-351693" y="5630084"/>
            <a:ext cx="1444281" cy="160129"/>
          </a:xfrm>
          <a:prstGeom prst="rect">
            <a:avLst/>
          </a:prstGeom>
        </p:spPr>
      </p:pic>
    </p:spTree>
    <p:extLst>
      <p:ext uri="{BB962C8B-B14F-4D97-AF65-F5344CB8AC3E}">
        <p14:creationId xmlns:p14="http://schemas.microsoft.com/office/powerpoint/2010/main" val="3135426839"/>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AAA5544-825C-D843-82F7-011BA29F10B1}"/>
              </a:ext>
            </a:extLst>
          </p:cNvPr>
          <p:cNvSpPr>
            <a:spLocks noGrp="1"/>
          </p:cNvSpPr>
          <p:nvPr>
            <p:ph type="pic" sz="quarter" idx="10"/>
          </p:nvPr>
        </p:nvSpPr>
        <p:spPr>
          <a:xfrm>
            <a:off x="247650" y="1587500"/>
            <a:ext cx="11696699" cy="4699000"/>
          </a:xfrm>
          <a:custGeom>
            <a:avLst/>
            <a:gdLst>
              <a:gd name="connsiteX0" fmla="*/ 0 w 11696699"/>
              <a:gd name="connsiteY0" fmla="*/ 0 h 4699000"/>
              <a:gd name="connsiteX1" fmla="*/ 11696699 w 11696699"/>
              <a:gd name="connsiteY1" fmla="*/ 0 h 4699000"/>
              <a:gd name="connsiteX2" fmla="*/ 11696699 w 11696699"/>
              <a:gd name="connsiteY2" fmla="*/ 1498601 h 4699000"/>
              <a:gd name="connsiteX3" fmla="*/ 7029451 w 11696699"/>
              <a:gd name="connsiteY3" fmla="*/ 1498601 h 4699000"/>
              <a:gd name="connsiteX4" fmla="*/ 7029451 w 11696699"/>
              <a:gd name="connsiteY4" fmla="*/ 2971529 h 4699000"/>
              <a:gd name="connsiteX5" fmla="*/ 11696699 w 11696699"/>
              <a:gd name="connsiteY5" fmla="*/ 2971529 h 4699000"/>
              <a:gd name="connsiteX6" fmla="*/ 11696699 w 11696699"/>
              <a:gd name="connsiteY6" fmla="*/ 4699000 h 4699000"/>
              <a:gd name="connsiteX7" fmla="*/ 536121 w 11696699"/>
              <a:gd name="connsiteY7" fmla="*/ 4699000 h 4699000"/>
              <a:gd name="connsiteX8" fmla="*/ 216546 w 11696699"/>
              <a:gd name="connsiteY8" fmla="*/ 4699000 h 4699000"/>
              <a:gd name="connsiteX9" fmla="*/ 180546 w 11696699"/>
              <a:gd name="connsiteY9" fmla="*/ 4699000 h 4699000"/>
              <a:gd name="connsiteX10" fmla="*/ 0 w 11696699"/>
              <a:gd name="connsiteY10" fmla="*/ 4699000 h 4699000"/>
              <a:gd name="connsiteX11" fmla="*/ 0 w 11696699"/>
              <a:gd name="connsiteY11" fmla="*/ 4278910 h 469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6699" h="4699000">
                <a:moveTo>
                  <a:pt x="0" y="0"/>
                </a:moveTo>
                <a:lnTo>
                  <a:pt x="11696699" y="0"/>
                </a:lnTo>
                <a:lnTo>
                  <a:pt x="11696699" y="1498601"/>
                </a:lnTo>
                <a:lnTo>
                  <a:pt x="7029451" y="1498601"/>
                </a:lnTo>
                <a:lnTo>
                  <a:pt x="7029451" y="2971529"/>
                </a:lnTo>
                <a:lnTo>
                  <a:pt x="11696699" y="2971529"/>
                </a:lnTo>
                <a:lnTo>
                  <a:pt x="11696699" y="4699000"/>
                </a:lnTo>
                <a:lnTo>
                  <a:pt x="536121" y="4699000"/>
                </a:lnTo>
                <a:lnTo>
                  <a:pt x="216546" y="4699000"/>
                </a:lnTo>
                <a:lnTo>
                  <a:pt x="180546" y="4699000"/>
                </a:lnTo>
                <a:lnTo>
                  <a:pt x="0" y="4699000"/>
                </a:lnTo>
                <a:lnTo>
                  <a:pt x="0" y="4278910"/>
                </a:lnTo>
                <a:close/>
              </a:path>
            </a:pathLst>
          </a:custGeom>
          <a:solidFill>
            <a:schemeClr val="bg1"/>
          </a:solidFill>
        </p:spPr>
        <p:txBody>
          <a:bodyPr wrap="square">
            <a:noAutofit/>
          </a:bodyPr>
          <a:lstStyle>
            <a:lvl1pPr algn="ctr">
              <a:buNone/>
              <a:defRPr sz="1600">
                <a:solidFill>
                  <a:srgbClr val="7F7F7F"/>
                </a:solidFill>
              </a:defRPr>
            </a:lvl1pPr>
          </a:lstStyle>
          <a:p>
            <a:endParaRPr lang="en-US"/>
          </a:p>
          <a:p>
            <a:endParaRPr lang="en-US"/>
          </a:p>
          <a:p>
            <a:endParaRPr lang="en-US"/>
          </a:p>
          <a:p>
            <a:endParaRPr lang="en-US"/>
          </a:p>
          <a:p>
            <a:endParaRPr lang="en-US"/>
          </a:p>
          <a:p>
            <a:endParaRPr lang="en-US"/>
          </a:p>
          <a:p>
            <a:endParaRPr lang="en-US"/>
          </a:p>
          <a:p>
            <a:r>
              <a:rPr lang="en-US"/>
              <a:t>Click to add photo</a:t>
            </a:r>
          </a:p>
        </p:txBody>
      </p:sp>
      <p:sp>
        <p:nvSpPr>
          <p:cNvPr id="14" name="Subtitle 2">
            <a:extLst>
              <a:ext uri="{FF2B5EF4-FFF2-40B4-BE49-F238E27FC236}">
                <a16:creationId xmlns:a16="http://schemas.microsoft.com/office/drawing/2014/main" id="{33A59673-F743-3548-A224-DA318708FD70}"/>
              </a:ext>
            </a:extLst>
          </p:cNvPr>
          <p:cNvSpPr txBox="1"/>
          <p:nvPr userDrawn="1"/>
        </p:nvSpPr>
        <p:spPr>
          <a:xfrm>
            <a:off x="7619999" y="3435786"/>
            <a:ext cx="4019670" cy="773557"/>
          </a:xfrm>
          <a:prstGeom prst="rect">
            <a:avLst/>
          </a:prstGeom>
        </p:spPr>
        <p:txBody>
          <a:bodyPr vert="horz" wrap="square" lIns="217433" tIns="108718" rIns="217433" bIns="108718"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800">
                <a:solidFill>
                  <a:schemeClr val="bg1"/>
                </a:solidFill>
                <a:latin typeface="Montserrat Light" charset="0"/>
                <a:ea typeface="Montserrat Light" charset="0"/>
                <a:cs typeface="Montserrat Light" charset="0"/>
              </a:rPr>
              <a:t>Refers to a good or service being offered by a company.</a:t>
            </a:r>
          </a:p>
        </p:txBody>
      </p:sp>
      <p:sp>
        <p:nvSpPr>
          <p:cNvPr id="16" name="Rectangle 15">
            <a:extLst>
              <a:ext uri="{FF2B5EF4-FFF2-40B4-BE49-F238E27FC236}">
                <a16:creationId xmlns:a16="http://schemas.microsoft.com/office/drawing/2014/main" id="{99BB73D2-4537-B849-87DD-438424FEBE62}"/>
              </a:ext>
            </a:extLst>
          </p:cNvPr>
          <p:cNvSpPr/>
          <p:nvPr userDrawn="1"/>
        </p:nvSpPr>
        <p:spPr>
          <a:xfrm rot="10800000" flipV="1">
            <a:off x="7277100" y="3086101"/>
            <a:ext cx="4914900" cy="1472928"/>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ontserrat Light" charset="0"/>
            </a:endParaRPr>
          </a:p>
        </p:txBody>
      </p:sp>
      <p:sp>
        <p:nvSpPr>
          <p:cNvPr id="22" name="Text Placeholder 17">
            <a:extLst>
              <a:ext uri="{FF2B5EF4-FFF2-40B4-BE49-F238E27FC236}">
                <a16:creationId xmlns:a16="http://schemas.microsoft.com/office/drawing/2014/main" id="{76282472-56C2-8A48-86C5-1BC4F9E9B07B}"/>
              </a:ext>
            </a:extLst>
          </p:cNvPr>
          <p:cNvSpPr>
            <a:spLocks noGrp="1"/>
          </p:cNvSpPr>
          <p:nvPr>
            <p:ph type="body" sz="quarter" idx="18" hasCustomPrompt="1"/>
          </p:nvPr>
        </p:nvSpPr>
        <p:spPr>
          <a:xfrm>
            <a:off x="7277100" y="3092586"/>
            <a:ext cx="4667249" cy="1466443"/>
          </a:xfrm>
        </p:spPr>
        <p:txBody>
          <a:bodyPr anchor="ct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ub-heading</a:t>
            </a:r>
            <a:endParaRPr lang="en-US"/>
          </a:p>
        </p:txBody>
      </p:sp>
      <p:sp>
        <p:nvSpPr>
          <p:cNvPr id="24" name="Text Placeholder 23">
            <a:extLst>
              <a:ext uri="{FF2B5EF4-FFF2-40B4-BE49-F238E27FC236}">
                <a16:creationId xmlns:a16="http://schemas.microsoft.com/office/drawing/2014/main" id="{507B26C4-2A6B-404D-B6DF-133DAE89023E}"/>
              </a:ext>
            </a:extLst>
          </p:cNvPr>
          <p:cNvSpPr>
            <a:spLocks noGrp="1"/>
          </p:cNvSpPr>
          <p:nvPr>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a:t>Heading</a:t>
            </a:r>
          </a:p>
        </p:txBody>
      </p:sp>
      <p:sp>
        <p:nvSpPr>
          <p:cNvPr id="10" name="Rectangle 9">
            <a:extLst>
              <a:ext uri="{FF2B5EF4-FFF2-40B4-BE49-F238E27FC236}">
                <a16:creationId xmlns:a16="http://schemas.microsoft.com/office/drawing/2014/main" id="{447A66AA-4479-1F4F-A1EC-0FF5590C23F4}"/>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E49ABDE0-3A95-EA48-A6FF-D7A2F4032D0B}"/>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06695" y="6583579"/>
            <a:ext cx="1300365" cy="144173"/>
          </a:xfrm>
          <a:prstGeom prst="rect">
            <a:avLst/>
          </a:prstGeom>
        </p:spPr>
      </p:pic>
    </p:spTree>
    <p:extLst>
      <p:ext uri="{BB962C8B-B14F-4D97-AF65-F5344CB8AC3E}">
        <p14:creationId xmlns:p14="http://schemas.microsoft.com/office/powerpoint/2010/main" val="1660567731"/>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E062918E-84FF-9547-A16A-383E59F88B13}"/>
              </a:ext>
            </a:extLst>
          </p:cNvPr>
          <p:cNvSpPr>
            <a:spLocks noGrp="1"/>
          </p:cNvSpPr>
          <p:nvPr>
            <p:ph type="pic" sz="quarter" idx="10" hasCustomPrompt="1"/>
          </p:nvPr>
        </p:nvSpPr>
        <p:spPr>
          <a:xfrm>
            <a:off x="241300" y="228600"/>
            <a:ext cx="11696700" cy="5946816"/>
          </a:xfrm>
          <a:custGeom>
            <a:avLst/>
            <a:gdLst>
              <a:gd name="connsiteX0" fmla="*/ 0 w 11696700"/>
              <a:gd name="connsiteY0" fmla="*/ 0 h 5946816"/>
              <a:gd name="connsiteX1" fmla="*/ 11696700 w 11696700"/>
              <a:gd name="connsiteY1" fmla="*/ 0 h 5946816"/>
              <a:gd name="connsiteX2" fmla="*/ 11696700 w 11696700"/>
              <a:gd name="connsiteY2" fmla="*/ 757264 h 5946816"/>
              <a:gd name="connsiteX3" fmla="*/ 5956300 w 11696700"/>
              <a:gd name="connsiteY3" fmla="*/ 757264 h 5946816"/>
              <a:gd name="connsiteX4" fmla="*/ 5956300 w 11696700"/>
              <a:gd name="connsiteY4" fmla="*/ 3182964 h 5946816"/>
              <a:gd name="connsiteX5" fmla="*/ 11696700 w 11696700"/>
              <a:gd name="connsiteY5" fmla="*/ 3182964 h 5946816"/>
              <a:gd name="connsiteX6" fmla="*/ 11696700 w 11696700"/>
              <a:gd name="connsiteY6" fmla="*/ 5943600 h 5946816"/>
              <a:gd name="connsiteX7" fmla="*/ 226308 w 11696700"/>
              <a:gd name="connsiteY7" fmla="*/ 5943600 h 5946816"/>
              <a:gd name="connsiteX8" fmla="*/ 219585 w 11696700"/>
              <a:gd name="connsiteY8" fmla="*/ 5938253 h 5946816"/>
              <a:gd name="connsiteX9" fmla="*/ 350523 w 11696700"/>
              <a:gd name="connsiteY9" fmla="*/ 5946816 h 5946816"/>
              <a:gd name="connsiteX10" fmla="*/ 190308 w 11696700"/>
              <a:gd name="connsiteY10" fmla="*/ 5943600 h 5946816"/>
              <a:gd name="connsiteX11" fmla="*/ 0 w 11696700"/>
              <a:gd name="connsiteY11" fmla="*/ 5943600 h 5946816"/>
              <a:gd name="connsiteX12" fmla="*/ 0 w 11696700"/>
              <a:gd name="connsiteY12" fmla="*/ 0 h 594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96700" h="5946816">
                <a:moveTo>
                  <a:pt x="0" y="0"/>
                </a:moveTo>
                <a:lnTo>
                  <a:pt x="11696700" y="0"/>
                </a:lnTo>
                <a:lnTo>
                  <a:pt x="11696700" y="757264"/>
                </a:lnTo>
                <a:lnTo>
                  <a:pt x="5956300" y="757264"/>
                </a:lnTo>
                <a:lnTo>
                  <a:pt x="5956300" y="3182964"/>
                </a:lnTo>
                <a:lnTo>
                  <a:pt x="11696700" y="3182964"/>
                </a:lnTo>
                <a:lnTo>
                  <a:pt x="11696700" y="5943600"/>
                </a:lnTo>
                <a:lnTo>
                  <a:pt x="226308" y="5943600"/>
                </a:lnTo>
                <a:lnTo>
                  <a:pt x="219585" y="5938253"/>
                </a:lnTo>
                <a:lnTo>
                  <a:pt x="350523" y="5946816"/>
                </a:lnTo>
                <a:lnTo>
                  <a:pt x="190308" y="5943600"/>
                </a:lnTo>
                <a:lnTo>
                  <a:pt x="0" y="5943600"/>
                </a:lnTo>
                <a:lnTo>
                  <a:pt x="0" y="0"/>
                </a:lnTo>
                <a:close/>
              </a:path>
            </a:pathLst>
          </a:custGeom>
        </p:spPr>
        <p:txBody>
          <a:bodyPr wrap="square">
            <a:noAutofit/>
          </a:bodyPr>
          <a:lstStyle>
            <a:lvl1pPr>
              <a:buNone/>
              <a:defRPr sz="1800">
                <a:solidFill>
                  <a:srgbClr val="7F7F7F"/>
                </a:solidFill>
              </a:defRPr>
            </a:lvl1pPr>
          </a:lstStyle>
          <a:p>
            <a:r>
              <a:rPr lang="en-US"/>
              <a:t>     </a:t>
            </a:r>
          </a:p>
          <a:p>
            <a:endParaRPr lang="en-US"/>
          </a:p>
          <a:p>
            <a:endParaRPr lang="en-US"/>
          </a:p>
          <a:p>
            <a:endParaRPr lang="en-US"/>
          </a:p>
          <a:p>
            <a:endParaRPr lang="en-US"/>
          </a:p>
          <a:p>
            <a:r>
              <a:rPr lang="en-US"/>
              <a:t>         </a:t>
            </a:r>
          </a:p>
          <a:p>
            <a:endParaRPr lang="en-US"/>
          </a:p>
          <a:p>
            <a:r>
              <a:rPr lang="en-US"/>
              <a:t>                             Click to add photo</a:t>
            </a:r>
          </a:p>
        </p:txBody>
      </p:sp>
      <p:sp>
        <p:nvSpPr>
          <p:cNvPr id="8" name="Rectangle 7">
            <a:extLst>
              <a:ext uri="{FF2B5EF4-FFF2-40B4-BE49-F238E27FC236}">
                <a16:creationId xmlns:a16="http://schemas.microsoft.com/office/drawing/2014/main" id="{CAE72C2A-8F5D-5741-9D36-B642CB2931C5}"/>
              </a:ext>
            </a:extLst>
          </p:cNvPr>
          <p:cNvSpPr/>
          <p:nvPr userDrawn="1"/>
        </p:nvSpPr>
        <p:spPr>
          <a:xfrm>
            <a:off x="6197600" y="985864"/>
            <a:ext cx="5994400" cy="24257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A6686CA7-9F9D-8D44-B94F-5A2669C8F7B2}"/>
              </a:ext>
            </a:extLst>
          </p:cNvPr>
          <p:cNvSpPr txBox="1"/>
          <p:nvPr userDrawn="1"/>
        </p:nvSpPr>
        <p:spPr>
          <a:xfrm>
            <a:off x="6637283" y="-804041"/>
            <a:ext cx="184731" cy="369332"/>
          </a:xfrm>
          <a:prstGeom prst="rect">
            <a:avLst/>
          </a:prstGeom>
          <a:noFill/>
        </p:spPr>
        <p:txBody>
          <a:bodyPr wrap="none" rtlCol="0">
            <a:spAutoFit/>
          </a:bodyPr>
          <a:lstStyle/>
          <a:p>
            <a:endParaRPr lang="en-US"/>
          </a:p>
        </p:txBody>
      </p:sp>
      <p:sp>
        <p:nvSpPr>
          <p:cNvPr id="33" name="Rectangle 32">
            <a:extLst>
              <a:ext uri="{FF2B5EF4-FFF2-40B4-BE49-F238E27FC236}">
                <a16:creationId xmlns:a16="http://schemas.microsoft.com/office/drawing/2014/main" id="{6D0117BF-7B8F-804D-9B62-BFDC2DE5B730}"/>
              </a:ext>
            </a:extLst>
          </p:cNvPr>
          <p:cNvSpPr/>
          <p:nvPr userDrawn="1"/>
        </p:nvSpPr>
        <p:spPr>
          <a:xfrm>
            <a:off x="6504644" y="202608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sp>
        <p:nvSpPr>
          <p:cNvPr id="34" name="Text Placeholder 23">
            <a:extLst>
              <a:ext uri="{FF2B5EF4-FFF2-40B4-BE49-F238E27FC236}">
                <a16:creationId xmlns:a16="http://schemas.microsoft.com/office/drawing/2014/main" id="{89FD262A-DB5E-AA46-B482-A1055545E6FC}"/>
              </a:ext>
            </a:extLst>
          </p:cNvPr>
          <p:cNvSpPr>
            <a:spLocks noGrp="1"/>
          </p:cNvSpPr>
          <p:nvPr>
            <p:ph type="body" sz="quarter" idx="16" hasCustomPrompt="1"/>
          </p:nvPr>
        </p:nvSpPr>
        <p:spPr>
          <a:xfrm>
            <a:off x="6420495" y="1328734"/>
            <a:ext cx="5113283" cy="582221"/>
          </a:xfrm>
        </p:spPr>
        <p:txBody>
          <a:bodyPr>
            <a:normAutofit/>
          </a:bodyPr>
          <a:lstStyle>
            <a:lvl1pPr marL="0" indent="0" algn="l">
              <a:buNone/>
              <a:defRPr sz="3600" b="0" i="0">
                <a:solidFill>
                  <a:schemeClr val="bg1"/>
                </a:solidFill>
                <a:latin typeface="+mn-lt"/>
              </a:defRPr>
            </a:lvl1pPr>
          </a:lstStyle>
          <a:p>
            <a:pPr lvl="0"/>
            <a:r>
              <a:rPr lang="en-US"/>
              <a:t>Heading</a:t>
            </a:r>
          </a:p>
        </p:txBody>
      </p:sp>
      <p:sp>
        <p:nvSpPr>
          <p:cNvPr id="35" name="Text Placeholder 17">
            <a:extLst>
              <a:ext uri="{FF2B5EF4-FFF2-40B4-BE49-F238E27FC236}">
                <a16:creationId xmlns:a16="http://schemas.microsoft.com/office/drawing/2014/main" id="{11F92C0B-314B-1D4F-96FF-2837F718CF3C}"/>
              </a:ext>
            </a:extLst>
          </p:cNvPr>
          <p:cNvSpPr>
            <a:spLocks noGrp="1"/>
          </p:cNvSpPr>
          <p:nvPr>
            <p:ph type="body" sz="quarter" idx="18" hasCustomPrompt="1"/>
          </p:nvPr>
        </p:nvSpPr>
        <p:spPr>
          <a:xfrm>
            <a:off x="6420495" y="2346524"/>
            <a:ext cx="5029134" cy="851567"/>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ub-heading</a:t>
            </a:r>
            <a:endParaRPr lang="en-US"/>
          </a:p>
        </p:txBody>
      </p:sp>
      <p:sp>
        <p:nvSpPr>
          <p:cNvPr id="12" name="Rectangle 11">
            <a:extLst>
              <a:ext uri="{FF2B5EF4-FFF2-40B4-BE49-F238E27FC236}">
                <a16:creationId xmlns:a16="http://schemas.microsoft.com/office/drawing/2014/main" id="{67398235-C6AD-0044-962D-4008089BE2E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3" name="Picture 12" descr="Logo&#10;&#10;Description automatically generated">
            <a:extLst>
              <a:ext uri="{FF2B5EF4-FFF2-40B4-BE49-F238E27FC236}">
                <a16:creationId xmlns:a16="http://schemas.microsoft.com/office/drawing/2014/main" id="{9BCE51B4-5C11-8648-BE30-F5B130E4941C}"/>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06695" y="6583579"/>
            <a:ext cx="1300365" cy="144173"/>
          </a:xfrm>
          <a:prstGeom prst="rect">
            <a:avLst/>
          </a:prstGeom>
        </p:spPr>
      </p:pic>
    </p:spTree>
    <p:extLst>
      <p:ext uri="{BB962C8B-B14F-4D97-AF65-F5344CB8AC3E}">
        <p14:creationId xmlns:p14="http://schemas.microsoft.com/office/powerpoint/2010/main" val="2563063803"/>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Photo Slid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ub-heading</a:t>
            </a:r>
            <a:endParaRPr lang="en-US"/>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r>
              <a:rPr lang="en-US"/>
              <a:t>Click to add photo</a:t>
            </a:r>
          </a:p>
        </p:txBody>
      </p:sp>
      <p:sp>
        <p:nvSpPr>
          <p:cNvPr id="17" name="Rectangle 16">
            <a:extLst>
              <a:ext uri="{FF2B5EF4-FFF2-40B4-BE49-F238E27FC236}">
                <a16:creationId xmlns:a16="http://schemas.microsoft.com/office/drawing/2014/main" id="{EB068B24-AAD2-EC46-9C66-7437E5F1B308}"/>
              </a:ext>
            </a:extLst>
          </p:cNvPr>
          <p:cNvSpPr/>
          <p:nvPr userDrawn="1"/>
        </p:nvSpPr>
        <p:spPr>
          <a:xfrm>
            <a:off x="676972" y="141915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sp>
        <p:nvSpPr>
          <p:cNvPr id="12" name="Rectangle 11">
            <a:extLst>
              <a:ext uri="{FF2B5EF4-FFF2-40B4-BE49-F238E27FC236}">
                <a16:creationId xmlns:a16="http://schemas.microsoft.com/office/drawing/2014/main" id="{9224B230-825F-464D-818B-C48C81BE9E2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C0E45D6A-D725-0E40-8A9C-04FD779E67F5}"/>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06695" y="6583579"/>
            <a:ext cx="1300365" cy="144173"/>
          </a:xfrm>
          <a:prstGeom prst="rect">
            <a:avLst/>
          </a:prstGeom>
        </p:spPr>
      </p:pic>
    </p:spTree>
    <p:extLst>
      <p:ext uri="{BB962C8B-B14F-4D97-AF65-F5344CB8AC3E}">
        <p14:creationId xmlns:p14="http://schemas.microsoft.com/office/powerpoint/2010/main" val="3900466534"/>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Photo Slide - Oran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ub-heading</a:t>
            </a:r>
            <a:endParaRPr lang="en-US"/>
          </a:p>
        </p:txBody>
      </p:sp>
      <p:sp>
        <p:nvSpPr>
          <p:cNvPr id="10" name="Rectangle 9">
            <a:extLst>
              <a:ext uri="{FF2B5EF4-FFF2-40B4-BE49-F238E27FC236}">
                <a16:creationId xmlns:a16="http://schemas.microsoft.com/office/drawing/2014/main" id="{670CC3DF-08FC-104A-96EE-39401CA6BF0E}"/>
              </a:ext>
            </a:extLst>
          </p:cNvPr>
          <p:cNvSpPr/>
          <p:nvPr userDrawn="1"/>
        </p:nvSpPr>
        <p:spPr>
          <a:xfrm>
            <a:off x="676972" y="141915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r>
              <a:rPr lang="en-US"/>
              <a:t>Click to add photo</a:t>
            </a:r>
          </a:p>
        </p:txBody>
      </p:sp>
      <p:sp>
        <p:nvSpPr>
          <p:cNvPr id="12" name="Rectangle 11">
            <a:extLst>
              <a:ext uri="{FF2B5EF4-FFF2-40B4-BE49-F238E27FC236}">
                <a16:creationId xmlns:a16="http://schemas.microsoft.com/office/drawing/2014/main" id="{74F5F8AB-170A-B44D-BD0D-27DD2A5A9D9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C0C7C7A-DB95-734B-98BC-92FBFE838E05}"/>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06695" y="6583579"/>
            <a:ext cx="1300365" cy="144173"/>
          </a:xfrm>
          <a:prstGeom prst="rect">
            <a:avLst/>
          </a:prstGeom>
        </p:spPr>
      </p:pic>
    </p:spTree>
    <p:extLst>
      <p:ext uri="{BB962C8B-B14F-4D97-AF65-F5344CB8AC3E}">
        <p14:creationId xmlns:p14="http://schemas.microsoft.com/office/powerpoint/2010/main" val="3920791526"/>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eet Our Team">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56B2A56-2BBE-C646-BE66-B40552392DDE}"/>
              </a:ext>
            </a:extLst>
          </p:cNvPr>
          <p:cNvSpPr/>
          <p:nvPr userDrawn="1"/>
        </p:nvSpPr>
        <p:spPr>
          <a:xfrm>
            <a:off x="241300" y="228600"/>
            <a:ext cx="11696700" cy="27178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80054DF-81C6-D345-BE64-D6FEB13B6C91}"/>
              </a:ext>
            </a:extLst>
          </p:cNvPr>
          <p:cNvSpPr/>
          <p:nvPr userDrawn="1"/>
        </p:nvSpPr>
        <p:spPr>
          <a:xfrm>
            <a:off x="5571778" y="131445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sp>
        <p:nvSpPr>
          <p:cNvPr id="30" name="Picture Placeholder 23">
            <a:extLst>
              <a:ext uri="{FF2B5EF4-FFF2-40B4-BE49-F238E27FC236}">
                <a16:creationId xmlns:a16="http://schemas.microsoft.com/office/drawing/2014/main" id="{F70575B2-ECB2-3B4B-8C90-3CB13894D8CB}"/>
              </a:ext>
            </a:extLst>
          </p:cNvPr>
          <p:cNvSpPr>
            <a:spLocks noGrp="1"/>
          </p:cNvSpPr>
          <p:nvPr>
            <p:ph type="pic" sz="quarter" idx="10"/>
          </p:nvPr>
        </p:nvSpPr>
        <p:spPr>
          <a:xfrm>
            <a:off x="1179684" y="2043172"/>
            <a:ext cx="1723877" cy="1723877"/>
          </a:xfrm>
          <a:prstGeom prst="ellipse">
            <a:avLst/>
          </a:prstGeom>
          <a:solidFill>
            <a:schemeClr val="bg1"/>
          </a:solidFill>
        </p:spPr>
        <p:txBody>
          <a:bodyPr/>
          <a:lstStyle>
            <a:lvl1pPr>
              <a:buNone/>
              <a:defRPr sz="1400">
                <a:solidFill>
                  <a:srgbClr val="7F7F7F"/>
                </a:solidFill>
              </a:defRPr>
            </a:lvl1pPr>
          </a:lstStyle>
          <a:p>
            <a:endParaRPr lang="en-US"/>
          </a:p>
          <a:p>
            <a:endParaRPr lang="en-US"/>
          </a:p>
          <a:p>
            <a:r>
              <a:rPr lang="en-US"/>
              <a:t>  Click to add   photo</a:t>
            </a:r>
          </a:p>
        </p:txBody>
      </p:sp>
      <p:sp>
        <p:nvSpPr>
          <p:cNvPr id="31" name="Picture Placeholder 23">
            <a:extLst>
              <a:ext uri="{FF2B5EF4-FFF2-40B4-BE49-F238E27FC236}">
                <a16:creationId xmlns:a16="http://schemas.microsoft.com/office/drawing/2014/main" id="{597B8BAB-AD5C-574C-8BBB-7F077692D340}"/>
              </a:ext>
            </a:extLst>
          </p:cNvPr>
          <p:cNvSpPr>
            <a:spLocks noGrp="1"/>
          </p:cNvSpPr>
          <p:nvPr>
            <p:ph type="pic" sz="quarter" idx="11"/>
          </p:nvPr>
        </p:nvSpPr>
        <p:spPr>
          <a:xfrm>
            <a:off x="3867471" y="2052565"/>
            <a:ext cx="1723877" cy="1723877"/>
          </a:xfrm>
          <a:prstGeom prst="ellipse">
            <a:avLst/>
          </a:prstGeom>
          <a:solidFill>
            <a:schemeClr val="bg1"/>
          </a:solidFill>
        </p:spPr>
        <p:txBody>
          <a:bodyPr/>
          <a:lstStyle>
            <a:lvl1pPr>
              <a:buNone/>
              <a:defRPr sz="1400">
                <a:solidFill>
                  <a:srgbClr val="7F7F7F"/>
                </a:solidFill>
              </a:defRPr>
            </a:lvl1pPr>
          </a:lstStyle>
          <a:p>
            <a:endParaRPr lang="en-US"/>
          </a:p>
          <a:p>
            <a:endParaRPr lang="en-US"/>
          </a:p>
          <a:p>
            <a:r>
              <a:rPr lang="en-US"/>
              <a:t>  Click to add   photo</a:t>
            </a:r>
          </a:p>
        </p:txBody>
      </p:sp>
      <p:sp>
        <p:nvSpPr>
          <p:cNvPr id="32" name="Picture Placeholder 23">
            <a:extLst>
              <a:ext uri="{FF2B5EF4-FFF2-40B4-BE49-F238E27FC236}">
                <a16:creationId xmlns:a16="http://schemas.microsoft.com/office/drawing/2014/main" id="{8CBF548A-8484-5248-B085-F53D405FB036}"/>
              </a:ext>
            </a:extLst>
          </p:cNvPr>
          <p:cNvSpPr>
            <a:spLocks noGrp="1"/>
          </p:cNvSpPr>
          <p:nvPr>
            <p:ph type="pic" sz="quarter" idx="12"/>
          </p:nvPr>
        </p:nvSpPr>
        <p:spPr>
          <a:xfrm>
            <a:off x="6543647" y="2048263"/>
            <a:ext cx="1723877" cy="1723877"/>
          </a:xfrm>
          <a:prstGeom prst="ellipse">
            <a:avLst/>
          </a:prstGeom>
          <a:solidFill>
            <a:schemeClr val="bg1"/>
          </a:solidFill>
        </p:spPr>
        <p:txBody>
          <a:bodyPr/>
          <a:lstStyle>
            <a:lvl1pPr>
              <a:buNone/>
              <a:defRPr sz="1400">
                <a:solidFill>
                  <a:srgbClr val="7F7F7F"/>
                </a:solidFill>
              </a:defRPr>
            </a:lvl1pPr>
          </a:lstStyle>
          <a:p>
            <a:endParaRPr lang="en-US"/>
          </a:p>
          <a:p>
            <a:endParaRPr lang="en-US"/>
          </a:p>
          <a:p>
            <a:r>
              <a:rPr lang="en-US"/>
              <a:t>  Click to add   photo</a:t>
            </a:r>
          </a:p>
        </p:txBody>
      </p:sp>
      <p:sp>
        <p:nvSpPr>
          <p:cNvPr id="33" name="Picture Placeholder 23">
            <a:extLst>
              <a:ext uri="{FF2B5EF4-FFF2-40B4-BE49-F238E27FC236}">
                <a16:creationId xmlns:a16="http://schemas.microsoft.com/office/drawing/2014/main" id="{39A13ABC-6CD4-9246-A71F-B0D3E19169DA}"/>
              </a:ext>
            </a:extLst>
          </p:cNvPr>
          <p:cNvSpPr>
            <a:spLocks noGrp="1"/>
          </p:cNvSpPr>
          <p:nvPr>
            <p:ph type="pic" sz="quarter" idx="13"/>
          </p:nvPr>
        </p:nvSpPr>
        <p:spPr>
          <a:xfrm>
            <a:off x="9231434" y="2057654"/>
            <a:ext cx="1723877" cy="1723877"/>
          </a:xfrm>
          <a:prstGeom prst="ellipse">
            <a:avLst/>
          </a:prstGeom>
          <a:solidFill>
            <a:schemeClr val="bg1"/>
          </a:solidFill>
        </p:spPr>
        <p:txBody>
          <a:bodyPr/>
          <a:lstStyle>
            <a:lvl1pPr>
              <a:buNone/>
              <a:defRPr sz="1400">
                <a:solidFill>
                  <a:srgbClr val="7F7F7F"/>
                </a:solidFill>
              </a:defRPr>
            </a:lvl1pPr>
          </a:lstStyle>
          <a:p>
            <a:endParaRPr lang="en-US"/>
          </a:p>
          <a:p>
            <a:endParaRPr lang="en-US"/>
          </a:p>
          <a:p>
            <a:r>
              <a:rPr lang="en-US"/>
              <a:t>  Click to add   photo</a:t>
            </a:r>
          </a:p>
        </p:txBody>
      </p:sp>
      <p:sp>
        <p:nvSpPr>
          <p:cNvPr id="42" name="Text Placeholder 17">
            <a:extLst>
              <a:ext uri="{FF2B5EF4-FFF2-40B4-BE49-F238E27FC236}">
                <a16:creationId xmlns:a16="http://schemas.microsoft.com/office/drawing/2014/main" id="{87A5D6E2-FCB8-A749-81EA-BC7F9A176ABB}"/>
              </a:ext>
            </a:extLst>
          </p:cNvPr>
          <p:cNvSpPr>
            <a:spLocks noGrp="1"/>
          </p:cNvSpPr>
          <p:nvPr>
            <p:ph type="body" sz="quarter" idx="18" hasCustomPrompt="1"/>
          </p:nvPr>
        </p:nvSpPr>
        <p:spPr>
          <a:xfrm>
            <a:off x="864405" y="4462702"/>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Title</a:t>
            </a:r>
            <a:endParaRPr lang="en-US"/>
          </a:p>
        </p:txBody>
      </p:sp>
      <p:sp>
        <p:nvSpPr>
          <p:cNvPr id="43" name="Text Placeholder 23">
            <a:extLst>
              <a:ext uri="{FF2B5EF4-FFF2-40B4-BE49-F238E27FC236}">
                <a16:creationId xmlns:a16="http://schemas.microsoft.com/office/drawing/2014/main" id="{AB58A5CB-AB27-844F-B28D-2E3D2232E353}"/>
              </a:ext>
            </a:extLst>
          </p:cNvPr>
          <p:cNvSpPr>
            <a:spLocks noGrp="1"/>
          </p:cNvSpPr>
          <p:nvPr>
            <p:ph type="body" sz="quarter" idx="16" hasCustomPrompt="1"/>
          </p:nvPr>
        </p:nvSpPr>
        <p:spPr>
          <a:xfrm>
            <a:off x="864404" y="3931189"/>
            <a:ext cx="2289838" cy="344705"/>
          </a:xfrm>
        </p:spPr>
        <p:txBody>
          <a:bodyPr>
            <a:normAutofit/>
          </a:bodyPr>
          <a:lstStyle>
            <a:lvl1pPr marL="0" indent="0" algn="ctr">
              <a:buNone/>
              <a:defRPr sz="2000" b="0" i="0">
                <a:solidFill>
                  <a:srgbClr val="F16924"/>
                </a:solidFill>
                <a:latin typeface="+mn-lt"/>
              </a:defRPr>
            </a:lvl1pPr>
          </a:lstStyle>
          <a:p>
            <a:pPr lvl="0"/>
            <a:r>
              <a:rPr lang="en-US"/>
              <a:t>Name</a:t>
            </a:r>
          </a:p>
        </p:txBody>
      </p:sp>
      <p:sp>
        <p:nvSpPr>
          <p:cNvPr id="44" name="Text Placeholder 17">
            <a:extLst>
              <a:ext uri="{FF2B5EF4-FFF2-40B4-BE49-F238E27FC236}">
                <a16:creationId xmlns:a16="http://schemas.microsoft.com/office/drawing/2014/main" id="{4B2C2646-153F-D446-A6C4-E96058A5C0FE}"/>
              </a:ext>
            </a:extLst>
          </p:cNvPr>
          <p:cNvSpPr>
            <a:spLocks noGrp="1"/>
          </p:cNvSpPr>
          <p:nvPr>
            <p:ph type="body" sz="quarter" idx="19" hasCustomPrompt="1"/>
          </p:nvPr>
        </p:nvSpPr>
        <p:spPr>
          <a:xfrm>
            <a:off x="3603613" y="4480397"/>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Title</a:t>
            </a:r>
            <a:endParaRPr lang="en-US"/>
          </a:p>
        </p:txBody>
      </p:sp>
      <p:sp>
        <p:nvSpPr>
          <p:cNvPr id="45" name="Text Placeholder 23">
            <a:extLst>
              <a:ext uri="{FF2B5EF4-FFF2-40B4-BE49-F238E27FC236}">
                <a16:creationId xmlns:a16="http://schemas.microsoft.com/office/drawing/2014/main" id="{35687AA8-029A-4A4F-B7FF-65AD20471261}"/>
              </a:ext>
            </a:extLst>
          </p:cNvPr>
          <p:cNvSpPr>
            <a:spLocks noGrp="1"/>
          </p:cNvSpPr>
          <p:nvPr>
            <p:ph type="body" sz="quarter" idx="20" hasCustomPrompt="1"/>
          </p:nvPr>
        </p:nvSpPr>
        <p:spPr>
          <a:xfrm>
            <a:off x="3603612" y="3948884"/>
            <a:ext cx="2289838" cy="344705"/>
          </a:xfrm>
        </p:spPr>
        <p:txBody>
          <a:bodyPr>
            <a:normAutofit/>
          </a:bodyPr>
          <a:lstStyle>
            <a:lvl1pPr marL="0" indent="0" algn="ctr">
              <a:buNone/>
              <a:defRPr sz="2000" b="0" i="0">
                <a:solidFill>
                  <a:srgbClr val="F16924"/>
                </a:solidFill>
                <a:latin typeface="+mn-lt"/>
              </a:defRPr>
            </a:lvl1pPr>
          </a:lstStyle>
          <a:p>
            <a:pPr lvl="0"/>
            <a:r>
              <a:rPr lang="en-US"/>
              <a:t>Name</a:t>
            </a:r>
          </a:p>
        </p:txBody>
      </p:sp>
      <p:sp>
        <p:nvSpPr>
          <p:cNvPr id="46" name="Text Placeholder 17">
            <a:extLst>
              <a:ext uri="{FF2B5EF4-FFF2-40B4-BE49-F238E27FC236}">
                <a16:creationId xmlns:a16="http://schemas.microsoft.com/office/drawing/2014/main" id="{60085004-ECA1-184B-A4C3-081718D98C21}"/>
              </a:ext>
            </a:extLst>
          </p:cNvPr>
          <p:cNvSpPr>
            <a:spLocks noGrp="1"/>
          </p:cNvSpPr>
          <p:nvPr>
            <p:ph type="body" sz="quarter" idx="21" hasCustomPrompt="1"/>
          </p:nvPr>
        </p:nvSpPr>
        <p:spPr>
          <a:xfrm>
            <a:off x="6298550" y="4450949"/>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Title</a:t>
            </a:r>
            <a:endParaRPr lang="en-US"/>
          </a:p>
        </p:txBody>
      </p:sp>
      <p:sp>
        <p:nvSpPr>
          <p:cNvPr id="47" name="Text Placeholder 23">
            <a:extLst>
              <a:ext uri="{FF2B5EF4-FFF2-40B4-BE49-F238E27FC236}">
                <a16:creationId xmlns:a16="http://schemas.microsoft.com/office/drawing/2014/main" id="{8A39FB91-3EAB-8D46-823F-121EE6218956}"/>
              </a:ext>
            </a:extLst>
          </p:cNvPr>
          <p:cNvSpPr>
            <a:spLocks noGrp="1"/>
          </p:cNvSpPr>
          <p:nvPr>
            <p:ph type="body" sz="quarter" idx="22" hasCustomPrompt="1"/>
          </p:nvPr>
        </p:nvSpPr>
        <p:spPr>
          <a:xfrm>
            <a:off x="6298549" y="3919436"/>
            <a:ext cx="2289838" cy="344705"/>
          </a:xfrm>
        </p:spPr>
        <p:txBody>
          <a:bodyPr>
            <a:normAutofit/>
          </a:bodyPr>
          <a:lstStyle>
            <a:lvl1pPr marL="0" indent="0" algn="ctr">
              <a:buNone/>
              <a:defRPr sz="2000" b="0" i="0">
                <a:solidFill>
                  <a:srgbClr val="F16924"/>
                </a:solidFill>
                <a:latin typeface="+mn-lt"/>
              </a:defRPr>
            </a:lvl1pPr>
          </a:lstStyle>
          <a:p>
            <a:pPr lvl="0"/>
            <a:r>
              <a:rPr lang="en-US"/>
              <a:t>Name</a:t>
            </a:r>
          </a:p>
        </p:txBody>
      </p:sp>
      <p:sp>
        <p:nvSpPr>
          <p:cNvPr id="48" name="Text Placeholder 17">
            <a:extLst>
              <a:ext uri="{FF2B5EF4-FFF2-40B4-BE49-F238E27FC236}">
                <a16:creationId xmlns:a16="http://schemas.microsoft.com/office/drawing/2014/main" id="{732096D6-82F4-EF4D-B0DE-F90EE786C97A}"/>
              </a:ext>
            </a:extLst>
          </p:cNvPr>
          <p:cNvSpPr>
            <a:spLocks noGrp="1"/>
          </p:cNvSpPr>
          <p:nvPr>
            <p:ph type="body" sz="quarter" idx="23" hasCustomPrompt="1"/>
          </p:nvPr>
        </p:nvSpPr>
        <p:spPr>
          <a:xfrm>
            <a:off x="9037758" y="4468644"/>
            <a:ext cx="2289837" cy="1237497"/>
          </a:xfrm>
        </p:spPr>
        <p:txBody>
          <a:bodyPr/>
          <a:lstStyle>
            <a:lvl1pPr marL="228600" marR="0" indent="-228600" algn="ctr" defTabSz="914400" rtl="0" eaLnBrk="1" fontAlgn="auto" latinLnBrk="0" hangingPunct="1">
              <a:lnSpc>
                <a:spcPct val="90000"/>
              </a:lnSpc>
              <a:spcBef>
                <a:spcPts val="1000"/>
              </a:spcBef>
              <a:spcAft>
                <a:spcPct val="0"/>
              </a:spcAft>
              <a:buClrTx/>
              <a:buSzTx/>
              <a:buFont typeface="Arial" panose="020B0604020202020204" pitchFamily="34" charset="0"/>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marL="228600" marR="0" lvl="0" indent="-228600" algn="ctr" defTabSz="914400" rtl="0" eaLnBrk="1" fontAlgn="auto" latinLnBrk="0" hangingPunct="1">
              <a:lnSpc>
                <a:spcPct val="90000"/>
              </a:lnSpc>
              <a:spcBef>
                <a:spcPts val="1000"/>
              </a:spcBef>
              <a:spcAft>
                <a:spcPct val="0"/>
              </a:spcAft>
              <a:buClrTx/>
              <a:buSzTx/>
              <a:buFont typeface="Arial" panose="020B0604020202020204" pitchFamily="34" charset="0"/>
              <a:buNone/>
              <a:defRPr/>
            </a:pPr>
            <a:r>
              <a:rPr lang="en-GB"/>
              <a:t>Title</a:t>
            </a:r>
            <a:endParaRPr lang="en-US"/>
          </a:p>
          <a:p>
            <a:pPr lvl="0"/>
            <a:endParaRPr lang="en-US"/>
          </a:p>
        </p:txBody>
      </p:sp>
      <p:sp>
        <p:nvSpPr>
          <p:cNvPr id="49" name="Text Placeholder 23">
            <a:extLst>
              <a:ext uri="{FF2B5EF4-FFF2-40B4-BE49-F238E27FC236}">
                <a16:creationId xmlns:a16="http://schemas.microsoft.com/office/drawing/2014/main" id="{1159E417-4740-EB49-8F54-BE28E9673052}"/>
              </a:ext>
            </a:extLst>
          </p:cNvPr>
          <p:cNvSpPr>
            <a:spLocks noGrp="1"/>
          </p:cNvSpPr>
          <p:nvPr>
            <p:ph type="body" sz="quarter" idx="24" hasCustomPrompt="1"/>
          </p:nvPr>
        </p:nvSpPr>
        <p:spPr>
          <a:xfrm>
            <a:off x="9037757" y="3937131"/>
            <a:ext cx="2289838" cy="344705"/>
          </a:xfrm>
        </p:spPr>
        <p:txBody>
          <a:bodyPr>
            <a:normAutofit/>
          </a:bodyPr>
          <a:lstStyle>
            <a:lvl1pPr marL="0" indent="0" algn="ctr">
              <a:buNone/>
              <a:defRPr sz="2000" b="0" i="0">
                <a:solidFill>
                  <a:srgbClr val="F16924"/>
                </a:solidFill>
                <a:latin typeface="+mn-lt"/>
              </a:defRPr>
            </a:lvl1pPr>
          </a:lstStyle>
          <a:p>
            <a:pPr lvl="0"/>
            <a:r>
              <a:rPr lang="en-US"/>
              <a:t>Name</a:t>
            </a:r>
          </a:p>
        </p:txBody>
      </p:sp>
      <p:sp>
        <p:nvSpPr>
          <p:cNvPr id="51" name="Text Placeholder 23">
            <a:extLst>
              <a:ext uri="{FF2B5EF4-FFF2-40B4-BE49-F238E27FC236}">
                <a16:creationId xmlns:a16="http://schemas.microsoft.com/office/drawing/2014/main" id="{34C31F06-6858-834A-95DF-B38410393984}"/>
              </a:ext>
            </a:extLst>
          </p:cNvPr>
          <p:cNvSpPr>
            <a:spLocks noGrp="1"/>
          </p:cNvSpPr>
          <p:nvPr>
            <p:ph type="body" sz="quarter" idx="25" hasCustomPrompt="1"/>
          </p:nvPr>
        </p:nvSpPr>
        <p:spPr>
          <a:xfrm>
            <a:off x="254000" y="590455"/>
            <a:ext cx="11696700" cy="582221"/>
          </a:xfrm>
        </p:spPr>
        <p:txBody>
          <a:bodyPr>
            <a:normAutofit/>
          </a:bodyPr>
          <a:lstStyle>
            <a:lvl1pPr marL="0" indent="0" algn="ctr">
              <a:buNone/>
              <a:defRPr sz="3600" b="0" i="0">
                <a:solidFill>
                  <a:schemeClr val="bg1"/>
                </a:solidFill>
                <a:latin typeface="Calibri" panose="020F0502020204030204" pitchFamily="34" charset="0"/>
                <a:cs typeface="Calibri" panose="020F0502020204030204" pitchFamily="34" charset="0"/>
              </a:defRPr>
            </a:lvl1pPr>
          </a:lstStyle>
          <a:p>
            <a:pPr lvl="0"/>
            <a:r>
              <a:rPr lang="en-US"/>
              <a:t>Meet Our Team</a:t>
            </a:r>
          </a:p>
        </p:txBody>
      </p:sp>
      <p:sp>
        <p:nvSpPr>
          <p:cNvPr id="21" name="Rectangle 20">
            <a:extLst>
              <a:ext uri="{FF2B5EF4-FFF2-40B4-BE49-F238E27FC236}">
                <a16:creationId xmlns:a16="http://schemas.microsoft.com/office/drawing/2014/main" id="{8A84E1C7-820C-6B4C-90A3-B85E568D2AF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13DAD951-7FBC-0B47-A686-42F1981A7ACD}"/>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317595" y="6342038"/>
            <a:ext cx="1300365" cy="144173"/>
          </a:xfrm>
          <a:prstGeom prst="rect">
            <a:avLst/>
          </a:prstGeom>
        </p:spPr>
      </p:pic>
    </p:spTree>
    <p:extLst>
      <p:ext uri="{BB962C8B-B14F-4D97-AF65-F5344CB8AC3E}">
        <p14:creationId xmlns:p14="http://schemas.microsoft.com/office/powerpoint/2010/main" val="996481033"/>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box - Solid Nav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E96EDAD-C319-D548-A979-49E81343F7F8}"/>
              </a:ext>
            </a:extLst>
          </p:cNvPr>
          <p:cNvSpPr/>
          <p:nvPr userDrawn="1"/>
        </p:nvSpPr>
        <p:spPr>
          <a:xfrm>
            <a:off x="241300" y="228600"/>
            <a:ext cx="11696700" cy="56953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ub-heading</a:t>
            </a:r>
            <a:endParaRPr lang="en-US"/>
          </a:p>
        </p:txBody>
      </p:sp>
      <p:sp>
        <p:nvSpPr>
          <p:cNvPr id="10" name="Rectangle 9">
            <a:extLst>
              <a:ext uri="{FF2B5EF4-FFF2-40B4-BE49-F238E27FC236}">
                <a16:creationId xmlns:a16="http://schemas.microsoft.com/office/drawing/2014/main" id="{0D06C5BC-7DA1-284B-92AA-35E0A7B11036}"/>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a:t>Heading</a:t>
            </a:r>
          </a:p>
        </p:txBody>
      </p:sp>
      <p:sp>
        <p:nvSpPr>
          <p:cNvPr id="8" name="Rectangle 7">
            <a:extLst>
              <a:ext uri="{FF2B5EF4-FFF2-40B4-BE49-F238E27FC236}">
                <a16:creationId xmlns:a16="http://schemas.microsoft.com/office/drawing/2014/main" id="{46BFFD43-F8F2-A442-AD13-9D6BE5006D5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000DD97F-55CE-F046-AE6A-2ED9AA91C563}"/>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06695" y="6583579"/>
            <a:ext cx="1300365" cy="144173"/>
          </a:xfrm>
          <a:prstGeom prst="rect">
            <a:avLst/>
          </a:prstGeom>
        </p:spPr>
      </p:pic>
    </p:spTree>
    <p:extLst>
      <p:ext uri="{BB962C8B-B14F-4D97-AF65-F5344CB8AC3E}">
        <p14:creationId xmlns:p14="http://schemas.microsoft.com/office/powerpoint/2010/main" val="3284701512"/>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box - Solid Light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B62BE5A-66C1-434D-9B56-58E19E52B6F3}"/>
              </a:ext>
            </a:extLst>
          </p:cNvPr>
          <p:cNvSpPr/>
          <p:nvPr userDrawn="1"/>
        </p:nvSpPr>
        <p:spPr>
          <a:xfrm>
            <a:off x="241300" y="228600"/>
            <a:ext cx="11696700" cy="56953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ub-heading</a:t>
            </a:r>
            <a:endParaRPr lang="en-US"/>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a:t>Heading</a:t>
            </a:r>
          </a:p>
        </p:txBody>
      </p:sp>
      <p:sp>
        <p:nvSpPr>
          <p:cNvPr id="8" name="Rectangle 7">
            <a:extLst>
              <a:ext uri="{FF2B5EF4-FFF2-40B4-BE49-F238E27FC236}">
                <a16:creationId xmlns:a16="http://schemas.microsoft.com/office/drawing/2014/main" id="{BEF564C0-0C80-AF4F-AACE-A9610384834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C960BDC8-E155-A147-AB2E-7170DDF4F116}"/>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06695" y="6583579"/>
            <a:ext cx="1300365" cy="144173"/>
          </a:xfrm>
          <a:prstGeom prst="rect">
            <a:avLst/>
          </a:prstGeom>
        </p:spPr>
      </p:pic>
    </p:spTree>
    <p:extLst>
      <p:ext uri="{BB962C8B-B14F-4D97-AF65-F5344CB8AC3E}">
        <p14:creationId xmlns:p14="http://schemas.microsoft.com/office/powerpoint/2010/main" val="1092935293"/>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only MASTER slide">
    <p:spTree>
      <p:nvGrpSpPr>
        <p:cNvPr id="1" name=""/>
        <p:cNvGrpSpPr/>
        <p:nvPr/>
      </p:nvGrpSpPr>
      <p:grpSpPr>
        <a:xfrm>
          <a:off x="0" y="0"/>
          <a:ext cx="0" cy="0"/>
          <a:chOff x="0" y="0"/>
          <a:chExt cx="0" cy="0"/>
        </a:xfrm>
      </p:grpSpPr>
      <p:sp>
        <p:nvSpPr>
          <p:cNvPr id="15" name="Text Placeholder 17">
            <a:extLst>
              <a:ext uri="{FF2B5EF4-FFF2-40B4-BE49-F238E27FC236}">
                <a16:creationId xmlns:a16="http://schemas.microsoft.com/office/drawing/2014/main" id="{F65C73A9-FE78-B440-AFB3-1081F93D7B79}"/>
              </a:ext>
            </a:extLst>
          </p:cNvPr>
          <p:cNvSpPr>
            <a:spLocks noGrp="1"/>
          </p:cNvSpPr>
          <p:nvPr>
            <p:ph type="body" sz="quarter" idx="18" hasCustomPrompt="1"/>
          </p:nvPr>
        </p:nvSpPr>
        <p:spPr>
          <a:xfrm>
            <a:off x="529759" y="1757011"/>
            <a:ext cx="11073662" cy="386770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ub-heading</a:t>
            </a:r>
            <a:endParaRPr lang="en-US"/>
          </a:p>
        </p:txBody>
      </p:sp>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58" y="642972"/>
            <a:ext cx="11073661" cy="582221"/>
          </a:xfrm>
        </p:spPr>
        <p:txBody>
          <a:bodyPr>
            <a:normAutofit/>
          </a:bodyPr>
          <a:lstStyle>
            <a:lvl1pPr marL="0" indent="0" algn="l">
              <a:buNone/>
              <a:defRPr sz="3600" b="0" i="0">
                <a:solidFill>
                  <a:srgbClr val="595959"/>
                </a:solidFill>
                <a:latin typeface="+mn-lt"/>
              </a:defRPr>
            </a:lvl1pPr>
          </a:lstStyle>
          <a:p>
            <a:pPr lvl="0"/>
            <a:r>
              <a:rPr lang="en-US"/>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06695" y="6583579"/>
            <a:ext cx="1300365" cy="144173"/>
          </a:xfrm>
          <a:prstGeom prst="rect">
            <a:avLst/>
          </a:prstGeom>
        </p:spPr>
      </p:pic>
    </p:spTree>
    <p:extLst>
      <p:ext uri="{BB962C8B-B14F-4D97-AF65-F5344CB8AC3E}">
        <p14:creationId xmlns:p14="http://schemas.microsoft.com/office/powerpoint/2010/main" val="2983720607"/>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
        <p:nvSpPr>
          <p:cNvPr id="5" name="Rectangle 4"/>
          <p:cNvSpPr/>
          <p:nvPr userDrawn="1"/>
        </p:nvSpPr>
        <p:spPr>
          <a:xfrm>
            <a:off x="0" y="0"/>
            <a:ext cx="12192000" cy="685800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userDrawn="1"/>
        </p:nvSpPr>
        <p:spPr>
          <a:xfrm>
            <a:off x="586901" y="491138"/>
            <a:ext cx="4309564" cy="4708981"/>
          </a:xfrm>
          <a:prstGeom prst="rect">
            <a:avLst/>
          </a:prstGeom>
        </p:spPr>
        <p:txBody>
          <a:bodyPr wrap="square">
            <a:spAutoFit/>
          </a:bodyPr>
          <a:lstStyle/>
          <a:p>
            <a:pPr marL="0" lvl="0" indent="0" algn="l" rtl="0">
              <a:spcBef>
                <a:spcPct val="0"/>
              </a:spcBef>
              <a:spcAft>
                <a:spcPct val="0"/>
              </a:spcAft>
              <a:buClr>
                <a:schemeClr val="dk1"/>
              </a:buClr>
              <a:buSzPts val="1100"/>
              <a:buFont typeface="Arial"/>
              <a:buNone/>
            </a:pPr>
            <a:r>
              <a:rPr lang="en-IE" sz="3600">
                <a:solidFill>
                  <a:schemeClr val="bg1"/>
                </a:solidFill>
                <a:latin typeface="+mn-lt"/>
                <a:ea typeface="Quattrocento Sans"/>
                <a:cs typeface="Quattrocento Sans"/>
                <a:sym typeface="Quattrocento Sans"/>
              </a:rPr>
              <a:t>ICONS</a:t>
            </a:r>
            <a:r>
              <a:rPr lang="en-IE" sz="3600" baseline="0">
                <a:solidFill>
                  <a:schemeClr val="bg1"/>
                </a:solidFill>
                <a:latin typeface="+mn-lt"/>
                <a:ea typeface="Quattrocento Sans"/>
                <a:cs typeface="Quattrocento Sans"/>
                <a:sym typeface="Quattrocento Sans"/>
              </a:rPr>
              <a:t> WHICH CAN BE USED WITHIN THE </a:t>
            </a:r>
            <a:r>
              <a:rPr lang="en-IE" sz="3600" b="1" baseline="0">
                <a:solidFill>
                  <a:schemeClr val="bg1"/>
                </a:solidFill>
                <a:latin typeface="+mn-lt"/>
                <a:ea typeface="Quattrocento Sans"/>
                <a:cs typeface="Quattrocento Sans"/>
                <a:sym typeface="Quattrocento Sans"/>
              </a:rPr>
              <a:t>SECURE</a:t>
            </a:r>
          </a:p>
          <a:p>
            <a:pPr marL="0" lvl="0" indent="0" algn="l" rtl="0">
              <a:spcBef>
                <a:spcPct val="0"/>
              </a:spcBef>
              <a:spcAft>
                <a:spcPct val="0"/>
              </a:spcAft>
              <a:buClr>
                <a:schemeClr val="dk1"/>
              </a:buClr>
              <a:buSzPts val="1100"/>
              <a:buFont typeface="Arial"/>
              <a:buNone/>
            </a:pPr>
            <a:r>
              <a:rPr lang="en-IE" sz="3600" baseline="0">
                <a:solidFill>
                  <a:schemeClr val="bg1"/>
                </a:solidFill>
                <a:latin typeface="+mn-lt"/>
                <a:ea typeface="Quattrocento Sans"/>
                <a:cs typeface="Quattrocento Sans"/>
                <a:sym typeface="Quattrocento Sans"/>
              </a:rPr>
              <a:t>POWERPOINT</a:t>
            </a:r>
          </a:p>
          <a:p>
            <a:pPr marL="0" lvl="0" indent="0" algn="l" rtl="0">
              <a:spcBef>
                <a:spcPct val="0"/>
              </a:spcBef>
              <a:spcAft>
                <a:spcPct val="0"/>
              </a:spcAft>
              <a:buClr>
                <a:schemeClr val="dk1"/>
              </a:buClr>
              <a:buSzPts val="1100"/>
              <a:buFont typeface="Arial"/>
              <a:buNone/>
            </a:pPr>
            <a:endParaRPr lang="en-IE" sz="3600">
              <a:solidFill>
                <a:schemeClr val="bg1"/>
              </a:solidFill>
              <a:latin typeface="+mn-lt"/>
              <a:ea typeface="Quattrocento Sans"/>
              <a:cs typeface="Quattrocento Sans"/>
              <a:sym typeface="Quattrocento Sans"/>
            </a:endParaRPr>
          </a:p>
          <a:p>
            <a:pPr marL="52388" lvl="0" indent="0" algn="l" rtl="0">
              <a:spcBef>
                <a:spcPct val="0"/>
              </a:spcBef>
              <a:spcAft>
                <a:spcPct val="0"/>
              </a:spcAft>
              <a:buClr>
                <a:schemeClr val="dk1"/>
              </a:buClr>
              <a:buSzPts val="900"/>
              <a:buFont typeface="Quattrocento Sans"/>
              <a:buNone/>
            </a:pPr>
            <a:r>
              <a:rPr lang="en-IE" sz="2400" i="1">
                <a:solidFill>
                  <a:schemeClr val="bg1"/>
                </a:solidFill>
                <a:latin typeface="+mn-lt"/>
                <a:ea typeface="Quattrocento Sans"/>
                <a:cs typeface="Quattrocento Sans"/>
                <a:sym typeface="Quattrocento Sans"/>
              </a:rPr>
              <a:t>Resize them without losing quality.</a:t>
            </a:r>
            <a:r>
              <a:rPr lang="en-IE" sz="2400" i="1" baseline="0">
                <a:solidFill>
                  <a:schemeClr val="bg1"/>
                </a:solidFill>
                <a:latin typeface="+mn-lt"/>
                <a:ea typeface="Quattrocento Sans"/>
                <a:cs typeface="Quattrocento Sans"/>
                <a:sym typeface="Quattrocento Sans"/>
              </a:rPr>
              <a:t> </a:t>
            </a:r>
            <a:r>
              <a:rPr lang="en-IE" sz="2400" i="1">
                <a:solidFill>
                  <a:schemeClr val="bg1"/>
                </a:solidFill>
                <a:latin typeface="+mn-lt"/>
                <a:ea typeface="Quattrocento Sans"/>
                <a:cs typeface="Quattrocento Sans"/>
                <a:sym typeface="Quattrocento Sans"/>
              </a:rPr>
              <a:t> Change line colour, width and style.</a:t>
            </a:r>
            <a:r>
              <a:rPr lang="en-IE" sz="2400" i="1" baseline="0">
                <a:solidFill>
                  <a:schemeClr val="bg1"/>
                </a:solidFill>
                <a:latin typeface="+mn-lt"/>
                <a:ea typeface="Quattrocento Sans"/>
                <a:cs typeface="Quattrocento Sans"/>
                <a:sym typeface="Quattrocento Sans"/>
              </a:rPr>
              <a:t>  </a:t>
            </a:r>
          </a:p>
          <a:p>
            <a:pPr marL="52388" lvl="0" indent="0" algn="l" rtl="0">
              <a:spcBef>
                <a:spcPct val="0"/>
              </a:spcBef>
              <a:spcAft>
                <a:spcPct val="0"/>
              </a:spcAft>
              <a:buClr>
                <a:schemeClr val="dk1"/>
              </a:buClr>
              <a:buSzPts val="900"/>
              <a:buFont typeface="Quattrocento Sans"/>
              <a:buNone/>
            </a:pPr>
            <a:endParaRPr lang="en-IE" sz="2400" i="1" baseline="0">
              <a:solidFill>
                <a:schemeClr val="bg1"/>
              </a:solidFill>
              <a:latin typeface="+mn-lt"/>
              <a:ea typeface="Quattrocento Sans"/>
              <a:cs typeface="Quattrocento Sans"/>
              <a:sym typeface="Quattrocento Sans"/>
            </a:endParaRPr>
          </a:p>
          <a:p>
            <a:pPr marL="52388" lvl="0" indent="0" algn="l" rtl="0">
              <a:spcBef>
                <a:spcPct val="0"/>
              </a:spcBef>
              <a:spcAft>
                <a:spcPct val="0"/>
              </a:spcAft>
              <a:buClr>
                <a:schemeClr val="dk1"/>
              </a:buClr>
              <a:buSzPts val="900"/>
              <a:buFont typeface="Quattrocento Sans"/>
              <a:buNone/>
            </a:pPr>
            <a:r>
              <a:rPr lang="en" sz="2400">
                <a:solidFill>
                  <a:schemeClr val="bg1"/>
                </a:solidFill>
                <a:latin typeface="+mn-lt"/>
                <a:ea typeface="Quattrocento Sans"/>
                <a:cs typeface="Quattrocento Sans"/>
                <a:sym typeface="Quattrocento Sans"/>
              </a:rPr>
              <a:t>Isn’t that nice? :)</a:t>
            </a:r>
          </a:p>
        </p:txBody>
      </p:sp>
      <p:sp>
        <p:nvSpPr>
          <p:cNvPr id="7" name="Rectangle 6"/>
          <p:cNvSpPr/>
          <p:nvPr userDrawn="1"/>
        </p:nvSpPr>
        <p:spPr>
          <a:xfrm>
            <a:off x="0" y="5968370"/>
            <a:ext cx="12192000" cy="461665"/>
          </a:xfrm>
          <a:prstGeom prst="rect">
            <a:avLst/>
          </a:prstGeom>
        </p:spPr>
        <p:txBody>
          <a:bodyPr wrap="square">
            <a:spAutoFit/>
          </a:bodyPr>
          <a:lstStyle/>
          <a:p>
            <a:pPr algn="ctr"/>
            <a:r>
              <a:rPr lang="en-IE" sz="2400" kern="1200">
                <a:solidFill>
                  <a:schemeClr val="bg1"/>
                </a:solidFill>
                <a:effectLst/>
                <a:latin typeface="+mn-lt"/>
                <a:ea typeface="+mn-ea"/>
                <a:cs typeface="+mn-cs"/>
              </a:rPr>
              <a:t>*** </a:t>
            </a:r>
            <a:r>
              <a:rPr lang="en-IE" sz="2400" b="1" kern="1200">
                <a:solidFill>
                  <a:schemeClr val="bg1"/>
                </a:solidFill>
                <a:effectLst/>
                <a:latin typeface="+mn-lt"/>
                <a:ea typeface="+mn-ea"/>
                <a:cs typeface="+mn-cs"/>
              </a:rPr>
              <a:t>PLEASE DELETE THIS INSTRUCTION SLIDE BEFORE PRESENTING FINAL PRESENTATION </a:t>
            </a:r>
            <a:r>
              <a:rPr lang="en-IE" sz="2400" kern="1200">
                <a:solidFill>
                  <a:schemeClr val="bg1"/>
                </a:solidFill>
                <a:effectLst/>
                <a:latin typeface="+mn-lt"/>
                <a:ea typeface="+mn-ea"/>
                <a:cs typeface="+mn-cs"/>
              </a:rPr>
              <a:t>*** </a:t>
            </a:r>
            <a:endParaRPr lang="en-US" sz="2400" kern="1200">
              <a:solidFill>
                <a:schemeClr val="bg1"/>
              </a:solidFill>
              <a:effectLst/>
              <a:latin typeface="+mn-lt"/>
              <a:ea typeface="+mn-ea"/>
              <a:cs typeface="+mn-cs"/>
            </a:endParaRPr>
          </a:p>
        </p:txBody>
      </p:sp>
      <p:cxnSp>
        <p:nvCxnSpPr>
          <p:cNvPr id="8" name="Straight Connector 7"/>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H="1">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438842"/>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AC7CE8-B51E-C249-946E-538B6C26A0B6}"/>
              </a:ext>
            </a:extLst>
          </p:cNvPr>
          <p:cNvSpPr/>
          <p:nvPr userDrawn="1"/>
        </p:nvSpPr>
        <p:spPr>
          <a:xfrm>
            <a:off x="241300" y="228600"/>
            <a:ext cx="11696700" cy="30353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C3C33563-74D4-9C45-B16E-EE9771603C88}"/>
              </a:ext>
            </a:extLst>
          </p:cNvPr>
          <p:cNvPicPr>
            <a:picLocks noChangeAspect="1"/>
          </p:cNvPicPr>
          <p:nvPr userDrawn="1"/>
        </p:nvPicPr>
        <p:blipFill>
          <a:blip r:embed="rId2"/>
          <a:srcRect l="-18315" t="15976" r="29196" b="11083"/>
          <a:stretch>
            <a:fillRect/>
          </a:stretch>
        </p:blipFill>
        <p:spPr>
          <a:xfrm>
            <a:off x="3752900" y="1030385"/>
            <a:ext cx="8439100" cy="5375657"/>
          </a:xfrm>
          <a:prstGeom prst="rect">
            <a:avLst/>
          </a:prstGeom>
        </p:spPr>
      </p:pic>
      <p:sp>
        <p:nvSpPr>
          <p:cNvPr id="18" name="Picture Placeholder 17">
            <a:extLst>
              <a:ext uri="{FF2B5EF4-FFF2-40B4-BE49-F238E27FC236}">
                <a16:creationId xmlns:a16="http://schemas.microsoft.com/office/drawing/2014/main" id="{9B270587-869E-A549-98E4-0E2F24D7CBA4}"/>
              </a:ext>
            </a:extLst>
          </p:cNvPr>
          <p:cNvSpPr>
            <a:spLocks noGrp="1"/>
          </p:cNvSpPr>
          <p:nvPr>
            <p:ph type="pic" sz="quarter" idx="10"/>
          </p:nvPr>
        </p:nvSpPr>
        <p:spPr>
          <a:xfrm>
            <a:off x="7061200" y="1203325"/>
            <a:ext cx="5130800" cy="3913188"/>
          </a:xfrm>
          <a:solidFill>
            <a:schemeClr val="bg1"/>
          </a:solidFill>
        </p:spPr>
        <p:txBody>
          <a:bodyPr/>
          <a:lstStyle>
            <a:lvl1pPr algn="ctr">
              <a:buNone/>
              <a:defRPr sz="1600">
                <a:solidFill>
                  <a:srgbClr val="7F7F7F"/>
                </a:solidFill>
              </a:defRPr>
            </a:lvl1pPr>
          </a:lstStyle>
          <a:p>
            <a:endParaRPr lang="en-US"/>
          </a:p>
          <a:p>
            <a:endParaRPr lang="en-US"/>
          </a:p>
          <a:p>
            <a:endParaRPr lang="en-US"/>
          </a:p>
          <a:p>
            <a:endParaRPr lang="en-US"/>
          </a:p>
          <a:p>
            <a:endParaRPr lang="en-US"/>
          </a:p>
          <a:p>
            <a:endParaRPr lang="en-US"/>
          </a:p>
          <a:p>
            <a:endParaRPr lang="en-US"/>
          </a:p>
          <a:p>
            <a:r>
              <a:rPr lang="en-US"/>
              <a:t>Click to add photo</a:t>
            </a:r>
          </a:p>
        </p:txBody>
      </p:sp>
      <p:sp>
        <p:nvSpPr>
          <p:cNvPr id="21" name="Text Placeholder 17">
            <a:extLst>
              <a:ext uri="{FF2B5EF4-FFF2-40B4-BE49-F238E27FC236}">
                <a16:creationId xmlns:a16="http://schemas.microsoft.com/office/drawing/2014/main" id="{B1FBF693-83D1-B940-B0C1-1DEE220BC285}"/>
              </a:ext>
            </a:extLst>
          </p:cNvPr>
          <p:cNvSpPr>
            <a:spLocks noGrp="1"/>
          </p:cNvSpPr>
          <p:nvPr>
            <p:ph type="body" sz="quarter" idx="18" hasCustomPrompt="1"/>
          </p:nvPr>
        </p:nvSpPr>
        <p:spPr>
          <a:xfrm>
            <a:off x="831350" y="3594101"/>
            <a:ext cx="5029134" cy="22335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ub-heading</a:t>
            </a:r>
            <a:endParaRPr lang="en-US"/>
          </a:p>
        </p:txBody>
      </p:sp>
      <p:sp>
        <p:nvSpPr>
          <p:cNvPr id="10" name="Rectangle 9">
            <a:extLst>
              <a:ext uri="{FF2B5EF4-FFF2-40B4-BE49-F238E27FC236}">
                <a16:creationId xmlns:a16="http://schemas.microsoft.com/office/drawing/2014/main" id="{B8D17229-747C-F44E-BD6D-9DEA1E784AC8}"/>
              </a:ext>
            </a:extLst>
          </p:cNvPr>
          <p:cNvSpPr/>
          <p:nvPr userDrawn="1"/>
        </p:nvSpPr>
        <p:spPr>
          <a:xfrm>
            <a:off x="831350" y="1502804"/>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sp>
        <p:nvSpPr>
          <p:cNvPr id="11" name="Text Placeholder 23">
            <a:extLst>
              <a:ext uri="{FF2B5EF4-FFF2-40B4-BE49-F238E27FC236}">
                <a16:creationId xmlns:a16="http://schemas.microsoft.com/office/drawing/2014/main" id="{FA890FD1-5248-1542-8F2A-D91A6994E3B9}"/>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a:t>Laptop Preview</a:t>
            </a:r>
          </a:p>
        </p:txBody>
      </p:sp>
      <p:sp>
        <p:nvSpPr>
          <p:cNvPr id="15" name="Rectangle 14">
            <a:extLst>
              <a:ext uri="{FF2B5EF4-FFF2-40B4-BE49-F238E27FC236}">
                <a16:creationId xmlns:a16="http://schemas.microsoft.com/office/drawing/2014/main" id="{284D84F5-99A4-8040-A2A1-2682C599AD1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62025217-4795-9249-9C37-88CEEEDE536E}"/>
              </a:ext>
            </a:extLst>
          </p:cNvPr>
          <p:cNvPicPr/>
          <p:nvPr userDrawn="1"/>
        </p:nvPicPr>
        <p:blipFill>
          <a:blip r:embed="rId3">
            <a:extLst>
              <a:ext uri="{28A0092B-C50C-407E-A947-70E740481C1C}">
                <a14:useLocalDpi xmlns:a14="http://schemas.microsoft.com/office/drawing/2010/main"/>
              </a:ext>
            </a:extLst>
          </a:blip>
          <a:srcRect l="26042" t="83613" r="-755" b="207"/>
          <a:stretch>
            <a:fillRect/>
          </a:stretch>
        </p:blipFill>
        <p:spPr>
          <a:xfrm>
            <a:off x="506695" y="6583579"/>
            <a:ext cx="1300365" cy="144173"/>
          </a:xfrm>
          <a:prstGeom prst="rect">
            <a:avLst/>
          </a:prstGeom>
        </p:spPr>
      </p:pic>
    </p:spTree>
    <p:extLst>
      <p:ext uri="{BB962C8B-B14F-4D97-AF65-F5344CB8AC3E}">
        <p14:creationId xmlns:p14="http://schemas.microsoft.com/office/powerpoint/2010/main" val="956642892"/>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45F4BB7-6E94-9947-9F14-4DCA46C6E427}"/>
              </a:ext>
            </a:extLst>
          </p:cNvPr>
          <p:cNvSpPr/>
          <p:nvPr userDrawn="1"/>
        </p:nvSpPr>
        <p:spPr>
          <a:xfrm>
            <a:off x="241300" y="228600"/>
            <a:ext cx="11696700" cy="30353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3B98100-E25F-DD4B-AB20-A31F0F0B548B}"/>
              </a:ext>
            </a:extLst>
          </p:cNvPr>
          <p:cNvSpPr/>
          <p:nvPr userDrawn="1"/>
        </p:nvSpPr>
        <p:spPr>
          <a:xfrm>
            <a:off x="831350" y="1502804"/>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grpSp>
        <p:nvGrpSpPr>
          <p:cNvPr id="3" name="Group 2">
            <a:extLst>
              <a:ext uri="{FF2B5EF4-FFF2-40B4-BE49-F238E27FC236}">
                <a16:creationId xmlns:a16="http://schemas.microsoft.com/office/drawing/2014/main" id="{78B2A2B2-F2DF-8F49-B350-611FE13388E1}"/>
              </a:ext>
            </a:extLst>
          </p:cNvPr>
          <p:cNvGrpSpPr/>
          <p:nvPr userDrawn="1"/>
        </p:nvGrpSpPr>
        <p:grpSpPr>
          <a:xfrm>
            <a:off x="2530564" y="336687"/>
            <a:ext cx="9078210" cy="5854425"/>
            <a:chOff x="3152299" y="635855"/>
            <a:chExt cx="19296835" cy="12444290"/>
          </a:xfrm>
        </p:grpSpPr>
        <p:pic>
          <p:nvPicPr>
            <p:cNvPr id="4" name="Picture 3" descr="iPhone6_mockup_front_white.png">
              <a:extLst>
                <a:ext uri="{FF2B5EF4-FFF2-40B4-BE49-F238E27FC236}">
                  <a16:creationId xmlns:a16="http://schemas.microsoft.com/office/drawing/2014/main" id="{190C133D-22F4-4847-8C19-ACF8FBE1711A}"/>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4493359" y="635855"/>
              <a:ext cx="7955774" cy="12444290"/>
            </a:xfrm>
            <a:prstGeom prst="rect">
              <a:avLst/>
            </a:prstGeom>
          </p:spPr>
        </p:pic>
        <p:sp>
          <p:nvSpPr>
            <p:cNvPr id="5" name="TextBox 4">
              <a:extLst>
                <a:ext uri="{FF2B5EF4-FFF2-40B4-BE49-F238E27FC236}">
                  <a16:creationId xmlns:a16="http://schemas.microsoft.com/office/drawing/2014/main" id="{D21E791A-E387-3F4F-AFE7-F887E52C4AFD}"/>
                </a:ext>
              </a:extLst>
            </p:cNvPr>
            <p:cNvSpPr txBox="1"/>
            <p:nvPr/>
          </p:nvSpPr>
          <p:spPr>
            <a:xfrm>
              <a:off x="3152299" y="9384825"/>
              <a:ext cx="2262158" cy="646331"/>
            </a:xfrm>
            <a:prstGeom prst="rect">
              <a:avLst/>
            </a:prstGeom>
            <a:noFill/>
          </p:spPr>
          <p:txBody>
            <a:bodyPr wrap="none" rtlCol="0">
              <a:spAutoFit/>
            </a:bodyPr>
            <a:lstStyle/>
            <a:p>
              <a:r>
                <a:rPr lang="en-US">
                  <a:solidFill>
                    <a:schemeClr val="tx2"/>
                  </a:solidFill>
                  <a:latin typeface="Montserrat" pitchFamily="2" charset="77"/>
                  <a:ea typeface="Montserrat" charset="0"/>
                  <a:cs typeface="Montserrat" charset="0"/>
                </a:rPr>
                <a:t>Title One</a:t>
              </a:r>
            </a:p>
          </p:txBody>
        </p:sp>
        <p:sp>
          <p:nvSpPr>
            <p:cNvPr id="6" name="TextBox 5">
              <a:extLst>
                <a:ext uri="{FF2B5EF4-FFF2-40B4-BE49-F238E27FC236}">
                  <a16:creationId xmlns:a16="http://schemas.microsoft.com/office/drawing/2014/main" id="{E7E49ED8-2282-8C44-B0B1-7EA16E4F64F7}"/>
                </a:ext>
              </a:extLst>
            </p:cNvPr>
            <p:cNvSpPr txBox="1"/>
            <p:nvPr/>
          </p:nvSpPr>
          <p:spPr>
            <a:xfrm>
              <a:off x="9842014" y="9384825"/>
              <a:ext cx="2242922" cy="646331"/>
            </a:xfrm>
            <a:prstGeom prst="rect">
              <a:avLst/>
            </a:prstGeom>
            <a:noFill/>
          </p:spPr>
          <p:txBody>
            <a:bodyPr wrap="none" rtlCol="0">
              <a:spAutoFit/>
            </a:bodyPr>
            <a:lstStyle/>
            <a:p>
              <a:r>
                <a:rPr lang="en-US">
                  <a:solidFill>
                    <a:schemeClr val="tx2"/>
                  </a:solidFill>
                  <a:latin typeface="Montserrat" pitchFamily="2" charset="77"/>
                  <a:ea typeface="Montserrat" charset="0"/>
                  <a:cs typeface="Montserrat" charset="0"/>
                </a:rPr>
                <a:t>Title Two</a:t>
              </a:r>
            </a:p>
          </p:txBody>
        </p:sp>
      </p:grpSp>
      <p:sp>
        <p:nvSpPr>
          <p:cNvPr id="12" name="Picture Placeholder 17">
            <a:extLst>
              <a:ext uri="{FF2B5EF4-FFF2-40B4-BE49-F238E27FC236}">
                <a16:creationId xmlns:a16="http://schemas.microsoft.com/office/drawing/2014/main" id="{DDF094EB-EB5D-7A4F-9743-1045AC7D2DDE}"/>
              </a:ext>
            </a:extLst>
          </p:cNvPr>
          <p:cNvSpPr>
            <a:spLocks noGrp="1"/>
          </p:cNvSpPr>
          <p:nvPr>
            <p:ph type="pic" sz="quarter" idx="10"/>
          </p:nvPr>
        </p:nvSpPr>
        <p:spPr>
          <a:xfrm>
            <a:off x="8602116" y="1265033"/>
            <a:ext cx="2266512" cy="3978298"/>
          </a:xfrm>
          <a:solidFill>
            <a:schemeClr val="bg1"/>
          </a:solidFill>
        </p:spPr>
        <p:txBody>
          <a:bodyPr/>
          <a:lstStyle>
            <a:lvl1pPr algn="ctr">
              <a:buNone/>
              <a:defRPr sz="1600">
                <a:solidFill>
                  <a:srgbClr val="7F7F7F"/>
                </a:solidFill>
              </a:defRPr>
            </a:lvl1pPr>
          </a:lstStyle>
          <a:p>
            <a:endParaRPr lang="en-US"/>
          </a:p>
          <a:p>
            <a:endParaRPr lang="en-US"/>
          </a:p>
          <a:p>
            <a:endParaRPr lang="en-US"/>
          </a:p>
          <a:p>
            <a:endParaRPr lang="en-US"/>
          </a:p>
          <a:p>
            <a:endParaRPr lang="en-US"/>
          </a:p>
          <a:p>
            <a:endParaRPr lang="en-US"/>
          </a:p>
          <a:p>
            <a:endParaRPr lang="en-US"/>
          </a:p>
          <a:p>
            <a:r>
              <a:rPr lang="en-US"/>
              <a:t>Click to add photo</a:t>
            </a:r>
          </a:p>
        </p:txBody>
      </p:sp>
      <p:sp>
        <p:nvSpPr>
          <p:cNvPr id="13" name="Text Placeholder 17">
            <a:extLst>
              <a:ext uri="{FF2B5EF4-FFF2-40B4-BE49-F238E27FC236}">
                <a16:creationId xmlns:a16="http://schemas.microsoft.com/office/drawing/2014/main" id="{44BBFAB6-D383-334C-9E99-388F133C90DA}"/>
              </a:ext>
            </a:extLst>
          </p:cNvPr>
          <p:cNvSpPr>
            <a:spLocks noGrp="1"/>
          </p:cNvSpPr>
          <p:nvPr>
            <p:ph type="body" sz="quarter" idx="18" hasCustomPrompt="1"/>
          </p:nvPr>
        </p:nvSpPr>
        <p:spPr>
          <a:xfrm>
            <a:off x="734715" y="3594101"/>
            <a:ext cx="4983180" cy="20306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ub-heading</a:t>
            </a:r>
            <a:endParaRPr lang="en-US"/>
          </a:p>
        </p:txBody>
      </p:sp>
      <p:sp>
        <p:nvSpPr>
          <p:cNvPr id="15" name="Text Placeholder 23">
            <a:extLst>
              <a:ext uri="{FF2B5EF4-FFF2-40B4-BE49-F238E27FC236}">
                <a16:creationId xmlns:a16="http://schemas.microsoft.com/office/drawing/2014/main" id="{47C562BD-9CD8-BD45-8B53-0DEC698873B7}"/>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a:t>Phone Preview</a:t>
            </a:r>
          </a:p>
        </p:txBody>
      </p:sp>
      <p:sp>
        <p:nvSpPr>
          <p:cNvPr id="14" name="Rectangle 13">
            <a:extLst>
              <a:ext uri="{FF2B5EF4-FFF2-40B4-BE49-F238E27FC236}">
                <a16:creationId xmlns:a16="http://schemas.microsoft.com/office/drawing/2014/main" id="{E9B11E87-4EE4-EF4D-9822-A3CCA8B2DDFF}"/>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E94FB9E-3664-8A4B-8CCA-49CA75C5BA58}"/>
              </a:ext>
            </a:extLst>
          </p:cNvPr>
          <p:cNvPicPr/>
          <p:nvPr userDrawn="1"/>
        </p:nvPicPr>
        <p:blipFill>
          <a:blip r:embed="rId3">
            <a:extLst>
              <a:ext uri="{28A0092B-C50C-407E-A947-70E740481C1C}">
                <a14:useLocalDpi xmlns:a14="http://schemas.microsoft.com/office/drawing/2010/main"/>
              </a:ext>
            </a:extLst>
          </a:blip>
          <a:srcRect l="26042" t="83613" r="-755" b="207"/>
          <a:stretch>
            <a:fillRect/>
          </a:stretch>
        </p:blipFill>
        <p:spPr>
          <a:xfrm>
            <a:off x="506695" y="6583579"/>
            <a:ext cx="1300365" cy="144173"/>
          </a:xfrm>
          <a:prstGeom prst="rect">
            <a:avLst/>
          </a:prstGeom>
        </p:spPr>
      </p:pic>
    </p:spTree>
    <p:extLst>
      <p:ext uri="{BB962C8B-B14F-4D97-AF65-F5344CB8AC3E}">
        <p14:creationId xmlns:p14="http://schemas.microsoft.com/office/powerpoint/2010/main" val="4108775608"/>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ullet Slide - Purpl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B41F7A"/>
                </a:solidFill>
                <a:latin typeface="+mn-lt"/>
              </a:defRPr>
            </a:lvl1pPr>
          </a:lstStyle>
          <a:p>
            <a:pPr lvl="0"/>
            <a:r>
              <a:rPr lang="en-US"/>
              <a:t>TITLE</a:t>
            </a:r>
          </a:p>
        </p:txBody>
      </p:sp>
      <p:cxnSp>
        <p:nvCxnSpPr>
          <p:cNvPr id="17" name="Straight Connector 16">
            <a:extLst>
              <a:ext uri="{FF2B5EF4-FFF2-40B4-BE49-F238E27FC236}">
                <a16:creationId xmlns:a16="http://schemas.microsoft.com/office/drawing/2014/main" id="{46E7E2D0-5766-184D-B066-151C0BDA9313}"/>
              </a:ext>
            </a:extLst>
          </p:cNvPr>
          <p:cNvCxnSpPr/>
          <p:nvPr userDrawn="1"/>
        </p:nvCxnSpPr>
        <p:spPr>
          <a:xfrm flipH="1">
            <a:off x="5346936" y="-25722"/>
            <a:ext cx="0" cy="6853558"/>
          </a:xfrm>
          <a:prstGeom prst="line">
            <a:avLst/>
          </a:prstGeom>
          <a:ln w="12700">
            <a:solidFill>
              <a:srgbClr val="B41F7A"/>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rot="16200000">
            <a:off x="-351693" y="5630084"/>
            <a:ext cx="1444281" cy="160129"/>
          </a:xfrm>
          <a:prstGeom prst="rect">
            <a:avLst/>
          </a:prstGeom>
        </p:spPr>
      </p:pic>
    </p:spTree>
    <p:extLst>
      <p:ext uri="{BB962C8B-B14F-4D97-AF65-F5344CB8AC3E}">
        <p14:creationId xmlns:p14="http://schemas.microsoft.com/office/powerpoint/2010/main" val="3947335851"/>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 Slide - Orang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F16924"/>
                </a:solidFill>
                <a:latin typeface="+mn-lt"/>
              </a:defRPr>
            </a:lvl1pPr>
          </a:lstStyle>
          <a:p>
            <a:pPr lvl="0"/>
            <a:r>
              <a:rPr lang="en-US"/>
              <a:t>TITLE</a:t>
            </a:r>
          </a:p>
        </p:txBody>
      </p:sp>
      <p:cxnSp>
        <p:nvCxnSpPr>
          <p:cNvPr id="17" name="Straight Connector 16">
            <a:extLst>
              <a:ext uri="{FF2B5EF4-FFF2-40B4-BE49-F238E27FC236}">
                <a16:creationId xmlns:a16="http://schemas.microsoft.com/office/drawing/2014/main" id="{46E7E2D0-5766-184D-B066-151C0BDA9313}"/>
              </a:ext>
            </a:extLst>
          </p:cNvPr>
          <p:cNvCxnSpPr/>
          <p:nvPr userDrawn="1"/>
        </p:nvCxnSpPr>
        <p:spPr>
          <a:xfrm flipH="1">
            <a:off x="5346936" y="-25722"/>
            <a:ext cx="0" cy="6853558"/>
          </a:xfrm>
          <a:prstGeom prst="line">
            <a:avLst/>
          </a:prstGeom>
          <a:ln w="12700">
            <a:solidFill>
              <a:srgbClr val="F16924"/>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rot="16200000">
            <a:off x="-351693" y="5630084"/>
            <a:ext cx="1444281" cy="160129"/>
          </a:xfrm>
          <a:prstGeom prst="rect">
            <a:avLst/>
          </a:prstGeom>
        </p:spPr>
      </p:pic>
    </p:spTree>
    <p:extLst>
      <p:ext uri="{BB962C8B-B14F-4D97-AF65-F5344CB8AC3E}">
        <p14:creationId xmlns:p14="http://schemas.microsoft.com/office/powerpoint/2010/main" val="1996146043"/>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ur Journey 1">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DFEFB84-F567-D648-B64F-EE8CC90AA5FD}"/>
              </a:ext>
            </a:extLst>
          </p:cNvPr>
          <p:cNvSpPr txBox="1"/>
          <p:nvPr userDrawn="1"/>
        </p:nvSpPr>
        <p:spPr>
          <a:xfrm>
            <a:off x="4396800" y="809464"/>
            <a:ext cx="3398400" cy="507831"/>
          </a:xfrm>
          <a:prstGeom prst="rect">
            <a:avLst/>
          </a:prstGeom>
          <a:noFill/>
          <a:ln>
            <a:noFill/>
          </a:ln>
        </p:spPr>
        <p:txBody>
          <a:bodyPr wrap="square" rtlCol="0">
            <a:spAutoFit/>
          </a:bodyPr>
          <a:lstStyle/>
          <a:p>
            <a:pPr algn="ctr"/>
            <a:r>
              <a:rPr lang="en-US" sz="2700" spc="150">
                <a:solidFill>
                  <a:schemeClr val="tx2"/>
                </a:solidFill>
                <a:latin typeface="Montserrat Medium" pitchFamily="2" charset="77"/>
                <a:ea typeface="Roboto" panose="02000000000000000000" pitchFamily="2" charset="0"/>
                <a:cs typeface="Poppins Medium" pitchFamily="2" charset="77"/>
              </a:rPr>
              <a:t>OUR TIMELINE</a:t>
            </a:r>
          </a:p>
        </p:txBody>
      </p:sp>
      <p:cxnSp>
        <p:nvCxnSpPr>
          <p:cNvPr id="10" name="Straight Connector 9">
            <a:extLst>
              <a:ext uri="{FF2B5EF4-FFF2-40B4-BE49-F238E27FC236}">
                <a16:creationId xmlns:a16="http://schemas.microsoft.com/office/drawing/2014/main" id="{4C620474-398A-C642-97C5-6FFB0DF43052}"/>
              </a:ext>
            </a:extLst>
          </p:cNvPr>
          <p:cNvCxnSpPr/>
          <p:nvPr/>
        </p:nvCxnSpPr>
        <p:spPr>
          <a:xfrm>
            <a:off x="2718910" y="3448776"/>
            <a:ext cx="94715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6E4A766-FED1-894B-A889-823A4FF75411}"/>
              </a:ext>
            </a:extLst>
          </p:cNvPr>
          <p:cNvSpPr/>
          <p:nvPr/>
        </p:nvSpPr>
        <p:spPr>
          <a:xfrm>
            <a:off x="2102383" y="2832249"/>
            <a:ext cx="1233055" cy="123305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Oval 11">
            <a:extLst>
              <a:ext uri="{FF2B5EF4-FFF2-40B4-BE49-F238E27FC236}">
                <a16:creationId xmlns:a16="http://schemas.microsoft.com/office/drawing/2014/main" id="{C08C6878-4402-894E-8E64-73E151411DC6}"/>
              </a:ext>
            </a:extLst>
          </p:cNvPr>
          <p:cNvSpPr/>
          <p:nvPr/>
        </p:nvSpPr>
        <p:spPr>
          <a:xfrm>
            <a:off x="5969765" y="3362570"/>
            <a:ext cx="172412" cy="17241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Oval 12">
            <a:extLst>
              <a:ext uri="{FF2B5EF4-FFF2-40B4-BE49-F238E27FC236}">
                <a16:creationId xmlns:a16="http://schemas.microsoft.com/office/drawing/2014/main" id="{BBB83E75-E0C9-714E-9E45-509D3F33090F}"/>
              </a:ext>
            </a:extLst>
          </p:cNvPr>
          <p:cNvSpPr/>
          <p:nvPr/>
        </p:nvSpPr>
        <p:spPr>
          <a:xfrm>
            <a:off x="9383674" y="3362570"/>
            <a:ext cx="172412" cy="17241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Rectangle 20">
            <a:extLst>
              <a:ext uri="{FF2B5EF4-FFF2-40B4-BE49-F238E27FC236}">
                <a16:creationId xmlns:a16="http://schemas.microsoft.com/office/drawing/2014/main" id="{BE62D4D3-21EB-0349-B504-782647ECA544}"/>
              </a:ext>
            </a:extLst>
          </p:cNvPr>
          <p:cNvSpPr/>
          <p:nvPr/>
        </p:nvSpPr>
        <p:spPr>
          <a:xfrm>
            <a:off x="4956904" y="3803693"/>
            <a:ext cx="2198135" cy="230832"/>
          </a:xfrm>
          <a:prstGeom prst="rect">
            <a:avLst/>
          </a:prstGeom>
        </p:spPr>
        <p:txBody>
          <a:bodyPr wrap="square">
            <a:spAutoFit/>
          </a:bodyPr>
          <a:lstStyle/>
          <a:p>
            <a:pPr algn="ctr"/>
            <a:r>
              <a:rPr lang="en-US" sz="90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19" name="Rectangle 18">
            <a:extLst>
              <a:ext uri="{FF2B5EF4-FFF2-40B4-BE49-F238E27FC236}">
                <a16:creationId xmlns:a16="http://schemas.microsoft.com/office/drawing/2014/main" id="{2E52E7C6-64EF-FA4A-987B-05E44539FB1E}"/>
              </a:ext>
            </a:extLst>
          </p:cNvPr>
          <p:cNvSpPr/>
          <p:nvPr/>
        </p:nvSpPr>
        <p:spPr>
          <a:xfrm>
            <a:off x="8370812" y="1818770"/>
            <a:ext cx="2198135" cy="230832"/>
          </a:xfrm>
          <a:prstGeom prst="rect">
            <a:avLst/>
          </a:prstGeom>
        </p:spPr>
        <p:txBody>
          <a:bodyPr wrap="square">
            <a:spAutoFit/>
          </a:bodyPr>
          <a:lstStyle/>
          <a:p>
            <a:pPr algn="ctr"/>
            <a:r>
              <a:rPr lang="en-US" sz="90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7" name="Rectangle 26">
            <a:extLst>
              <a:ext uri="{FF2B5EF4-FFF2-40B4-BE49-F238E27FC236}">
                <a16:creationId xmlns:a16="http://schemas.microsoft.com/office/drawing/2014/main" id="{526AA091-4676-F84E-93FF-824FF1A4B10B}"/>
              </a:ext>
            </a:extLst>
          </p:cNvPr>
          <p:cNvSpPr/>
          <p:nvPr userDrawn="1"/>
        </p:nvSpPr>
        <p:spPr>
          <a:xfrm>
            <a:off x="548344" y="114165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sp>
        <p:nvSpPr>
          <p:cNvPr id="28" name="Text Placeholder 23">
            <a:extLst>
              <a:ext uri="{FF2B5EF4-FFF2-40B4-BE49-F238E27FC236}">
                <a16:creationId xmlns:a16="http://schemas.microsoft.com/office/drawing/2014/main" id="{E74BB04E-437D-4E46-9A57-B72EEF075E66}"/>
              </a:ext>
            </a:extLst>
          </p:cNvPr>
          <p:cNvSpPr>
            <a:spLocks noGrp="1"/>
          </p:cNvSpPr>
          <p:nvPr userDrawn="1">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a:t>Our Journey</a:t>
            </a:r>
          </a:p>
        </p:txBody>
      </p:sp>
      <p:sp>
        <p:nvSpPr>
          <p:cNvPr id="31" name="Text Placeholder 17">
            <a:extLst>
              <a:ext uri="{FF2B5EF4-FFF2-40B4-BE49-F238E27FC236}">
                <a16:creationId xmlns:a16="http://schemas.microsoft.com/office/drawing/2014/main" id="{CCD767BA-B79C-2543-AA9A-86E634722F0F}"/>
              </a:ext>
            </a:extLst>
          </p:cNvPr>
          <p:cNvSpPr>
            <a:spLocks noGrp="1"/>
          </p:cNvSpPr>
          <p:nvPr userDrawn="1">
            <p:ph type="body" sz="quarter" idx="19" hasCustomPrompt="1"/>
          </p:nvPr>
        </p:nvSpPr>
        <p:spPr>
          <a:xfrm>
            <a:off x="4785825" y="422073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32" name="Text Placeholder 17">
            <a:extLst>
              <a:ext uri="{FF2B5EF4-FFF2-40B4-BE49-F238E27FC236}">
                <a16:creationId xmlns:a16="http://schemas.microsoft.com/office/drawing/2014/main" id="{3BC6FB8B-D15D-3340-8F2D-D5BC2FD4D66F}"/>
              </a:ext>
            </a:extLst>
          </p:cNvPr>
          <p:cNvSpPr>
            <a:spLocks noGrp="1"/>
          </p:cNvSpPr>
          <p:nvPr userDrawn="1">
            <p:ph type="body" sz="quarter" idx="20" hasCustomPrompt="1"/>
          </p:nvPr>
        </p:nvSpPr>
        <p:spPr>
          <a:xfrm>
            <a:off x="8216766" y="1608539"/>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33" name="Text Placeholder 17">
            <a:extLst>
              <a:ext uri="{FF2B5EF4-FFF2-40B4-BE49-F238E27FC236}">
                <a16:creationId xmlns:a16="http://schemas.microsoft.com/office/drawing/2014/main" id="{19348E07-20A7-F740-8715-43EB023172A2}"/>
              </a:ext>
            </a:extLst>
          </p:cNvPr>
          <p:cNvSpPr>
            <a:spLocks noGrp="1"/>
          </p:cNvSpPr>
          <p:nvPr userDrawn="1">
            <p:ph type="body" sz="quarter" idx="21" hasCustomPrompt="1"/>
          </p:nvPr>
        </p:nvSpPr>
        <p:spPr>
          <a:xfrm>
            <a:off x="2102383"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TART</a:t>
            </a:r>
            <a:endParaRPr lang="en-US"/>
          </a:p>
        </p:txBody>
      </p:sp>
      <p:sp>
        <p:nvSpPr>
          <p:cNvPr id="36" name="Text Placeholder 17">
            <a:extLst>
              <a:ext uri="{FF2B5EF4-FFF2-40B4-BE49-F238E27FC236}">
                <a16:creationId xmlns:a16="http://schemas.microsoft.com/office/drawing/2014/main" id="{BD72605F-29B1-4242-93F3-3F37AA42DC99}"/>
              </a:ext>
            </a:extLst>
          </p:cNvPr>
          <p:cNvSpPr>
            <a:spLocks noGrp="1"/>
          </p:cNvSpPr>
          <p:nvPr>
            <p:ph type="body" sz="quarter" idx="22" hasCustomPrompt="1"/>
          </p:nvPr>
        </p:nvSpPr>
        <p:spPr>
          <a:xfrm>
            <a:off x="4785825" y="2823339"/>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2016</a:t>
            </a:r>
            <a:endParaRPr lang="en-US"/>
          </a:p>
        </p:txBody>
      </p:sp>
      <p:sp>
        <p:nvSpPr>
          <p:cNvPr id="37" name="Text Placeholder 17">
            <a:extLst>
              <a:ext uri="{FF2B5EF4-FFF2-40B4-BE49-F238E27FC236}">
                <a16:creationId xmlns:a16="http://schemas.microsoft.com/office/drawing/2014/main" id="{A04A4060-643D-BB44-93F7-B288E252205D}"/>
              </a:ext>
            </a:extLst>
          </p:cNvPr>
          <p:cNvSpPr>
            <a:spLocks noGrp="1"/>
          </p:cNvSpPr>
          <p:nvPr>
            <p:ph type="body" sz="quarter" idx="23" hasCustomPrompt="1"/>
          </p:nvPr>
        </p:nvSpPr>
        <p:spPr>
          <a:xfrm>
            <a:off x="8216766" y="3843245"/>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2017</a:t>
            </a:r>
            <a:endParaRPr lang="en-US"/>
          </a:p>
        </p:txBody>
      </p:sp>
      <p:sp>
        <p:nvSpPr>
          <p:cNvPr id="22" name="Rectangle 21">
            <a:extLst>
              <a:ext uri="{FF2B5EF4-FFF2-40B4-BE49-F238E27FC236}">
                <a16:creationId xmlns:a16="http://schemas.microsoft.com/office/drawing/2014/main" id="{79A3CA77-1A80-6E43-B90B-87E0E18C59AC}"/>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EAA072AB-64A8-7446-AA36-36B06BE22F12}"/>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06695" y="6583579"/>
            <a:ext cx="1300365" cy="144173"/>
          </a:xfrm>
          <a:prstGeom prst="rect">
            <a:avLst/>
          </a:prstGeom>
        </p:spPr>
      </p:pic>
    </p:spTree>
    <p:extLst>
      <p:ext uri="{BB962C8B-B14F-4D97-AF65-F5344CB8AC3E}">
        <p14:creationId xmlns:p14="http://schemas.microsoft.com/office/powerpoint/2010/main" val="1587100066"/>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ur Journey 2">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159BEB2-8918-8740-99A7-553D0D414983}"/>
              </a:ext>
            </a:extLst>
          </p:cNvPr>
          <p:cNvCxnSpPr/>
          <p:nvPr userDrawn="1"/>
        </p:nvCxnSpPr>
        <p:spPr>
          <a:xfrm>
            <a:off x="1588" y="3448776"/>
            <a:ext cx="1218882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7D4A19C4-1947-4349-9457-0ACFFBA4FC07}"/>
              </a:ext>
            </a:extLst>
          </p:cNvPr>
          <p:cNvSpPr/>
          <p:nvPr/>
        </p:nvSpPr>
        <p:spPr>
          <a:xfrm>
            <a:off x="6040275" y="3362570"/>
            <a:ext cx="172412" cy="17241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29C2F2"/>
              </a:solidFill>
            </a:endParaRPr>
          </a:p>
        </p:txBody>
      </p:sp>
      <p:sp>
        <p:nvSpPr>
          <p:cNvPr id="9" name="Oval 8">
            <a:extLst>
              <a:ext uri="{FF2B5EF4-FFF2-40B4-BE49-F238E27FC236}">
                <a16:creationId xmlns:a16="http://schemas.microsoft.com/office/drawing/2014/main" id="{187DE787-8DE7-3C4E-8EB8-423F070D8AFF}"/>
              </a:ext>
            </a:extLst>
          </p:cNvPr>
          <p:cNvSpPr/>
          <p:nvPr/>
        </p:nvSpPr>
        <p:spPr>
          <a:xfrm>
            <a:off x="2626366" y="3362571"/>
            <a:ext cx="172412" cy="17241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83553"/>
              </a:solidFill>
            </a:endParaRPr>
          </a:p>
        </p:txBody>
      </p:sp>
      <p:sp>
        <p:nvSpPr>
          <p:cNvPr id="19" name="Rectangle 18">
            <a:extLst>
              <a:ext uri="{FF2B5EF4-FFF2-40B4-BE49-F238E27FC236}">
                <a16:creationId xmlns:a16="http://schemas.microsoft.com/office/drawing/2014/main" id="{1B55B83A-4FE7-254B-BB23-DA5834F3C561}"/>
              </a:ext>
            </a:extLst>
          </p:cNvPr>
          <p:cNvSpPr/>
          <p:nvPr userDrawn="1"/>
        </p:nvSpPr>
        <p:spPr>
          <a:xfrm>
            <a:off x="5027413" y="1818770"/>
            <a:ext cx="2198135" cy="230832"/>
          </a:xfrm>
          <a:prstGeom prst="rect">
            <a:avLst/>
          </a:prstGeom>
        </p:spPr>
        <p:txBody>
          <a:bodyPr wrap="square">
            <a:spAutoFit/>
          </a:bodyPr>
          <a:lstStyle/>
          <a:p>
            <a:pPr algn="ctr"/>
            <a:r>
              <a:rPr lang="en-US" sz="90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1" name="Oval 20">
            <a:extLst>
              <a:ext uri="{FF2B5EF4-FFF2-40B4-BE49-F238E27FC236}">
                <a16:creationId xmlns:a16="http://schemas.microsoft.com/office/drawing/2014/main" id="{C249088C-C99A-C54C-8067-8456BF21657E}"/>
              </a:ext>
            </a:extLst>
          </p:cNvPr>
          <p:cNvSpPr/>
          <p:nvPr/>
        </p:nvSpPr>
        <p:spPr>
          <a:xfrm>
            <a:off x="9393224" y="3362571"/>
            <a:ext cx="172412" cy="172412"/>
          </a:xfrm>
          <a:prstGeom prst="ellipse">
            <a:avLst/>
          </a:prstGeom>
          <a:solidFill>
            <a:srgbClr val="B41F7A">
              <a:alpha val="8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Text Placeholder 17">
            <a:extLst>
              <a:ext uri="{FF2B5EF4-FFF2-40B4-BE49-F238E27FC236}">
                <a16:creationId xmlns:a16="http://schemas.microsoft.com/office/drawing/2014/main" id="{FF92472D-9633-1B41-8BB1-3CE8FDF598FC}"/>
              </a:ext>
            </a:extLst>
          </p:cNvPr>
          <p:cNvSpPr>
            <a:spLocks noGrp="1"/>
          </p:cNvSpPr>
          <p:nvPr userDrawn="1">
            <p:ph type="body" sz="quarter" idx="19" hasCustomPrompt="1"/>
          </p:nvPr>
        </p:nvSpPr>
        <p:spPr>
          <a:xfrm>
            <a:off x="1459184" y="4206951"/>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33" name="Text Placeholder 17">
            <a:extLst>
              <a:ext uri="{FF2B5EF4-FFF2-40B4-BE49-F238E27FC236}">
                <a16:creationId xmlns:a16="http://schemas.microsoft.com/office/drawing/2014/main" id="{4FA104B9-3949-7046-BD33-D672B1459790}"/>
              </a:ext>
            </a:extLst>
          </p:cNvPr>
          <p:cNvSpPr>
            <a:spLocks noGrp="1"/>
          </p:cNvSpPr>
          <p:nvPr userDrawn="1">
            <p:ph type="body" sz="quarter" idx="20" hasCustomPrompt="1"/>
          </p:nvPr>
        </p:nvSpPr>
        <p:spPr>
          <a:xfrm>
            <a:off x="4890125" y="1594752"/>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34" name="Text Placeholder 17">
            <a:extLst>
              <a:ext uri="{FF2B5EF4-FFF2-40B4-BE49-F238E27FC236}">
                <a16:creationId xmlns:a16="http://schemas.microsoft.com/office/drawing/2014/main" id="{4170B2DE-1D76-D746-B4E0-1DF37E4C7538}"/>
              </a:ext>
            </a:extLst>
          </p:cNvPr>
          <p:cNvSpPr>
            <a:spLocks noGrp="1"/>
          </p:cNvSpPr>
          <p:nvPr userDrawn="1">
            <p:ph type="body" sz="quarter" idx="21" hasCustomPrompt="1"/>
          </p:nvPr>
        </p:nvSpPr>
        <p:spPr>
          <a:xfrm>
            <a:off x="8223426" y="4210067"/>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39" name="Text Placeholder 17">
            <a:extLst>
              <a:ext uri="{FF2B5EF4-FFF2-40B4-BE49-F238E27FC236}">
                <a16:creationId xmlns:a16="http://schemas.microsoft.com/office/drawing/2014/main" id="{00BAA056-DFBD-584F-9273-7D940103359C}"/>
              </a:ext>
            </a:extLst>
          </p:cNvPr>
          <p:cNvSpPr>
            <a:spLocks noGrp="1"/>
          </p:cNvSpPr>
          <p:nvPr>
            <p:ph type="body" sz="quarter" idx="22" hasCustomPrompt="1"/>
          </p:nvPr>
        </p:nvSpPr>
        <p:spPr>
          <a:xfrm>
            <a:off x="1459184" y="2837148"/>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2018</a:t>
            </a:r>
            <a:endParaRPr lang="en-US"/>
          </a:p>
        </p:txBody>
      </p:sp>
      <p:sp>
        <p:nvSpPr>
          <p:cNvPr id="40" name="Text Placeholder 17">
            <a:extLst>
              <a:ext uri="{FF2B5EF4-FFF2-40B4-BE49-F238E27FC236}">
                <a16:creationId xmlns:a16="http://schemas.microsoft.com/office/drawing/2014/main" id="{6BF9179A-0AB3-E042-BD2E-A24FBC624C6C}"/>
              </a:ext>
            </a:extLst>
          </p:cNvPr>
          <p:cNvSpPr>
            <a:spLocks noGrp="1"/>
          </p:cNvSpPr>
          <p:nvPr>
            <p:ph type="body" sz="quarter" idx="23" hasCustomPrompt="1"/>
          </p:nvPr>
        </p:nvSpPr>
        <p:spPr>
          <a:xfrm>
            <a:off x="4890125" y="3857054"/>
            <a:ext cx="2506226" cy="335052"/>
          </a:xfrm>
        </p:spPr>
        <p:txBody>
          <a:bodyPr/>
          <a:lstStyle>
            <a:lvl1pPr algn="ctr">
              <a:buNone/>
              <a:defRPr sz="2000" b="0" i="0" spc="30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2019</a:t>
            </a:r>
            <a:endParaRPr lang="en-US"/>
          </a:p>
        </p:txBody>
      </p:sp>
      <p:sp>
        <p:nvSpPr>
          <p:cNvPr id="41" name="Text Placeholder 17">
            <a:extLst>
              <a:ext uri="{FF2B5EF4-FFF2-40B4-BE49-F238E27FC236}">
                <a16:creationId xmlns:a16="http://schemas.microsoft.com/office/drawing/2014/main" id="{5D05B818-03D6-0C48-A4A4-879D1B8573FA}"/>
              </a:ext>
            </a:extLst>
          </p:cNvPr>
          <p:cNvSpPr>
            <a:spLocks noGrp="1"/>
          </p:cNvSpPr>
          <p:nvPr>
            <p:ph type="body" sz="quarter" idx="24" hasCustomPrompt="1"/>
          </p:nvPr>
        </p:nvSpPr>
        <p:spPr>
          <a:xfrm>
            <a:off x="8223426" y="2825658"/>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2020</a:t>
            </a:r>
            <a:endParaRPr lang="en-US"/>
          </a:p>
        </p:txBody>
      </p:sp>
      <p:sp>
        <p:nvSpPr>
          <p:cNvPr id="18" name="Rectangle 17">
            <a:extLst>
              <a:ext uri="{FF2B5EF4-FFF2-40B4-BE49-F238E27FC236}">
                <a16:creationId xmlns:a16="http://schemas.microsoft.com/office/drawing/2014/main" id="{A223AA5B-A80A-654B-9751-AC9D525DBF0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20" name="Picture 19" descr="Logo&#10;&#10;Description automatically generated">
            <a:extLst>
              <a:ext uri="{FF2B5EF4-FFF2-40B4-BE49-F238E27FC236}">
                <a16:creationId xmlns:a16="http://schemas.microsoft.com/office/drawing/2014/main" id="{DBDF5EC7-0B96-6349-A28B-8F9083C47147}"/>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317595" y="6342038"/>
            <a:ext cx="1300365" cy="144173"/>
          </a:xfrm>
          <a:prstGeom prst="rect">
            <a:avLst/>
          </a:prstGeom>
        </p:spPr>
      </p:pic>
    </p:spTree>
    <p:extLst>
      <p:ext uri="{BB962C8B-B14F-4D97-AF65-F5344CB8AC3E}">
        <p14:creationId xmlns:p14="http://schemas.microsoft.com/office/powerpoint/2010/main" val="3941567843"/>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ur Journey 3">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D99EA92-8C6E-B84F-B459-728079F0C1CC}"/>
              </a:ext>
            </a:extLst>
          </p:cNvPr>
          <p:cNvGrpSpPr/>
          <p:nvPr userDrawn="1"/>
        </p:nvGrpSpPr>
        <p:grpSpPr>
          <a:xfrm flipH="1">
            <a:off x="-87112" y="2832249"/>
            <a:ext cx="10088030" cy="1233055"/>
            <a:chOff x="4201590" y="5664497"/>
            <a:chExt cx="20176060" cy="2466109"/>
          </a:xfrm>
        </p:grpSpPr>
        <p:cxnSp>
          <p:nvCxnSpPr>
            <p:cNvPr id="3" name="Straight Connector 2">
              <a:extLst>
                <a:ext uri="{FF2B5EF4-FFF2-40B4-BE49-F238E27FC236}">
                  <a16:creationId xmlns:a16="http://schemas.microsoft.com/office/drawing/2014/main" id="{E7ED26DD-7AEB-9E44-8FF6-C477D8C00C2B}"/>
                </a:ext>
              </a:extLst>
            </p:cNvPr>
            <p:cNvCxnSpPr/>
            <p:nvPr/>
          </p:nvCxnSpPr>
          <p:spPr>
            <a:xfrm>
              <a:off x="5434644" y="6897551"/>
              <a:ext cx="18943007"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40BA1181-B947-D246-AEDB-8D5690586889}"/>
                </a:ext>
              </a:extLst>
            </p:cNvPr>
            <p:cNvSpPr/>
            <p:nvPr/>
          </p:nvSpPr>
          <p:spPr>
            <a:xfrm>
              <a:off x="4201590" y="5664497"/>
              <a:ext cx="2466109" cy="2466109"/>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Oval 4">
              <a:extLst>
                <a:ext uri="{FF2B5EF4-FFF2-40B4-BE49-F238E27FC236}">
                  <a16:creationId xmlns:a16="http://schemas.microsoft.com/office/drawing/2014/main" id="{93279403-2DD6-294E-8653-2A42ED9EBD96}"/>
                </a:ext>
              </a:extLst>
            </p:cNvPr>
            <p:cNvSpPr/>
            <p:nvPr/>
          </p:nvSpPr>
          <p:spPr>
            <a:xfrm>
              <a:off x="11936354" y="6725140"/>
              <a:ext cx="344824" cy="344824"/>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Oval 5">
              <a:extLst>
                <a:ext uri="{FF2B5EF4-FFF2-40B4-BE49-F238E27FC236}">
                  <a16:creationId xmlns:a16="http://schemas.microsoft.com/office/drawing/2014/main" id="{B1A0B9AD-E1B8-4A47-B627-580D076FD190}"/>
                </a:ext>
              </a:extLst>
            </p:cNvPr>
            <p:cNvSpPr/>
            <p:nvPr/>
          </p:nvSpPr>
          <p:spPr>
            <a:xfrm>
              <a:off x="18764171" y="6725140"/>
              <a:ext cx="344824" cy="344824"/>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0" name="Text Placeholder 17">
            <a:extLst>
              <a:ext uri="{FF2B5EF4-FFF2-40B4-BE49-F238E27FC236}">
                <a16:creationId xmlns:a16="http://schemas.microsoft.com/office/drawing/2014/main" id="{EE27F43F-5131-7247-81C7-14B1147E8D74}"/>
              </a:ext>
            </a:extLst>
          </p:cNvPr>
          <p:cNvSpPr>
            <a:spLocks noGrp="1"/>
          </p:cNvSpPr>
          <p:nvPr>
            <p:ph type="body" sz="quarter" idx="20" hasCustomPrompt="1"/>
          </p:nvPr>
        </p:nvSpPr>
        <p:spPr>
          <a:xfrm>
            <a:off x="1474900" y="161754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21" name="Text Placeholder 17">
            <a:extLst>
              <a:ext uri="{FF2B5EF4-FFF2-40B4-BE49-F238E27FC236}">
                <a16:creationId xmlns:a16="http://schemas.microsoft.com/office/drawing/2014/main" id="{FA701368-7F3A-D942-9086-74C5BC9A1AD6}"/>
              </a:ext>
            </a:extLst>
          </p:cNvPr>
          <p:cNvSpPr>
            <a:spLocks noGrp="1"/>
          </p:cNvSpPr>
          <p:nvPr>
            <p:ph type="body" sz="quarter" idx="21" hasCustomPrompt="1"/>
          </p:nvPr>
        </p:nvSpPr>
        <p:spPr>
          <a:xfrm>
            <a:off x="4808201" y="4232863"/>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22" name="Text Placeholder 17">
            <a:extLst>
              <a:ext uri="{FF2B5EF4-FFF2-40B4-BE49-F238E27FC236}">
                <a16:creationId xmlns:a16="http://schemas.microsoft.com/office/drawing/2014/main" id="{19E93A3E-D93B-6746-924C-B809E688CD72}"/>
              </a:ext>
            </a:extLst>
          </p:cNvPr>
          <p:cNvSpPr>
            <a:spLocks noGrp="1"/>
          </p:cNvSpPr>
          <p:nvPr>
            <p:ph type="body" sz="quarter" idx="22" hasCustomPrompt="1"/>
          </p:nvPr>
        </p:nvSpPr>
        <p:spPr>
          <a:xfrm>
            <a:off x="8767864"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END</a:t>
            </a:r>
            <a:endParaRPr lang="en-US"/>
          </a:p>
        </p:txBody>
      </p:sp>
      <p:sp>
        <p:nvSpPr>
          <p:cNvPr id="26" name="Text Placeholder 17">
            <a:extLst>
              <a:ext uri="{FF2B5EF4-FFF2-40B4-BE49-F238E27FC236}">
                <a16:creationId xmlns:a16="http://schemas.microsoft.com/office/drawing/2014/main" id="{14EC00ED-B9B5-564F-A2BD-E9361B35ED61}"/>
              </a:ext>
            </a:extLst>
          </p:cNvPr>
          <p:cNvSpPr>
            <a:spLocks noGrp="1"/>
          </p:cNvSpPr>
          <p:nvPr>
            <p:ph type="body" sz="quarter" idx="24" hasCustomPrompt="1"/>
          </p:nvPr>
        </p:nvSpPr>
        <p:spPr>
          <a:xfrm>
            <a:off x="1466515" y="3842694"/>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2021</a:t>
            </a:r>
            <a:endParaRPr lang="en-US"/>
          </a:p>
        </p:txBody>
      </p:sp>
      <p:sp>
        <p:nvSpPr>
          <p:cNvPr id="27" name="Text Placeholder 17">
            <a:extLst>
              <a:ext uri="{FF2B5EF4-FFF2-40B4-BE49-F238E27FC236}">
                <a16:creationId xmlns:a16="http://schemas.microsoft.com/office/drawing/2014/main" id="{3BB708B1-BD9F-3D4B-A3F2-DAAACD7B96FF}"/>
              </a:ext>
            </a:extLst>
          </p:cNvPr>
          <p:cNvSpPr>
            <a:spLocks noGrp="1"/>
          </p:cNvSpPr>
          <p:nvPr>
            <p:ph type="body" sz="quarter" idx="25" hasCustomPrompt="1"/>
          </p:nvPr>
        </p:nvSpPr>
        <p:spPr>
          <a:xfrm>
            <a:off x="4808201" y="2797420"/>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2022</a:t>
            </a:r>
            <a:endParaRPr lang="en-US"/>
          </a:p>
        </p:txBody>
      </p:sp>
      <p:sp>
        <p:nvSpPr>
          <p:cNvPr id="14" name="Rectangle 13">
            <a:extLst>
              <a:ext uri="{FF2B5EF4-FFF2-40B4-BE49-F238E27FC236}">
                <a16:creationId xmlns:a16="http://schemas.microsoft.com/office/drawing/2014/main" id="{6E835CC0-40A7-4A49-AF3E-F242A0786E2B}"/>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D63E1F91-21AD-C348-B622-646EB3561A07}"/>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10490607" y="6490938"/>
            <a:ext cx="1300365" cy="144173"/>
          </a:xfrm>
          <a:prstGeom prst="rect">
            <a:avLst/>
          </a:prstGeom>
        </p:spPr>
      </p:pic>
    </p:spTree>
    <p:extLst>
      <p:ext uri="{BB962C8B-B14F-4D97-AF65-F5344CB8AC3E}">
        <p14:creationId xmlns:p14="http://schemas.microsoft.com/office/powerpoint/2010/main" val="4133433779"/>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text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A7EC3A-FA50-904B-839F-2B92D5166DD5}"/>
              </a:ext>
            </a:extLst>
          </p:cNvPr>
          <p:cNvSpPr/>
          <p:nvPr userDrawn="1"/>
        </p:nvSpPr>
        <p:spPr>
          <a:xfrm>
            <a:off x="0" y="482371"/>
            <a:ext cx="6113604" cy="285559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946976CB-0B76-DD49-AA4D-4F230C256467}"/>
              </a:ext>
            </a:extLst>
          </p:cNvPr>
          <p:cNvSpPr/>
          <p:nvPr userDrawn="1"/>
        </p:nvSpPr>
        <p:spPr>
          <a:xfrm>
            <a:off x="6113604" y="482371"/>
            <a:ext cx="6113604" cy="285559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7">
            <a:extLst>
              <a:ext uri="{FF2B5EF4-FFF2-40B4-BE49-F238E27FC236}">
                <a16:creationId xmlns:a16="http://schemas.microsoft.com/office/drawing/2014/main" id="{A80F2D74-8F18-9F49-A166-16ACDC1D1115}"/>
              </a:ext>
            </a:extLst>
          </p:cNvPr>
          <p:cNvSpPr>
            <a:spLocks noGrp="1"/>
          </p:cNvSpPr>
          <p:nvPr>
            <p:ph type="body" sz="quarter" idx="18" hasCustomPrompt="1"/>
          </p:nvPr>
        </p:nvSpPr>
        <p:spPr>
          <a:xfrm>
            <a:off x="633715" y="3843119"/>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ub-heading</a:t>
            </a:r>
            <a:endParaRPr lang="en-US"/>
          </a:p>
        </p:txBody>
      </p:sp>
      <p:sp>
        <p:nvSpPr>
          <p:cNvPr id="17" name="Text Placeholder 23">
            <a:extLst>
              <a:ext uri="{FF2B5EF4-FFF2-40B4-BE49-F238E27FC236}">
                <a16:creationId xmlns:a16="http://schemas.microsoft.com/office/drawing/2014/main" id="{8C1B99A3-E2FF-264E-947B-7183A27F95CD}"/>
              </a:ext>
            </a:extLst>
          </p:cNvPr>
          <p:cNvSpPr>
            <a:spLocks noGrp="1"/>
          </p:cNvSpPr>
          <p:nvPr>
            <p:ph type="body" sz="quarter" idx="16" hasCustomPrompt="1"/>
          </p:nvPr>
        </p:nvSpPr>
        <p:spPr>
          <a:xfrm>
            <a:off x="633715" y="2505507"/>
            <a:ext cx="4957908" cy="582221"/>
          </a:xfrm>
        </p:spPr>
        <p:txBody>
          <a:bodyPr>
            <a:normAutofit/>
          </a:bodyPr>
          <a:lstStyle>
            <a:lvl1pPr marL="0" indent="0" algn="ctr">
              <a:buNone/>
              <a:defRPr sz="3600" b="0" i="0">
                <a:solidFill>
                  <a:schemeClr val="bg1"/>
                </a:solidFill>
                <a:latin typeface="+mn-lt"/>
              </a:defRPr>
            </a:lvl1pPr>
          </a:lstStyle>
          <a:p>
            <a:pPr lvl="0"/>
            <a:r>
              <a:rPr lang="en-US"/>
              <a:t>Heading</a:t>
            </a:r>
          </a:p>
        </p:txBody>
      </p:sp>
      <p:sp>
        <p:nvSpPr>
          <p:cNvPr id="18" name="Text Placeholder 17">
            <a:extLst>
              <a:ext uri="{FF2B5EF4-FFF2-40B4-BE49-F238E27FC236}">
                <a16:creationId xmlns:a16="http://schemas.microsoft.com/office/drawing/2014/main" id="{02E7D4CC-063A-6D45-92B2-EC8AC4E32AAF}"/>
              </a:ext>
            </a:extLst>
          </p:cNvPr>
          <p:cNvSpPr>
            <a:spLocks noGrp="1"/>
          </p:cNvSpPr>
          <p:nvPr>
            <p:ph type="body" sz="quarter" idx="19" hasCustomPrompt="1"/>
          </p:nvPr>
        </p:nvSpPr>
        <p:spPr>
          <a:xfrm>
            <a:off x="6420771" y="3880875"/>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ub-heading</a:t>
            </a:r>
            <a:endParaRPr lang="en-US"/>
          </a:p>
        </p:txBody>
      </p:sp>
      <p:sp>
        <p:nvSpPr>
          <p:cNvPr id="19" name="Text Placeholder 23">
            <a:extLst>
              <a:ext uri="{FF2B5EF4-FFF2-40B4-BE49-F238E27FC236}">
                <a16:creationId xmlns:a16="http://schemas.microsoft.com/office/drawing/2014/main" id="{A04C066A-035C-0341-9527-E538DEB47886}"/>
              </a:ext>
            </a:extLst>
          </p:cNvPr>
          <p:cNvSpPr>
            <a:spLocks noGrp="1"/>
          </p:cNvSpPr>
          <p:nvPr>
            <p:ph type="body" sz="quarter" idx="20" hasCustomPrompt="1"/>
          </p:nvPr>
        </p:nvSpPr>
        <p:spPr>
          <a:xfrm>
            <a:off x="6420771" y="2543263"/>
            <a:ext cx="4957908" cy="582221"/>
          </a:xfrm>
        </p:spPr>
        <p:txBody>
          <a:bodyPr>
            <a:normAutofit/>
          </a:bodyPr>
          <a:lstStyle>
            <a:lvl1pPr marL="0" indent="0" algn="ctr">
              <a:buNone/>
              <a:defRPr sz="3600" b="0" i="0">
                <a:solidFill>
                  <a:schemeClr val="bg1"/>
                </a:solidFill>
                <a:latin typeface="+mn-lt"/>
              </a:defRPr>
            </a:lvl1pPr>
          </a:lstStyle>
          <a:p>
            <a:pPr lvl="0"/>
            <a:r>
              <a:rPr lang="en-US"/>
              <a:t>Heading</a:t>
            </a:r>
          </a:p>
        </p:txBody>
      </p:sp>
      <p:sp>
        <p:nvSpPr>
          <p:cNvPr id="10" name="Rectangle 9">
            <a:extLst>
              <a:ext uri="{FF2B5EF4-FFF2-40B4-BE49-F238E27FC236}">
                <a16:creationId xmlns:a16="http://schemas.microsoft.com/office/drawing/2014/main" id="{562EC76A-58DF-4A4B-874F-8A626D9CF740}"/>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7C1F8DF1-3432-074B-BA29-C157EF147929}"/>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317595" y="6342038"/>
            <a:ext cx="1300365" cy="144173"/>
          </a:xfrm>
          <a:prstGeom prst="rect">
            <a:avLst/>
          </a:prstGeom>
        </p:spPr>
      </p:pic>
    </p:spTree>
    <p:extLst>
      <p:ext uri="{BB962C8B-B14F-4D97-AF65-F5344CB8AC3E}">
        <p14:creationId xmlns:p14="http://schemas.microsoft.com/office/powerpoint/2010/main" val="138772032"/>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lendar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295640-5B5F-6E47-808F-2F2FB8B377B6}"/>
              </a:ext>
            </a:extLst>
          </p:cNvPr>
          <p:cNvGrpSpPr/>
          <p:nvPr userDrawn="1"/>
        </p:nvGrpSpPr>
        <p:grpSpPr>
          <a:xfrm>
            <a:off x="13492" y="1875084"/>
            <a:ext cx="12165015" cy="3041254"/>
            <a:chOff x="0" y="4738255"/>
            <a:chExt cx="21169743" cy="5292436"/>
          </a:xfrm>
        </p:grpSpPr>
        <p:sp>
          <p:nvSpPr>
            <p:cNvPr id="3" name="Rectangle 2">
              <a:extLst>
                <a:ext uri="{FF2B5EF4-FFF2-40B4-BE49-F238E27FC236}">
                  <a16:creationId xmlns:a16="http://schemas.microsoft.com/office/drawing/2014/main" id="{2C287D99-39F7-274E-881D-B1205E86882D}"/>
                </a:ext>
              </a:extLst>
            </p:cNvPr>
            <p:cNvSpPr/>
            <p:nvPr/>
          </p:nvSpPr>
          <p:spPr>
            <a:xfrm>
              <a:off x="0" y="4738255"/>
              <a:ext cx="5292436" cy="5292436"/>
            </a:xfrm>
            <a:prstGeom prst="rect">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7255414-C2BD-294E-A843-C1E85CBB702D}"/>
                </a:ext>
              </a:extLst>
            </p:cNvPr>
            <p:cNvSpPr/>
            <p:nvPr/>
          </p:nvSpPr>
          <p:spPr>
            <a:xfrm>
              <a:off x="5292436" y="4738255"/>
              <a:ext cx="5292436" cy="52924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C2AF4D0D-CD86-1943-BD02-89B10E71AB04}"/>
                </a:ext>
              </a:extLst>
            </p:cNvPr>
            <p:cNvSpPr/>
            <p:nvPr/>
          </p:nvSpPr>
          <p:spPr>
            <a:xfrm>
              <a:off x="10584872" y="4738255"/>
              <a:ext cx="5292436" cy="529243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AB3D836D-4100-D44A-83B0-51B97203CAA2}"/>
                </a:ext>
              </a:extLst>
            </p:cNvPr>
            <p:cNvSpPr/>
            <p:nvPr/>
          </p:nvSpPr>
          <p:spPr>
            <a:xfrm>
              <a:off x="15877308" y="4738255"/>
              <a:ext cx="5292436" cy="529243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5" name="Text Placeholder 17">
            <a:extLst>
              <a:ext uri="{FF2B5EF4-FFF2-40B4-BE49-F238E27FC236}">
                <a16:creationId xmlns:a16="http://schemas.microsoft.com/office/drawing/2014/main" id="{40B2C6C4-135F-5946-B876-EA9B72EF097A}"/>
              </a:ext>
            </a:extLst>
          </p:cNvPr>
          <p:cNvSpPr>
            <a:spLocks noGrp="1"/>
          </p:cNvSpPr>
          <p:nvPr>
            <p:ph type="body" sz="quarter" idx="18" hasCustomPrompt="1"/>
          </p:nvPr>
        </p:nvSpPr>
        <p:spPr>
          <a:xfrm>
            <a:off x="3054743" y="2963737"/>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February</a:t>
            </a:r>
            <a:endParaRPr lang="en-US"/>
          </a:p>
        </p:txBody>
      </p:sp>
      <p:sp>
        <p:nvSpPr>
          <p:cNvPr id="36" name="Text Placeholder 23">
            <a:extLst>
              <a:ext uri="{FF2B5EF4-FFF2-40B4-BE49-F238E27FC236}">
                <a16:creationId xmlns:a16="http://schemas.microsoft.com/office/drawing/2014/main" id="{BDA90A0E-F434-DE4E-802E-4F8D96708411}"/>
              </a:ext>
            </a:extLst>
          </p:cNvPr>
          <p:cNvSpPr>
            <a:spLocks noGrp="1"/>
          </p:cNvSpPr>
          <p:nvPr>
            <p:ph type="body" sz="quarter" idx="16" hasCustomPrompt="1"/>
          </p:nvPr>
        </p:nvSpPr>
        <p:spPr>
          <a:xfrm>
            <a:off x="3059026" y="2332384"/>
            <a:ext cx="3049353" cy="582221"/>
          </a:xfrm>
        </p:spPr>
        <p:txBody>
          <a:bodyPr>
            <a:normAutofit/>
          </a:bodyPr>
          <a:lstStyle>
            <a:lvl1pPr marL="0" indent="0" algn="ctr">
              <a:buNone/>
              <a:defRPr sz="4000" b="1" i="0">
                <a:solidFill>
                  <a:schemeClr val="bg1"/>
                </a:solidFill>
                <a:latin typeface="+mn-lt"/>
              </a:defRPr>
            </a:lvl1pPr>
          </a:lstStyle>
          <a:p>
            <a:pPr lvl="0"/>
            <a:r>
              <a:rPr lang="en-US"/>
              <a:t>4</a:t>
            </a:r>
          </a:p>
        </p:txBody>
      </p:sp>
      <p:sp>
        <p:nvSpPr>
          <p:cNvPr id="37" name="Text Placeholder 17">
            <a:extLst>
              <a:ext uri="{FF2B5EF4-FFF2-40B4-BE49-F238E27FC236}">
                <a16:creationId xmlns:a16="http://schemas.microsoft.com/office/drawing/2014/main" id="{E4E3947D-3C0D-864E-A378-E86B96AB3AB7}"/>
              </a:ext>
            </a:extLst>
          </p:cNvPr>
          <p:cNvSpPr>
            <a:spLocks noGrp="1"/>
          </p:cNvSpPr>
          <p:nvPr>
            <p:ph type="body" sz="quarter" idx="19" hasCustomPrompt="1"/>
          </p:nvPr>
        </p:nvSpPr>
        <p:spPr>
          <a:xfrm>
            <a:off x="3069574" y="3694013"/>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38" name="Text Placeholder 17">
            <a:extLst>
              <a:ext uri="{FF2B5EF4-FFF2-40B4-BE49-F238E27FC236}">
                <a16:creationId xmlns:a16="http://schemas.microsoft.com/office/drawing/2014/main" id="{7A61D601-8E58-BD42-BBBF-581E5B432135}"/>
              </a:ext>
            </a:extLst>
          </p:cNvPr>
          <p:cNvSpPr>
            <a:spLocks noGrp="1"/>
          </p:cNvSpPr>
          <p:nvPr>
            <p:ph type="body" sz="quarter" idx="20" hasCustomPrompt="1"/>
          </p:nvPr>
        </p:nvSpPr>
        <p:spPr>
          <a:xfrm>
            <a:off x="-979" y="2966833"/>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January</a:t>
            </a:r>
            <a:endParaRPr lang="en-US"/>
          </a:p>
        </p:txBody>
      </p:sp>
      <p:sp>
        <p:nvSpPr>
          <p:cNvPr id="39" name="Text Placeholder 23">
            <a:extLst>
              <a:ext uri="{FF2B5EF4-FFF2-40B4-BE49-F238E27FC236}">
                <a16:creationId xmlns:a16="http://schemas.microsoft.com/office/drawing/2014/main" id="{FBF15F1B-8908-F446-91BA-B6025A5D96A4}"/>
              </a:ext>
            </a:extLst>
          </p:cNvPr>
          <p:cNvSpPr>
            <a:spLocks noGrp="1"/>
          </p:cNvSpPr>
          <p:nvPr>
            <p:ph type="body" sz="quarter" idx="21" hasCustomPrompt="1"/>
          </p:nvPr>
        </p:nvSpPr>
        <p:spPr>
          <a:xfrm>
            <a:off x="3304" y="2335480"/>
            <a:ext cx="3049353" cy="582221"/>
          </a:xfrm>
        </p:spPr>
        <p:txBody>
          <a:bodyPr>
            <a:normAutofit/>
          </a:bodyPr>
          <a:lstStyle>
            <a:lvl1pPr marL="0" indent="0" algn="ctr">
              <a:buNone/>
              <a:defRPr sz="4000" b="1" i="0">
                <a:solidFill>
                  <a:schemeClr val="bg1"/>
                </a:solidFill>
                <a:latin typeface="+mn-lt"/>
              </a:defRPr>
            </a:lvl1pPr>
          </a:lstStyle>
          <a:p>
            <a:pPr lvl="0"/>
            <a:r>
              <a:rPr lang="en-US"/>
              <a:t>20</a:t>
            </a:r>
          </a:p>
        </p:txBody>
      </p:sp>
      <p:sp>
        <p:nvSpPr>
          <p:cNvPr id="40" name="Text Placeholder 17">
            <a:extLst>
              <a:ext uri="{FF2B5EF4-FFF2-40B4-BE49-F238E27FC236}">
                <a16:creationId xmlns:a16="http://schemas.microsoft.com/office/drawing/2014/main" id="{8DA24536-E652-E647-BC3C-200CC5578281}"/>
              </a:ext>
            </a:extLst>
          </p:cNvPr>
          <p:cNvSpPr>
            <a:spLocks noGrp="1"/>
          </p:cNvSpPr>
          <p:nvPr>
            <p:ph type="body" sz="quarter" idx="22" hasCustomPrompt="1"/>
          </p:nvPr>
        </p:nvSpPr>
        <p:spPr>
          <a:xfrm>
            <a:off x="13852" y="3697109"/>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41" name="Text Placeholder 17">
            <a:extLst>
              <a:ext uri="{FF2B5EF4-FFF2-40B4-BE49-F238E27FC236}">
                <a16:creationId xmlns:a16="http://schemas.microsoft.com/office/drawing/2014/main" id="{87F5E8E1-032A-ED43-93E9-DB20B4563FF8}"/>
              </a:ext>
            </a:extLst>
          </p:cNvPr>
          <p:cNvSpPr>
            <a:spLocks noGrp="1"/>
          </p:cNvSpPr>
          <p:nvPr>
            <p:ph type="body" sz="quarter" idx="23" hasCustomPrompt="1"/>
          </p:nvPr>
        </p:nvSpPr>
        <p:spPr>
          <a:xfrm>
            <a:off x="9124512" y="2950422"/>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April</a:t>
            </a:r>
            <a:endParaRPr lang="en-US"/>
          </a:p>
        </p:txBody>
      </p:sp>
      <p:sp>
        <p:nvSpPr>
          <p:cNvPr id="42" name="Text Placeholder 23">
            <a:extLst>
              <a:ext uri="{FF2B5EF4-FFF2-40B4-BE49-F238E27FC236}">
                <a16:creationId xmlns:a16="http://schemas.microsoft.com/office/drawing/2014/main" id="{76204B1D-FD93-534C-86DB-6D09C9545691}"/>
              </a:ext>
            </a:extLst>
          </p:cNvPr>
          <p:cNvSpPr>
            <a:spLocks noGrp="1"/>
          </p:cNvSpPr>
          <p:nvPr>
            <p:ph type="body" sz="quarter" idx="24" hasCustomPrompt="1"/>
          </p:nvPr>
        </p:nvSpPr>
        <p:spPr>
          <a:xfrm>
            <a:off x="9128795" y="2319069"/>
            <a:ext cx="3049353" cy="582221"/>
          </a:xfrm>
        </p:spPr>
        <p:txBody>
          <a:bodyPr>
            <a:normAutofit/>
          </a:bodyPr>
          <a:lstStyle>
            <a:lvl1pPr marL="0" indent="0" algn="ctr">
              <a:buNone/>
              <a:defRPr sz="4000" b="1" i="0">
                <a:solidFill>
                  <a:schemeClr val="bg1"/>
                </a:solidFill>
                <a:latin typeface="+mn-lt"/>
              </a:defRPr>
            </a:lvl1pPr>
          </a:lstStyle>
          <a:p>
            <a:pPr lvl="0"/>
            <a:r>
              <a:rPr lang="en-US"/>
              <a:t>2</a:t>
            </a:r>
          </a:p>
        </p:txBody>
      </p:sp>
      <p:sp>
        <p:nvSpPr>
          <p:cNvPr id="43" name="Text Placeholder 17">
            <a:extLst>
              <a:ext uri="{FF2B5EF4-FFF2-40B4-BE49-F238E27FC236}">
                <a16:creationId xmlns:a16="http://schemas.microsoft.com/office/drawing/2014/main" id="{F4D63AE9-5CEC-9F4B-96A5-3F0DB00BF3E5}"/>
              </a:ext>
            </a:extLst>
          </p:cNvPr>
          <p:cNvSpPr>
            <a:spLocks noGrp="1"/>
          </p:cNvSpPr>
          <p:nvPr>
            <p:ph type="body" sz="quarter" idx="25" hasCustomPrompt="1"/>
          </p:nvPr>
        </p:nvSpPr>
        <p:spPr>
          <a:xfrm>
            <a:off x="9139343" y="3680698"/>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44" name="Text Placeholder 17">
            <a:extLst>
              <a:ext uri="{FF2B5EF4-FFF2-40B4-BE49-F238E27FC236}">
                <a16:creationId xmlns:a16="http://schemas.microsoft.com/office/drawing/2014/main" id="{18449C84-980B-324B-B217-BB2EDFA5B227}"/>
              </a:ext>
            </a:extLst>
          </p:cNvPr>
          <p:cNvSpPr>
            <a:spLocks noGrp="1"/>
          </p:cNvSpPr>
          <p:nvPr>
            <p:ph type="body" sz="quarter" idx="26" hasCustomPrompt="1"/>
          </p:nvPr>
        </p:nvSpPr>
        <p:spPr>
          <a:xfrm>
            <a:off x="6068790" y="2953518"/>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March</a:t>
            </a:r>
            <a:endParaRPr lang="en-US"/>
          </a:p>
        </p:txBody>
      </p:sp>
      <p:sp>
        <p:nvSpPr>
          <p:cNvPr id="45" name="Text Placeholder 23">
            <a:extLst>
              <a:ext uri="{FF2B5EF4-FFF2-40B4-BE49-F238E27FC236}">
                <a16:creationId xmlns:a16="http://schemas.microsoft.com/office/drawing/2014/main" id="{DB432D93-6FEA-AC42-83B9-779DFF3A77AA}"/>
              </a:ext>
            </a:extLst>
          </p:cNvPr>
          <p:cNvSpPr>
            <a:spLocks noGrp="1"/>
          </p:cNvSpPr>
          <p:nvPr>
            <p:ph type="body" sz="quarter" idx="27" hasCustomPrompt="1"/>
          </p:nvPr>
        </p:nvSpPr>
        <p:spPr>
          <a:xfrm>
            <a:off x="6073073" y="2322165"/>
            <a:ext cx="3049353" cy="582221"/>
          </a:xfrm>
        </p:spPr>
        <p:txBody>
          <a:bodyPr>
            <a:normAutofit/>
          </a:bodyPr>
          <a:lstStyle>
            <a:lvl1pPr marL="0" indent="0" algn="ctr">
              <a:buNone/>
              <a:defRPr sz="4000" b="1" i="0">
                <a:solidFill>
                  <a:schemeClr val="bg1"/>
                </a:solidFill>
                <a:latin typeface="+mn-lt"/>
              </a:defRPr>
            </a:lvl1pPr>
          </a:lstStyle>
          <a:p>
            <a:pPr lvl="0"/>
            <a:r>
              <a:rPr lang="en-US"/>
              <a:t>17</a:t>
            </a:r>
          </a:p>
        </p:txBody>
      </p:sp>
      <p:sp>
        <p:nvSpPr>
          <p:cNvPr id="46" name="Text Placeholder 17">
            <a:extLst>
              <a:ext uri="{FF2B5EF4-FFF2-40B4-BE49-F238E27FC236}">
                <a16:creationId xmlns:a16="http://schemas.microsoft.com/office/drawing/2014/main" id="{23980425-5596-AE4F-A5E0-1E8D36188DD0}"/>
              </a:ext>
            </a:extLst>
          </p:cNvPr>
          <p:cNvSpPr>
            <a:spLocks noGrp="1"/>
          </p:cNvSpPr>
          <p:nvPr>
            <p:ph type="body" sz="quarter" idx="28" hasCustomPrompt="1"/>
          </p:nvPr>
        </p:nvSpPr>
        <p:spPr>
          <a:xfrm>
            <a:off x="6083621" y="3683794"/>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25" name="Text Placeholder 23">
            <a:extLst>
              <a:ext uri="{FF2B5EF4-FFF2-40B4-BE49-F238E27FC236}">
                <a16:creationId xmlns:a16="http://schemas.microsoft.com/office/drawing/2014/main" id="{931F17A9-1990-CB4F-B6F6-4BB13F4AD5DC}"/>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a:t>Heading</a:t>
            </a:r>
          </a:p>
        </p:txBody>
      </p:sp>
      <p:sp>
        <p:nvSpPr>
          <p:cNvPr id="24" name="Rectangle 23">
            <a:extLst>
              <a:ext uri="{FF2B5EF4-FFF2-40B4-BE49-F238E27FC236}">
                <a16:creationId xmlns:a16="http://schemas.microsoft.com/office/drawing/2014/main" id="{185E8BBF-5FD9-B642-A379-CD86A20DF681}"/>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26" name="Picture 25" descr="Logo&#10;&#10;Description automatically generated">
            <a:extLst>
              <a:ext uri="{FF2B5EF4-FFF2-40B4-BE49-F238E27FC236}">
                <a16:creationId xmlns:a16="http://schemas.microsoft.com/office/drawing/2014/main" id="{B15D1A75-4AD0-BD4B-AE7B-155F54D68B04}"/>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317595" y="6342038"/>
            <a:ext cx="1300365" cy="144173"/>
          </a:xfrm>
          <a:prstGeom prst="rect">
            <a:avLst/>
          </a:prstGeom>
        </p:spPr>
      </p:pic>
    </p:spTree>
    <p:extLst>
      <p:ext uri="{BB962C8B-B14F-4D97-AF65-F5344CB8AC3E}">
        <p14:creationId xmlns:p14="http://schemas.microsoft.com/office/powerpoint/2010/main" val="504065832"/>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point icon graph">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2225374" y="1727469"/>
            <a:ext cx="1521426" cy="2214649"/>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u="none" strike="noStrike" kern="120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2268473" y="1768904"/>
            <a:ext cx="1433560" cy="1433557"/>
          </a:xfrm>
          <a:custGeom>
            <a:avLst/>
            <a:gdLst/>
            <a:ahLst/>
            <a:cxnLst>
              <a:cxn ang="3cd4">
                <a:pos x="hc" y="t"/>
              </a:cxn>
              <a:cxn ang="cd2">
                <a:pos x="l" y="vc"/>
              </a:cxn>
              <a:cxn ang="cd4">
                <a:pos x="hc" y="b"/>
              </a:cxn>
              <a:cxn ang="0">
                <a:pos x="r" y="vc"/>
              </a:cxn>
            </a:cxnLst>
            <a:rect l="l" t="t" r="r" b="b"/>
            <a:pathLst>
              <a:path w="472" h="472">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u="none" strike="noStrike" kern="120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48401" y="1773769"/>
            <a:ext cx="1519759" cy="2214649"/>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u="none" strike="noStrike" kern="120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89834" y="1815204"/>
            <a:ext cx="1433560" cy="1433557"/>
          </a:xfrm>
          <a:custGeom>
            <a:avLst/>
            <a:gdLst/>
            <a:ahLst/>
            <a:cxnLst>
              <a:cxn ang="3cd4">
                <a:pos x="hc" y="t"/>
              </a:cxn>
              <a:cxn ang="cd2">
                <a:pos x="l" y="vc"/>
              </a:cxn>
              <a:cxn ang="cd4">
                <a:pos x="hc" y="b"/>
              </a:cxn>
              <a:cxn ang="0">
                <a:pos x="r" y="vc"/>
              </a:cxn>
            </a:cxnLst>
            <a:rect l="l" t="t" r="r" b="b"/>
            <a:pathLst>
              <a:path w="472" h="472">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u="none" strike="noStrike" kern="120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8745392" y="1780019"/>
            <a:ext cx="1521426" cy="2214649"/>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u="none" strike="noStrike" kern="120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8792510" y="1821454"/>
            <a:ext cx="1430522" cy="1433557"/>
          </a:xfrm>
          <a:custGeom>
            <a:avLst/>
            <a:gdLst/>
            <a:ahLst/>
            <a:cxnLst>
              <a:cxn ang="3cd4">
                <a:pos x="hc" y="t"/>
              </a:cxn>
              <a:cxn ang="cd2">
                <a:pos x="l" y="vc"/>
              </a:cxn>
              <a:cxn ang="cd4">
                <a:pos x="hc" y="b"/>
              </a:cxn>
              <a:cxn ang="0">
                <a:pos x="r" y="vc"/>
              </a:cxn>
            </a:cxnLst>
            <a:rect l="l" t="t" r="r" b="b"/>
            <a:pathLst>
              <a:path w="472" h="472">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u="none" strike="noStrike" kern="1200">
              <a:ln>
                <a:noFill/>
              </a:ln>
              <a:latin typeface="Lato Regular" charset="0"/>
              <a:ea typeface="Arial Unicode MS" pitchFamily="2"/>
              <a:cs typeface="Arial Unicode MS" pitchFamily="2"/>
            </a:endParaRPr>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1956271" y="4333339"/>
            <a:ext cx="2061046" cy="335052"/>
          </a:xfrm>
        </p:spPr>
        <p:txBody>
          <a:bodyPr/>
          <a:lstStyle>
            <a:lvl1pPr algn="ctr">
              <a:buNone/>
              <a:defRPr sz="2000" b="0" i="0" spc="0">
                <a:solidFill>
                  <a:srgbClr val="7F1C58"/>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Title One</a:t>
            </a:r>
            <a:endParaRPr lang="en-US"/>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71185"/>
            <a:ext cx="2061046" cy="335052"/>
          </a:xfrm>
        </p:spPr>
        <p:txBody>
          <a:bodyPr/>
          <a:lstStyle>
            <a:lvl1pPr algn="ctr">
              <a:buNone/>
              <a:defRPr sz="2000" b="0" i="0" spc="0">
                <a:solidFill>
                  <a:srgbClr val="B41F7A"/>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Title One</a:t>
            </a:r>
            <a:endParaRPr lang="en-US"/>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8479091" y="4371185"/>
            <a:ext cx="2061046" cy="335052"/>
          </a:xfrm>
        </p:spPr>
        <p:txBody>
          <a:bodyPr/>
          <a:lstStyle>
            <a:lvl1pPr algn="ctr">
              <a:buNone/>
              <a:defRPr sz="2000" b="0" i="0" spc="0">
                <a:solidFill>
                  <a:srgbClr val="F16924"/>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Title One</a:t>
            </a:r>
            <a:endParaRPr lang="en-US"/>
          </a:p>
        </p:txBody>
      </p:sp>
      <p:sp>
        <p:nvSpPr>
          <p:cNvPr id="21" name="Text Placeholder 23">
            <a:extLst>
              <a:ext uri="{FF2B5EF4-FFF2-40B4-BE49-F238E27FC236}">
                <a16:creationId xmlns:a16="http://schemas.microsoft.com/office/drawing/2014/main" id="{C979FF8E-2FF0-A342-B688-0AFAC421133E}"/>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a:t>Heading</a:t>
            </a:r>
          </a:p>
        </p:txBody>
      </p:sp>
      <p:sp>
        <p:nvSpPr>
          <p:cNvPr id="16" name="Rectangle 15">
            <a:extLst>
              <a:ext uri="{FF2B5EF4-FFF2-40B4-BE49-F238E27FC236}">
                <a16:creationId xmlns:a16="http://schemas.microsoft.com/office/drawing/2014/main" id="{60FDA0A4-DB97-CD4B-B9D8-DC06DE270F32}"/>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C7F54070-225E-B842-A162-3F4AFB4216B6}"/>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317595" y="6342038"/>
            <a:ext cx="1300365" cy="144173"/>
          </a:xfrm>
          <a:prstGeom prst="rect">
            <a:avLst/>
          </a:prstGeom>
        </p:spPr>
      </p:pic>
    </p:spTree>
    <p:extLst>
      <p:ext uri="{BB962C8B-B14F-4D97-AF65-F5344CB8AC3E}">
        <p14:creationId xmlns:p14="http://schemas.microsoft.com/office/powerpoint/2010/main" val="4068254863"/>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618C35C-D4A5-DB4C-8758-82503619524A}"/>
              </a:ext>
            </a:extLst>
          </p:cNvPr>
          <p:cNvSpPr/>
          <p:nvPr userDrawn="1"/>
        </p:nvSpPr>
        <p:spPr>
          <a:xfrm>
            <a:off x="4123" y="2220685"/>
            <a:ext cx="12187877" cy="326632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a:solidFill>
                  <a:srgbClr val="FFFFFF"/>
                </a:solidFill>
                <a:effectLst/>
                <a:ea typeface="Calibri" panose="020F0502020204030204" pitchFamily="34" charset="0"/>
                <a:cs typeface="Times New Roman" panose="02020603050405020304" pitchFamily="18" charset="0"/>
              </a:rPr>
              <a:t> </a:t>
            </a:r>
            <a:endParaRPr lang="en-IE" sz="100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a:solidFill>
                  <a:srgbClr val="FFFFFF"/>
                </a:solidFill>
                <a:effectLst/>
                <a:ea typeface="Calibri" panose="020F0502020204030204" pitchFamily="34" charset="0"/>
                <a:cs typeface="Times New Roman" panose="02020603050405020304" pitchFamily="18" charset="0"/>
              </a:rPr>
              <a:t> </a:t>
            </a:r>
            <a:endParaRPr lang="en-IE" sz="100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a:solidFill>
                  <a:srgbClr val="FFFFFF"/>
                </a:solidFill>
                <a:effectLst/>
                <a:ea typeface="Calibri" panose="020F0502020204030204" pitchFamily="34" charset="0"/>
                <a:cs typeface="Times New Roman" panose="02020603050405020304" pitchFamily="18" charset="0"/>
              </a:rPr>
              <a:t> </a:t>
            </a:r>
            <a:endParaRPr lang="en-IE" sz="100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a:solidFill>
                  <a:srgbClr val="FFFFFF"/>
                </a:solidFill>
                <a:effectLst/>
                <a:ea typeface="Calibri" panose="020F0502020204030204" pitchFamily="34" charset="0"/>
                <a:cs typeface="Times New Roman" panose="02020603050405020304" pitchFamily="18" charset="0"/>
              </a:rPr>
              <a:t> </a:t>
            </a:r>
            <a:endParaRPr lang="en-IE" sz="100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a:solidFill>
                  <a:srgbClr val="FFFFFF"/>
                </a:solidFill>
                <a:effectLst/>
                <a:ea typeface="Calibri" panose="020F0502020204030204" pitchFamily="34" charset="0"/>
                <a:cs typeface="Times New Roman" panose="02020603050405020304" pitchFamily="18" charset="0"/>
              </a:rPr>
              <a:t> </a:t>
            </a:r>
            <a:endParaRPr lang="en-IE" sz="100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a:solidFill>
                  <a:srgbClr val="FFFFFF"/>
                </a:solidFill>
                <a:effectLst/>
                <a:ea typeface="Calibri" panose="020F0502020204030204" pitchFamily="34" charset="0"/>
                <a:cs typeface="Times New Roman" panose="02020603050405020304" pitchFamily="18" charset="0"/>
              </a:rPr>
              <a:t> </a:t>
            </a:r>
            <a:endParaRPr lang="en-IE" sz="1000">
              <a:solidFill>
                <a:srgbClr val="7F7F7F"/>
              </a:solidFill>
              <a:effectLst/>
              <a:ea typeface="Calibri" panose="020F0502020204030204" pitchFamily="34" charset="0"/>
              <a:cs typeface="Times New Roman" panose="02020603050405020304" pitchFamily="18" charset="0"/>
            </a:endParaRPr>
          </a:p>
        </p:txBody>
      </p:sp>
      <p:pic>
        <p:nvPicPr>
          <p:cNvPr id="12" name="Picture 11" descr="Icon&#10;&#10;Description automatically generated">
            <a:extLst>
              <a:ext uri="{FF2B5EF4-FFF2-40B4-BE49-F238E27FC236}">
                <a16:creationId xmlns:a16="http://schemas.microsoft.com/office/drawing/2014/main" id="{44EA975A-0BA2-014C-B774-ACD0EF3B8935}"/>
              </a:ext>
            </a:extLst>
          </p:cNvPr>
          <p:cNvPicPr/>
          <p:nvPr userDrawn="1"/>
        </p:nvPicPr>
        <p:blipFill>
          <a:blip r:embed="rId2">
            <a:extLst>
              <a:ext uri="{28A0092B-C50C-407E-A947-70E740481C1C}">
                <a14:useLocalDpi xmlns:a14="http://schemas.microsoft.com/office/drawing/2010/main"/>
              </a:ext>
            </a:extLst>
          </a:blip>
          <a:srcRect l="-1240" t="12374" r="4352" b="40059"/>
          <a:stretch>
            <a:fillRect/>
          </a:stretch>
        </p:blipFill>
        <p:spPr>
          <a:xfrm>
            <a:off x="-1" y="2220684"/>
            <a:ext cx="7232073" cy="3266329"/>
          </a:xfrm>
          <a:prstGeom prst="rect">
            <a:avLst/>
          </a:prstGeom>
        </p:spPr>
      </p:pic>
      <p:pic>
        <p:nvPicPr>
          <p:cNvPr id="14" name="Picture 13" descr="Logo&#10;&#10;Description automatically generated">
            <a:extLst>
              <a:ext uri="{FF2B5EF4-FFF2-40B4-BE49-F238E27FC236}">
                <a16:creationId xmlns:a16="http://schemas.microsoft.com/office/drawing/2014/main" id="{0B8885B7-5648-6D4A-9693-F82DCAF3358B}"/>
              </a:ext>
            </a:extLst>
          </p:cNvPr>
          <p:cNvPicPr/>
          <p:nvPr userDrawn="1"/>
        </p:nvPicPr>
        <p:blipFill>
          <a:blip r:embed="rId3">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
        <p:nvSpPr>
          <p:cNvPr id="19" name="Rectangle 18">
            <a:extLst>
              <a:ext uri="{FF2B5EF4-FFF2-40B4-BE49-F238E27FC236}">
                <a16:creationId xmlns:a16="http://schemas.microsoft.com/office/drawing/2014/main" id="{39FC1785-CA5D-A14B-B8A2-69C6D4CD6485}"/>
              </a:ext>
            </a:extLst>
          </p:cNvPr>
          <p:cNvSpPr/>
          <p:nvPr userDrawn="1"/>
        </p:nvSpPr>
        <p:spPr>
          <a:xfrm>
            <a:off x="5241899" y="3051958"/>
            <a:ext cx="6576787" cy="281301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a:solidFill>
                  <a:srgbClr val="FFFFFF"/>
                </a:solidFill>
                <a:effectLst/>
                <a:ea typeface="Calibri" panose="020F0502020204030204" pitchFamily="34" charset="0"/>
                <a:cs typeface="Times New Roman" panose="02020603050405020304" pitchFamily="18" charset="0"/>
              </a:rPr>
              <a:t> </a:t>
            </a:r>
            <a:endParaRPr lang="en-IE" sz="100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a:solidFill>
                  <a:srgbClr val="FFFFFF"/>
                </a:solidFill>
                <a:effectLst/>
                <a:ea typeface="Calibri" panose="020F0502020204030204" pitchFamily="34" charset="0"/>
                <a:cs typeface="Times New Roman" panose="02020603050405020304" pitchFamily="18" charset="0"/>
              </a:rPr>
              <a:t> </a:t>
            </a:r>
            <a:endParaRPr lang="en-IE" sz="100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a:solidFill>
                  <a:srgbClr val="FFFFFF"/>
                </a:solidFill>
                <a:effectLst/>
                <a:ea typeface="Calibri" panose="020F0502020204030204" pitchFamily="34" charset="0"/>
                <a:cs typeface="Times New Roman" panose="02020603050405020304" pitchFamily="18" charset="0"/>
              </a:rPr>
              <a:t> </a:t>
            </a:r>
            <a:endParaRPr lang="en-IE" sz="100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a:solidFill>
                  <a:srgbClr val="FFFFFF"/>
                </a:solidFill>
                <a:effectLst/>
                <a:ea typeface="Calibri" panose="020F0502020204030204" pitchFamily="34" charset="0"/>
                <a:cs typeface="Times New Roman" panose="02020603050405020304" pitchFamily="18" charset="0"/>
              </a:rPr>
              <a:t> </a:t>
            </a:r>
            <a:endParaRPr lang="en-IE" sz="100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a:solidFill>
                  <a:srgbClr val="FFFFFF"/>
                </a:solidFill>
                <a:effectLst/>
                <a:ea typeface="Calibri" panose="020F0502020204030204" pitchFamily="34" charset="0"/>
                <a:cs typeface="Times New Roman" panose="02020603050405020304" pitchFamily="18" charset="0"/>
              </a:rPr>
              <a:t> </a:t>
            </a:r>
            <a:endParaRPr lang="en-IE" sz="100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a:solidFill>
                  <a:srgbClr val="FFFFFF"/>
                </a:solidFill>
                <a:effectLst/>
                <a:ea typeface="Calibri" panose="020F0502020204030204" pitchFamily="34" charset="0"/>
                <a:cs typeface="Times New Roman" panose="02020603050405020304" pitchFamily="18" charset="0"/>
              </a:rPr>
              <a:t> </a:t>
            </a:r>
            <a:endParaRPr lang="en-IE" sz="1000">
              <a:solidFill>
                <a:srgbClr val="7F7F7F"/>
              </a:solidFill>
              <a:effectLst/>
              <a:ea typeface="Calibri" panose="020F0502020204030204" pitchFamily="34" charset="0"/>
              <a:cs typeface="Times New Roman" panose="02020603050405020304" pitchFamily="18" charset="0"/>
            </a:endParaRPr>
          </a:p>
        </p:txBody>
      </p:sp>
      <p:sp>
        <p:nvSpPr>
          <p:cNvPr id="20" name="Text Placeholder 23">
            <a:extLst>
              <a:ext uri="{FF2B5EF4-FFF2-40B4-BE49-F238E27FC236}">
                <a16:creationId xmlns:a16="http://schemas.microsoft.com/office/drawing/2014/main" id="{E13282FF-87C4-A745-8927-12E55E48A750}"/>
              </a:ext>
            </a:extLst>
          </p:cNvPr>
          <p:cNvSpPr>
            <a:spLocks noGrp="1"/>
          </p:cNvSpPr>
          <p:nvPr>
            <p:ph type="body" sz="quarter" idx="15" hasCustomPrompt="1"/>
          </p:nvPr>
        </p:nvSpPr>
        <p:spPr>
          <a:xfrm>
            <a:off x="5885208" y="4514100"/>
            <a:ext cx="5278651" cy="697353"/>
          </a:xfrm>
        </p:spPr>
        <p:txBody>
          <a:bodyPr anchor="b">
            <a:noAutofit/>
          </a:bodyPr>
          <a:lstStyle>
            <a:lvl1pPr marL="0" indent="0" algn="l">
              <a:buNone/>
              <a:defRPr sz="5400" b="1" baseline="0">
                <a:solidFill>
                  <a:schemeClr val="bg1"/>
                </a:solidFill>
                <a:latin typeface="+mn-lt"/>
              </a:defRPr>
            </a:lvl1pPr>
          </a:lstStyle>
          <a:p>
            <a:pPr lvl="0"/>
            <a:r>
              <a:rPr lang="en-US"/>
              <a:t>POWERPIONT</a:t>
            </a:r>
          </a:p>
        </p:txBody>
      </p:sp>
      <p:sp>
        <p:nvSpPr>
          <p:cNvPr id="21" name="Text Placeholder 23">
            <a:extLst>
              <a:ext uri="{FF2B5EF4-FFF2-40B4-BE49-F238E27FC236}">
                <a16:creationId xmlns:a16="http://schemas.microsoft.com/office/drawing/2014/main" id="{E1EB4311-DD04-DA47-804C-802E7610AAC2}"/>
              </a:ext>
            </a:extLst>
          </p:cNvPr>
          <p:cNvSpPr>
            <a:spLocks noGrp="1"/>
          </p:cNvSpPr>
          <p:nvPr>
            <p:ph type="body" sz="quarter" idx="16" hasCustomPrompt="1"/>
          </p:nvPr>
        </p:nvSpPr>
        <p:spPr>
          <a:xfrm>
            <a:off x="5885209" y="3494706"/>
            <a:ext cx="5278651" cy="697353"/>
          </a:xfrm>
        </p:spPr>
        <p:txBody>
          <a:bodyPr anchor="b">
            <a:normAutofit/>
          </a:bodyPr>
          <a:lstStyle>
            <a:lvl1pPr marL="0" indent="0" algn="l">
              <a:buNone/>
              <a:defRPr sz="3600" b="0" i="0">
                <a:solidFill>
                  <a:schemeClr val="bg1"/>
                </a:solidFill>
                <a:latin typeface="+mn-lt"/>
              </a:defRPr>
            </a:lvl1pPr>
          </a:lstStyle>
          <a:p>
            <a:pPr lvl="0"/>
            <a:r>
              <a:rPr lang="en-US"/>
              <a:t>Cover Design 1</a:t>
            </a:r>
          </a:p>
        </p:txBody>
      </p:sp>
      <p:grpSp>
        <p:nvGrpSpPr>
          <p:cNvPr id="23" name="Group 22">
            <a:extLst>
              <a:ext uri="{FF2B5EF4-FFF2-40B4-BE49-F238E27FC236}">
                <a16:creationId xmlns:a16="http://schemas.microsoft.com/office/drawing/2014/main" id="{27A6C471-9B84-9F43-9569-9F24F514FA76}"/>
              </a:ext>
            </a:extLst>
          </p:cNvPr>
          <p:cNvGrpSpPr/>
          <p:nvPr userDrawn="1"/>
        </p:nvGrpSpPr>
        <p:grpSpPr>
          <a:xfrm>
            <a:off x="373314" y="5864969"/>
            <a:ext cx="2735993" cy="679345"/>
            <a:chOff x="0" y="0"/>
            <a:chExt cx="2301694" cy="571500"/>
          </a:xfrm>
        </p:grpSpPr>
        <p:sp>
          <p:nvSpPr>
            <p:cNvPr id="28" name="Rectangle 27">
              <a:extLst>
                <a:ext uri="{FF2B5EF4-FFF2-40B4-BE49-F238E27FC236}">
                  <a16:creationId xmlns:a16="http://schemas.microsoft.com/office/drawing/2014/main" id="{1B5DF232-1F83-4549-9F3A-AFD75E213BA8}"/>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9" name="Picture 28">
              <a:extLst>
                <a:ext uri="{FF2B5EF4-FFF2-40B4-BE49-F238E27FC236}">
                  <a16:creationId xmlns:a16="http://schemas.microsoft.com/office/drawing/2014/main" id="{445249D6-6645-264F-B9B9-5CF884A5A664}"/>
                </a:ext>
              </a:extLst>
            </p:cNvPr>
            <p:cNvPicPr>
              <a:picLocks noChangeAspect="1"/>
            </p:cNvPicPr>
            <p:nvPr/>
          </p:nvPicPr>
          <p:blipFill>
            <a:blip r:embed="rId4">
              <a:extLst>
                <a:ext uri="{28A0092B-C50C-407E-A947-70E740481C1C}">
                  <a14:useLocalDpi xmlns:a14="http://schemas.microsoft.com/office/drawing/2010/main"/>
                </a:ext>
              </a:extLst>
            </a:blip>
            <a:srcRect r="44449"/>
            <a:stretch>
              <a:fillRect/>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4220865040"/>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 point icon graph A">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3184089" y="1773769"/>
            <a:ext cx="1521426" cy="2214649"/>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u="none" strike="noStrike" kern="120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3227188" y="1815204"/>
            <a:ext cx="1433560" cy="1433557"/>
          </a:xfrm>
          <a:custGeom>
            <a:avLst/>
            <a:gdLst/>
            <a:ahLst/>
            <a:cxnLst>
              <a:cxn ang="3cd4">
                <a:pos x="hc" y="t"/>
              </a:cxn>
              <a:cxn ang="cd2">
                <a:pos x="l" y="vc"/>
              </a:cxn>
              <a:cxn ang="cd4">
                <a:pos x="hc" y="b"/>
              </a:cxn>
              <a:cxn ang="0">
                <a:pos x="r" y="vc"/>
              </a:cxn>
            </a:cxnLst>
            <a:rect l="l" t="t" r="r" b="b"/>
            <a:pathLst>
              <a:path w="472" h="472">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u="none" strike="noStrike" kern="120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48401" y="1773769"/>
            <a:ext cx="1519759" cy="2214649"/>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u="none" strike="noStrike" kern="120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89834" y="1815204"/>
            <a:ext cx="1433560" cy="1433557"/>
          </a:xfrm>
          <a:custGeom>
            <a:avLst/>
            <a:gdLst/>
            <a:ahLst/>
            <a:cxnLst>
              <a:cxn ang="3cd4">
                <a:pos x="hc" y="t"/>
              </a:cxn>
              <a:cxn ang="cd2">
                <a:pos x="l" y="vc"/>
              </a:cxn>
              <a:cxn ang="cd4">
                <a:pos x="hc" y="b"/>
              </a:cxn>
              <a:cxn ang="0">
                <a:pos x="r" y="vc"/>
              </a:cxn>
            </a:cxnLst>
            <a:rect l="l" t="t" r="r" b="b"/>
            <a:pathLst>
              <a:path w="472" h="472">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u="none" strike="noStrike" kern="1200">
              <a:ln>
                <a:noFill/>
              </a:ln>
              <a:latin typeface="Lato Regular" charset="0"/>
              <a:ea typeface="Arial Unicode MS" pitchFamily="2"/>
              <a:cs typeface="Arial Unicode MS" pitchFamily="2"/>
            </a:endParaRPr>
          </a:p>
        </p:txBody>
      </p:sp>
      <p:sp>
        <p:nvSpPr>
          <p:cNvPr id="8" name="Freeform: Shape 4231">
            <a:extLst>
              <a:ext uri="{FF2B5EF4-FFF2-40B4-BE49-F238E27FC236}">
                <a16:creationId xmlns:a16="http://schemas.microsoft.com/office/drawing/2014/main" id="{9605CC6B-4A3F-524F-A45E-78BB72858F56}"/>
              </a:ext>
            </a:extLst>
          </p:cNvPr>
          <p:cNvSpPr/>
          <p:nvPr userDrawn="1"/>
        </p:nvSpPr>
        <p:spPr>
          <a:xfrm>
            <a:off x="1019776" y="1773769"/>
            <a:ext cx="1521426" cy="2214649"/>
          </a:xfrm>
          <a:custGeom>
            <a:avLst/>
            <a:gdLst/>
            <a:ahLst/>
            <a:cxnLst>
              <a:cxn ang="3cd4">
                <a:pos x="hc" y="t"/>
              </a:cxn>
              <a:cxn ang="cd2">
                <a:pos x="l" y="vc"/>
              </a:cxn>
              <a:cxn ang="cd4">
                <a:pos x="hc" y="b"/>
              </a:cxn>
              <a:cxn ang="0">
                <a:pos x="r" y="vc"/>
              </a:cxn>
            </a:cxnLst>
            <a:rect l="l" t="t" r="r" b="b"/>
            <a:pathLst>
              <a:path w="914" h="1330">
                <a:moveTo>
                  <a:pt x="458" y="219"/>
                </a:moveTo>
                <a:cubicBezTo>
                  <a:pt x="327" y="219"/>
                  <a:pt x="222" y="325"/>
                  <a:pt x="222" y="455"/>
                </a:cubicBezTo>
                <a:cubicBezTo>
                  <a:pt x="222" y="587"/>
                  <a:pt x="327" y="692"/>
                  <a:pt x="458" y="692"/>
                </a:cubicBezTo>
                <a:cubicBezTo>
                  <a:pt x="587" y="692"/>
                  <a:pt x="694" y="587"/>
                  <a:pt x="694" y="455"/>
                </a:cubicBezTo>
                <a:cubicBezTo>
                  <a:pt x="694" y="325"/>
                  <a:pt x="587" y="219"/>
                  <a:pt x="458" y="219"/>
                </a:cubicBezTo>
                <a:close/>
                <a:moveTo>
                  <a:pt x="458" y="0"/>
                </a:moveTo>
                <a:cubicBezTo>
                  <a:pt x="710" y="0"/>
                  <a:pt x="914" y="203"/>
                  <a:pt x="914" y="455"/>
                </a:cubicBezTo>
                <a:cubicBezTo>
                  <a:pt x="914" y="705"/>
                  <a:pt x="714" y="907"/>
                  <a:pt x="466" y="913"/>
                </a:cubicBezTo>
                <a:lnTo>
                  <a:pt x="466" y="1276"/>
                </a:lnTo>
                <a:cubicBezTo>
                  <a:pt x="476" y="1280"/>
                  <a:pt x="485" y="1289"/>
                  <a:pt x="485" y="1303"/>
                </a:cubicBezTo>
                <a:cubicBezTo>
                  <a:pt x="485" y="1316"/>
                  <a:pt x="473" y="1330"/>
                  <a:pt x="458" y="1330"/>
                </a:cubicBezTo>
                <a:cubicBezTo>
                  <a:pt x="441" y="1330"/>
                  <a:pt x="429" y="1316"/>
                  <a:pt x="429" y="1303"/>
                </a:cubicBezTo>
                <a:cubicBezTo>
                  <a:pt x="429" y="1289"/>
                  <a:pt x="438" y="1280"/>
                  <a:pt x="448" y="1276"/>
                </a:cubicBezTo>
                <a:lnTo>
                  <a:pt x="448" y="913"/>
                </a:lnTo>
                <a:cubicBezTo>
                  <a:pt x="200" y="907"/>
                  <a:pt x="0" y="705"/>
                  <a:pt x="0" y="455"/>
                </a:cubicBezTo>
                <a:cubicBezTo>
                  <a:pt x="0" y="203"/>
                  <a:pt x="206" y="0"/>
                  <a:pt x="458"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u="none" strike="noStrike" kern="1200">
              <a:ln>
                <a:noFill/>
              </a:ln>
              <a:latin typeface="Lato Regular" charset="0"/>
              <a:ea typeface="Arial Unicode MS" pitchFamily="2"/>
              <a:cs typeface="Arial Unicode MS" pitchFamily="2"/>
            </a:endParaRPr>
          </a:p>
        </p:txBody>
      </p:sp>
      <p:sp>
        <p:nvSpPr>
          <p:cNvPr id="9" name="Freeform: Shape 4236">
            <a:extLst>
              <a:ext uri="{FF2B5EF4-FFF2-40B4-BE49-F238E27FC236}">
                <a16:creationId xmlns:a16="http://schemas.microsoft.com/office/drawing/2014/main" id="{F05D8F79-BD65-8347-867D-58A890D1083E}"/>
              </a:ext>
            </a:extLst>
          </p:cNvPr>
          <p:cNvSpPr/>
          <p:nvPr userDrawn="1"/>
        </p:nvSpPr>
        <p:spPr>
          <a:xfrm>
            <a:off x="1066895" y="1815204"/>
            <a:ext cx="1430522" cy="1433557"/>
          </a:xfrm>
          <a:custGeom>
            <a:avLst/>
            <a:gdLst/>
            <a:ahLst/>
            <a:cxnLst>
              <a:cxn ang="3cd4">
                <a:pos x="hc" y="t"/>
              </a:cxn>
              <a:cxn ang="cd2">
                <a:pos x="l" y="vc"/>
              </a:cxn>
              <a:cxn ang="cd4">
                <a:pos x="hc" y="b"/>
              </a:cxn>
              <a:cxn ang="0">
                <a:pos x="r" y="vc"/>
              </a:cxn>
            </a:cxnLst>
            <a:rect l="l" t="t" r="r" b="b"/>
            <a:pathLst>
              <a:path w="472" h="472">
                <a:moveTo>
                  <a:pt x="236" y="0"/>
                </a:moveTo>
                <a:cubicBezTo>
                  <a:pt x="105" y="0"/>
                  <a:pt x="0" y="106"/>
                  <a:pt x="0" y="236"/>
                </a:cubicBezTo>
                <a:cubicBezTo>
                  <a:pt x="0" y="368"/>
                  <a:pt x="105" y="473"/>
                  <a:pt x="236" y="473"/>
                </a:cubicBezTo>
                <a:cubicBezTo>
                  <a:pt x="365" y="473"/>
                  <a:pt x="472" y="368"/>
                  <a:pt x="472" y="236"/>
                </a:cubicBezTo>
                <a:cubicBezTo>
                  <a:pt x="472" y="106"/>
                  <a:pt x="365"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u="none" strike="noStrike" kern="1200">
              <a:ln>
                <a:noFill/>
              </a:ln>
              <a:latin typeface="Lato Regular" charset="0"/>
              <a:ea typeface="Arial Unicode MS" pitchFamily="2"/>
              <a:cs typeface="Arial Unicode MS" pitchFamily="2"/>
            </a:endParaRPr>
          </a:p>
        </p:txBody>
      </p:sp>
      <p:sp>
        <p:nvSpPr>
          <p:cNvPr id="10" name="Freeform: Shape 4235">
            <a:extLst>
              <a:ext uri="{FF2B5EF4-FFF2-40B4-BE49-F238E27FC236}">
                <a16:creationId xmlns:a16="http://schemas.microsoft.com/office/drawing/2014/main" id="{2F2F1A50-32F6-E84E-B2A8-E09466C954B2}"/>
              </a:ext>
            </a:extLst>
          </p:cNvPr>
          <p:cNvSpPr/>
          <p:nvPr userDrawn="1"/>
        </p:nvSpPr>
        <p:spPr>
          <a:xfrm>
            <a:off x="9675359" y="1773769"/>
            <a:ext cx="1518092" cy="2214649"/>
          </a:xfrm>
          <a:custGeom>
            <a:avLst/>
            <a:gdLst/>
            <a:ahLst/>
            <a:cxnLst>
              <a:cxn ang="3cd4">
                <a:pos x="hc" y="t"/>
              </a:cxn>
              <a:cxn ang="cd2">
                <a:pos x="l" y="vc"/>
              </a:cxn>
              <a:cxn ang="cd4">
                <a:pos x="hc" y="b"/>
              </a:cxn>
              <a:cxn ang="0">
                <a:pos x="r" y="vc"/>
              </a:cxn>
            </a:cxnLst>
            <a:rect l="l" t="t" r="r" b="b"/>
            <a:pathLst>
              <a:path w="912" h="1330">
                <a:moveTo>
                  <a:pt x="455" y="219"/>
                </a:moveTo>
                <a:cubicBezTo>
                  <a:pt x="326" y="219"/>
                  <a:pt x="219" y="325"/>
                  <a:pt x="219" y="455"/>
                </a:cubicBezTo>
                <a:cubicBezTo>
                  <a:pt x="219" y="587"/>
                  <a:pt x="326" y="692"/>
                  <a:pt x="455" y="692"/>
                </a:cubicBezTo>
                <a:cubicBezTo>
                  <a:pt x="586" y="692"/>
                  <a:pt x="692" y="587"/>
                  <a:pt x="692" y="455"/>
                </a:cubicBezTo>
                <a:cubicBezTo>
                  <a:pt x="692" y="325"/>
                  <a:pt x="586" y="219"/>
                  <a:pt x="455" y="219"/>
                </a:cubicBezTo>
                <a:close/>
                <a:moveTo>
                  <a:pt x="455" y="0"/>
                </a:moveTo>
                <a:cubicBezTo>
                  <a:pt x="708" y="0"/>
                  <a:pt x="912" y="203"/>
                  <a:pt x="912" y="455"/>
                </a:cubicBezTo>
                <a:cubicBezTo>
                  <a:pt x="912" y="705"/>
                  <a:pt x="713" y="907"/>
                  <a:pt x="465" y="913"/>
                </a:cubicBezTo>
                <a:lnTo>
                  <a:pt x="465" y="1276"/>
                </a:lnTo>
                <a:cubicBezTo>
                  <a:pt x="476" y="1280"/>
                  <a:pt x="483" y="1289"/>
                  <a:pt x="483" y="1303"/>
                </a:cubicBezTo>
                <a:cubicBezTo>
                  <a:pt x="483" y="1316"/>
                  <a:pt x="471" y="1330"/>
                  <a:pt x="455" y="1330"/>
                </a:cubicBezTo>
                <a:cubicBezTo>
                  <a:pt x="441" y="1330"/>
                  <a:pt x="428" y="1316"/>
                  <a:pt x="428" y="1303"/>
                </a:cubicBezTo>
                <a:cubicBezTo>
                  <a:pt x="428" y="1289"/>
                  <a:pt x="436" y="1280"/>
                  <a:pt x="447" y="1276"/>
                </a:cubicBezTo>
                <a:lnTo>
                  <a:pt x="447"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u="none" strike="noStrike" kern="120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7511047" y="1773769"/>
            <a:ext cx="1521426" cy="2214649"/>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u="none" strike="noStrike" kern="120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7558165" y="1815204"/>
            <a:ext cx="1430522" cy="1433557"/>
          </a:xfrm>
          <a:custGeom>
            <a:avLst/>
            <a:gdLst/>
            <a:ahLst/>
            <a:cxnLst>
              <a:cxn ang="3cd4">
                <a:pos x="hc" y="t"/>
              </a:cxn>
              <a:cxn ang="cd2">
                <a:pos x="l" y="vc"/>
              </a:cxn>
              <a:cxn ang="cd4">
                <a:pos x="hc" y="b"/>
              </a:cxn>
              <a:cxn ang="0">
                <a:pos x="r" y="vc"/>
              </a:cxn>
            </a:cxnLst>
            <a:rect l="l" t="t" r="r" b="b"/>
            <a:pathLst>
              <a:path w="472" h="472">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u="none" strike="noStrike" kern="1200">
              <a:ln>
                <a:noFill/>
              </a:ln>
              <a:latin typeface="Lato Regular" charset="0"/>
              <a:ea typeface="Arial Unicode MS" pitchFamily="2"/>
              <a:cs typeface="Arial Unicode MS" pitchFamily="2"/>
            </a:endParaRP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748973" y="4385889"/>
            <a:ext cx="2061046" cy="335052"/>
          </a:xfrm>
        </p:spPr>
        <p:txBody>
          <a:bodyPr/>
          <a:lstStyle>
            <a:lvl1pPr algn="ctr">
              <a:buNone/>
              <a:defRPr sz="20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Title One</a:t>
            </a:r>
            <a:endParaRPr lang="en-US"/>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14986" y="4379639"/>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Title One</a:t>
            </a:r>
            <a:endParaRPr lang="en-US"/>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71185"/>
            <a:ext cx="2061046" cy="335052"/>
          </a:xfrm>
        </p:spPr>
        <p:txBody>
          <a:bodyPr/>
          <a:lstStyle>
            <a:lvl1pPr algn="ctr">
              <a:buNone/>
              <a:defRPr sz="20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Title One</a:t>
            </a:r>
            <a:endParaRPr lang="en-US"/>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44746" y="4364935"/>
            <a:ext cx="2061046" cy="335052"/>
          </a:xfrm>
        </p:spPr>
        <p:txBody>
          <a:bodyPr/>
          <a:lstStyle>
            <a:lvl1pPr algn="ctr">
              <a:buNone/>
              <a:defRPr sz="20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Title One</a:t>
            </a:r>
            <a:endParaRPr lang="en-US"/>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9324" y="4353360"/>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Title One</a:t>
            </a:r>
            <a:endParaRPr lang="en-US"/>
          </a:p>
        </p:txBody>
      </p:sp>
      <p:sp>
        <p:nvSpPr>
          <p:cNvPr id="30" name="Freeform: Shape 4239">
            <a:extLst>
              <a:ext uri="{FF2B5EF4-FFF2-40B4-BE49-F238E27FC236}">
                <a16:creationId xmlns:a16="http://schemas.microsoft.com/office/drawing/2014/main" id="{E253BA23-B768-C040-9224-2910F7AB1B7E}"/>
              </a:ext>
            </a:extLst>
          </p:cNvPr>
          <p:cNvSpPr/>
          <p:nvPr userDrawn="1"/>
        </p:nvSpPr>
        <p:spPr>
          <a:xfrm>
            <a:off x="9714586" y="1815204"/>
            <a:ext cx="1430522" cy="1433557"/>
          </a:xfrm>
          <a:custGeom>
            <a:avLst/>
            <a:gdLst/>
            <a:ahLst/>
            <a:cxnLst>
              <a:cxn ang="3cd4">
                <a:pos x="hc" y="t"/>
              </a:cxn>
              <a:cxn ang="cd2">
                <a:pos x="l" y="vc"/>
              </a:cxn>
              <a:cxn ang="cd4">
                <a:pos x="hc" y="b"/>
              </a:cxn>
              <a:cxn ang="0">
                <a:pos x="r" y="vc"/>
              </a:cxn>
            </a:cxnLst>
            <a:rect l="l" t="t" r="r" b="b"/>
            <a:pathLst>
              <a:path w="472" h="472">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u="none" strike="noStrike" kern="1200">
              <a:ln>
                <a:noFill/>
              </a:ln>
              <a:latin typeface="Lato Regular" charset="0"/>
              <a:ea typeface="Arial Unicode MS" pitchFamily="2"/>
              <a:cs typeface="Arial Unicode MS" pitchFamily="2"/>
            </a:endParaRPr>
          </a:p>
        </p:txBody>
      </p:sp>
      <p:sp>
        <p:nvSpPr>
          <p:cNvPr id="29" name="Text Placeholder 23">
            <a:extLst>
              <a:ext uri="{FF2B5EF4-FFF2-40B4-BE49-F238E27FC236}">
                <a16:creationId xmlns:a16="http://schemas.microsoft.com/office/drawing/2014/main" id="{98F821B7-EAB6-F546-8E25-040E6E2F35CD}"/>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a:t>Heading</a:t>
            </a:r>
          </a:p>
        </p:txBody>
      </p:sp>
      <p:sp>
        <p:nvSpPr>
          <p:cNvPr id="22" name="Rectangle 21">
            <a:extLst>
              <a:ext uri="{FF2B5EF4-FFF2-40B4-BE49-F238E27FC236}">
                <a16:creationId xmlns:a16="http://schemas.microsoft.com/office/drawing/2014/main" id="{E9277041-16FF-1645-9F78-F052CB91047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4D50401-CB0B-084A-8450-D4B23F577B4B}"/>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317595" y="6342038"/>
            <a:ext cx="1300365" cy="144173"/>
          </a:xfrm>
          <a:prstGeom prst="rect">
            <a:avLst/>
          </a:prstGeom>
        </p:spPr>
      </p:pic>
    </p:spTree>
    <p:extLst>
      <p:ext uri="{BB962C8B-B14F-4D97-AF65-F5344CB8AC3E}">
        <p14:creationId xmlns:p14="http://schemas.microsoft.com/office/powerpoint/2010/main" val="3791680477"/>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point icon Graph B">
    <p:spTree>
      <p:nvGrpSpPr>
        <p:cNvPr id="1" name=""/>
        <p:cNvGrpSpPr/>
        <p:nvPr/>
      </p:nvGrpSpPr>
      <p:grpSpPr>
        <a:xfrm>
          <a:off x="0" y="0"/>
          <a:ext cx="0" cy="0"/>
          <a:chOff x="0" y="0"/>
          <a:chExt cx="0" cy="0"/>
        </a:xfrm>
      </p:grpSpPr>
      <p:sp>
        <p:nvSpPr>
          <p:cNvPr id="26" name="Freeform 175">
            <a:extLst>
              <a:ext uri="{FF2B5EF4-FFF2-40B4-BE49-F238E27FC236}">
                <a16:creationId xmlns:a16="http://schemas.microsoft.com/office/drawing/2014/main" id="{8C0B3D42-2317-6946-847C-DF2D8C708228}"/>
              </a:ext>
            </a:extLst>
          </p:cNvPr>
          <p:cNvSpPr>
            <a:spLocks noChangeArrowheads="1"/>
          </p:cNvSpPr>
          <p:nvPr userDrawn="1"/>
        </p:nvSpPr>
        <p:spPr bwMode="auto">
          <a:xfrm>
            <a:off x="832077" y="3024269"/>
            <a:ext cx="1921262" cy="2081780"/>
          </a:xfrm>
          <a:custGeom>
            <a:avLst/>
            <a:gdLst>
              <a:gd name="T0" fmla="*/ 3123 w 3430"/>
              <a:gd name="T1" fmla="*/ 642 h 3719"/>
              <a:gd name="T2" fmla="*/ 3123 w 3430"/>
              <a:gd name="T3" fmla="*/ 642 h 3719"/>
              <a:gd name="T4" fmla="*/ 2090 w 3430"/>
              <a:gd name="T5" fmla="*/ 642 h 3719"/>
              <a:gd name="T6" fmla="*/ 1715 w 3430"/>
              <a:gd name="T7" fmla="*/ 0 h 3719"/>
              <a:gd name="T8" fmla="*/ 1347 w 3430"/>
              <a:gd name="T9" fmla="*/ 642 h 3719"/>
              <a:gd name="T10" fmla="*/ 307 w 3430"/>
              <a:gd name="T11" fmla="*/ 642 h 3719"/>
              <a:gd name="T12" fmla="*/ 0 w 3430"/>
              <a:gd name="T13" fmla="*/ 948 h 3719"/>
              <a:gd name="T14" fmla="*/ 0 w 3430"/>
              <a:gd name="T15" fmla="*/ 3420 h 3719"/>
              <a:gd name="T16" fmla="*/ 307 w 3430"/>
              <a:gd name="T17" fmla="*/ 3718 h 3719"/>
              <a:gd name="T18" fmla="*/ 3123 w 3430"/>
              <a:gd name="T19" fmla="*/ 3718 h 3719"/>
              <a:gd name="T20" fmla="*/ 3429 w 3430"/>
              <a:gd name="T21" fmla="*/ 3420 h 3719"/>
              <a:gd name="T22" fmla="*/ 3429 w 3430"/>
              <a:gd name="T23" fmla="*/ 948 h 3719"/>
              <a:gd name="T24" fmla="*/ 3123 w 3430"/>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3" y="642"/>
                </a:moveTo>
                <a:lnTo>
                  <a:pt x="3123" y="642"/>
                </a:lnTo>
                <a:cubicBezTo>
                  <a:pt x="2090" y="642"/>
                  <a:pt x="2090" y="642"/>
                  <a:pt x="2090" y="642"/>
                </a:cubicBezTo>
                <a:cubicBezTo>
                  <a:pt x="1715" y="0"/>
                  <a:pt x="1715" y="0"/>
                  <a:pt x="1715" y="0"/>
                </a:cubicBezTo>
                <a:cubicBezTo>
                  <a:pt x="1347" y="642"/>
                  <a:pt x="1347" y="642"/>
                  <a:pt x="1347" y="642"/>
                </a:cubicBezTo>
                <a:cubicBezTo>
                  <a:pt x="307" y="642"/>
                  <a:pt x="307" y="642"/>
                  <a:pt x="307" y="642"/>
                </a:cubicBezTo>
                <a:cubicBezTo>
                  <a:pt x="138" y="642"/>
                  <a:pt x="0" y="780"/>
                  <a:pt x="0" y="948"/>
                </a:cubicBezTo>
                <a:cubicBezTo>
                  <a:pt x="0" y="3420"/>
                  <a:pt x="0" y="3420"/>
                  <a:pt x="0" y="3420"/>
                </a:cubicBezTo>
                <a:cubicBezTo>
                  <a:pt x="0" y="3588"/>
                  <a:pt x="138" y="3718"/>
                  <a:pt x="307" y="3718"/>
                </a:cubicBezTo>
                <a:cubicBezTo>
                  <a:pt x="3123" y="3718"/>
                  <a:pt x="3123" y="3718"/>
                  <a:pt x="3123" y="3718"/>
                </a:cubicBezTo>
                <a:cubicBezTo>
                  <a:pt x="3291" y="3718"/>
                  <a:pt x="3429" y="3588"/>
                  <a:pt x="3429" y="3420"/>
                </a:cubicBezTo>
                <a:cubicBezTo>
                  <a:pt x="3429" y="948"/>
                  <a:pt x="3429" y="948"/>
                  <a:pt x="3429" y="948"/>
                </a:cubicBezTo>
                <a:cubicBezTo>
                  <a:pt x="3429" y="780"/>
                  <a:pt x="3291" y="642"/>
                  <a:pt x="3123" y="642"/>
                </a:cubicBezTo>
              </a:path>
            </a:pathLst>
          </a:custGeom>
          <a:solidFill>
            <a:srgbClr val="7F1C58"/>
          </a:solidFill>
          <a:ln w="9525" cap="flat">
            <a:noFill/>
            <a:bevel/>
          </a:ln>
          <a:effectLst/>
        </p:spPr>
        <p:txBody>
          <a:bodyPr wrap="none" anchor="ctr"/>
          <a:lstStyle/>
          <a:p>
            <a:endParaRPr lang="en-US"/>
          </a:p>
        </p:txBody>
      </p:sp>
      <p:sp>
        <p:nvSpPr>
          <p:cNvPr id="27" name="Freeform 176">
            <a:extLst>
              <a:ext uri="{FF2B5EF4-FFF2-40B4-BE49-F238E27FC236}">
                <a16:creationId xmlns:a16="http://schemas.microsoft.com/office/drawing/2014/main" id="{40053DCA-CDEC-8B4D-B8F3-C1EF890EF020}"/>
              </a:ext>
            </a:extLst>
          </p:cNvPr>
          <p:cNvSpPr>
            <a:spLocks noChangeArrowheads="1"/>
          </p:cNvSpPr>
          <p:nvPr userDrawn="1"/>
        </p:nvSpPr>
        <p:spPr bwMode="auto">
          <a:xfrm>
            <a:off x="2970654" y="3024269"/>
            <a:ext cx="1916323" cy="2081780"/>
          </a:xfrm>
          <a:custGeom>
            <a:avLst/>
            <a:gdLst>
              <a:gd name="T0" fmla="*/ 3122 w 3421"/>
              <a:gd name="T1" fmla="*/ 642 h 3719"/>
              <a:gd name="T2" fmla="*/ 3122 w 3421"/>
              <a:gd name="T3" fmla="*/ 642 h 3719"/>
              <a:gd name="T4" fmla="*/ 2089 w 3421"/>
              <a:gd name="T5" fmla="*/ 642 h 3719"/>
              <a:gd name="T6" fmla="*/ 1722 w 3421"/>
              <a:gd name="T7" fmla="*/ 0 h 3719"/>
              <a:gd name="T8" fmla="*/ 1347 w 3421"/>
              <a:gd name="T9" fmla="*/ 642 h 3719"/>
              <a:gd name="T10" fmla="*/ 306 w 3421"/>
              <a:gd name="T11" fmla="*/ 642 h 3719"/>
              <a:gd name="T12" fmla="*/ 0 w 3421"/>
              <a:gd name="T13" fmla="*/ 948 h 3719"/>
              <a:gd name="T14" fmla="*/ 0 w 3421"/>
              <a:gd name="T15" fmla="*/ 3420 h 3719"/>
              <a:gd name="T16" fmla="*/ 306 w 3421"/>
              <a:gd name="T17" fmla="*/ 3718 h 3719"/>
              <a:gd name="T18" fmla="*/ 3122 w 3421"/>
              <a:gd name="T19" fmla="*/ 3718 h 3719"/>
              <a:gd name="T20" fmla="*/ 3420 w 3421"/>
              <a:gd name="T21" fmla="*/ 3420 h 3719"/>
              <a:gd name="T22" fmla="*/ 3420 w 3421"/>
              <a:gd name="T23" fmla="*/ 948 h 3719"/>
              <a:gd name="T24" fmla="*/ 3122 w 3421"/>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1" h="3719">
                <a:moveTo>
                  <a:pt x="3122" y="642"/>
                </a:moveTo>
                <a:lnTo>
                  <a:pt x="3122" y="642"/>
                </a:lnTo>
                <a:cubicBezTo>
                  <a:pt x="2089" y="642"/>
                  <a:pt x="2089" y="642"/>
                  <a:pt x="2089" y="642"/>
                </a:cubicBezTo>
                <a:cubicBezTo>
                  <a:pt x="1722" y="0"/>
                  <a:pt x="1722" y="0"/>
                  <a:pt x="1722" y="0"/>
                </a:cubicBezTo>
                <a:cubicBezTo>
                  <a:pt x="1347" y="642"/>
                  <a:pt x="1347" y="642"/>
                  <a:pt x="134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0" y="3718"/>
                  <a:pt x="3420" y="3588"/>
                  <a:pt x="3420" y="3420"/>
                </a:cubicBezTo>
                <a:cubicBezTo>
                  <a:pt x="3420" y="948"/>
                  <a:pt x="3420" y="948"/>
                  <a:pt x="3420" y="948"/>
                </a:cubicBezTo>
                <a:cubicBezTo>
                  <a:pt x="3420" y="780"/>
                  <a:pt x="3290" y="642"/>
                  <a:pt x="3122" y="642"/>
                </a:cubicBezTo>
              </a:path>
            </a:pathLst>
          </a:custGeom>
          <a:solidFill>
            <a:srgbClr val="B41F7A"/>
          </a:solidFill>
          <a:ln w="9525" cap="flat">
            <a:noFill/>
            <a:bevel/>
          </a:ln>
          <a:effectLst/>
        </p:spPr>
        <p:txBody>
          <a:bodyPr wrap="none" anchor="ctr"/>
          <a:lstStyle/>
          <a:p>
            <a:endParaRPr lang="en-US"/>
          </a:p>
        </p:txBody>
      </p:sp>
      <p:sp>
        <p:nvSpPr>
          <p:cNvPr id="28" name="Freeform 177">
            <a:extLst>
              <a:ext uri="{FF2B5EF4-FFF2-40B4-BE49-F238E27FC236}">
                <a16:creationId xmlns:a16="http://schemas.microsoft.com/office/drawing/2014/main" id="{10B1012D-1247-0E4A-BFFD-D8F52FAEDE4C}"/>
              </a:ext>
            </a:extLst>
          </p:cNvPr>
          <p:cNvSpPr>
            <a:spLocks noChangeArrowheads="1"/>
          </p:cNvSpPr>
          <p:nvPr userDrawn="1"/>
        </p:nvSpPr>
        <p:spPr bwMode="auto">
          <a:xfrm>
            <a:off x="5104293" y="3024269"/>
            <a:ext cx="1918793" cy="2081780"/>
          </a:xfrm>
          <a:custGeom>
            <a:avLst/>
            <a:gdLst>
              <a:gd name="T0" fmla="*/ 3121 w 3428"/>
              <a:gd name="T1" fmla="*/ 642 h 3719"/>
              <a:gd name="T2" fmla="*/ 3121 w 3428"/>
              <a:gd name="T3" fmla="*/ 642 h 3719"/>
              <a:gd name="T4" fmla="*/ 2103 w 3428"/>
              <a:gd name="T5" fmla="*/ 642 h 3719"/>
              <a:gd name="T6" fmla="*/ 1729 w 3428"/>
              <a:gd name="T7" fmla="*/ 0 h 3719"/>
              <a:gd name="T8" fmla="*/ 1362 w 3428"/>
              <a:gd name="T9" fmla="*/ 642 h 3719"/>
              <a:gd name="T10" fmla="*/ 306 w 3428"/>
              <a:gd name="T11" fmla="*/ 642 h 3719"/>
              <a:gd name="T12" fmla="*/ 0 w 3428"/>
              <a:gd name="T13" fmla="*/ 948 h 3719"/>
              <a:gd name="T14" fmla="*/ 0 w 3428"/>
              <a:gd name="T15" fmla="*/ 3420 h 3719"/>
              <a:gd name="T16" fmla="*/ 306 w 3428"/>
              <a:gd name="T17" fmla="*/ 3718 h 3719"/>
              <a:gd name="T18" fmla="*/ 3121 w 3428"/>
              <a:gd name="T19" fmla="*/ 3718 h 3719"/>
              <a:gd name="T20" fmla="*/ 3427 w 3428"/>
              <a:gd name="T21" fmla="*/ 3420 h 3719"/>
              <a:gd name="T22" fmla="*/ 3427 w 3428"/>
              <a:gd name="T23" fmla="*/ 948 h 3719"/>
              <a:gd name="T24" fmla="*/ 3121 w 3428"/>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8" h="3719">
                <a:moveTo>
                  <a:pt x="3121" y="642"/>
                </a:moveTo>
                <a:lnTo>
                  <a:pt x="3121" y="642"/>
                </a:lnTo>
                <a:cubicBezTo>
                  <a:pt x="2103" y="642"/>
                  <a:pt x="2103" y="642"/>
                  <a:pt x="2103" y="642"/>
                </a:cubicBezTo>
                <a:cubicBezTo>
                  <a:pt x="1729" y="0"/>
                  <a:pt x="1729" y="0"/>
                  <a:pt x="1729" y="0"/>
                </a:cubicBezTo>
                <a:cubicBezTo>
                  <a:pt x="1362" y="642"/>
                  <a:pt x="1362" y="642"/>
                  <a:pt x="1362"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1" y="3718"/>
                  <a:pt x="3121" y="3718"/>
                  <a:pt x="3121" y="3718"/>
                </a:cubicBezTo>
                <a:cubicBezTo>
                  <a:pt x="3289" y="3718"/>
                  <a:pt x="3427" y="3588"/>
                  <a:pt x="3427" y="3420"/>
                </a:cubicBezTo>
                <a:cubicBezTo>
                  <a:pt x="3427" y="948"/>
                  <a:pt x="3427" y="948"/>
                  <a:pt x="3427" y="948"/>
                </a:cubicBezTo>
                <a:cubicBezTo>
                  <a:pt x="3427" y="780"/>
                  <a:pt x="3289" y="642"/>
                  <a:pt x="3121" y="642"/>
                </a:cubicBezTo>
              </a:path>
            </a:pathLst>
          </a:custGeom>
          <a:solidFill>
            <a:srgbClr val="F16924"/>
          </a:solidFill>
          <a:ln w="9525" cap="flat">
            <a:noFill/>
            <a:bevel/>
          </a:ln>
          <a:effectLst/>
        </p:spPr>
        <p:txBody>
          <a:bodyPr wrap="none" anchor="ctr"/>
          <a:lstStyle/>
          <a:p>
            <a:endParaRPr lang="en-US"/>
          </a:p>
        </p:txBody>
      </p:sp>
      <p:sp>
        <p:nvSpPr>
          <p:cNvPr id="29" name="Freeform 178">
            <a:extLst>
              <a:ext uri="{FF2B5EF4-FFF2-40B4-BE49-F238E27FC236}">
                <a16:creationId xmlns:a16="http://schemas.microsoft.com/office/drawing/2014/main" id="{65CDE706-10CF-2F43-88C1-BCEBF0BED009}"/>
              </a:ext>
            </a:extLst>
          </p:cNvPr>
          <p:cNvSpPr>
            <a:spLocks noChangeArrowheads="1"/>
          </p:cNvSpPr>
          <p:nvPr userDrawn="1"/>
        </p:nvSpPr>
        <p:spPr bwMode="auto">
          <a:xfrm>
            <a:off x="7242870" y="3024269"/>
            <a:ext cx="1916323" cy="2081780"/>
          </a:xfrm>
          <a:custGeom>
            <a:avLst/>
            <a:gdLst>
              <a:gd name="T0" fmla="*/ 3115 w 3422"/>
              <a:gd name="T1" fmla="*/ 642 h 3719"/>
              <a:gd name="T2" fmla="*/ 3115 w 3422"/>
              <a:gd name="T3" fmla="*/ 642 h 3719"/>
              <a:gd name="T4" fmla="*/ 2105 w 3422"/>
              <a:gd name="T5" fmla="*/ 642 h 3719"/>
              <a:gd name="T6" fmla="*/ 1737 w 3422"/>
              <a:gd name="T7" fmla="*/ 0 h 3719"/>
              <a:gd name="T8" fmla="*/ 1362 w 3422"/>
              <a:gd name="T9" fmla="*/ 642 h 3719"/>
              <a:gd name="T10" fmla="*/ 299 w 3422"/>
              <a:gd name="T11" fmla="*/ 642 h 3719"/>
              <a:gd name="T12" fmla="*/ 0 w 3422"/>
              <a:gd name="T13" fmla="*/ 948 h 3719"/>
              <a:gd name="T14" fmla="*/ 0 w 3422"/>
              <a:gd name="T15" fmla="*/ 3420 h 3719"/>
              <a:gd name="T16" fmla="*/ 299 w 3422"/>
              <a:gd name="T17" fmla="*/ 3718 h 3719"/>
              <a:gd name="T18" fmla="*/ 3115 w 3422"/>
              <a:gd name="T19" fmla="*/ 3718 h 3719"/>
              <a:gd name="T20" fmla="*/ 3421 w 3422"/>
              <a:gd name="T21" fmla="*/ 3420 h 3719"/>
              <a:gd name="T22" fmla="*/ 3421 w 3422"/>
              <a:gd name="T23" fmla="*/ 948 h 3719"/>
              <a:gd name="T24" fmla="*/ 3115 w 3422"/>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1" h="3719">
                <a:moveTo>
                  <a:pt x="3115" y="642"/>
                </a:moveTo>
                <a:lnTo>
                  <a:pt x="3115" y="642"/>
                </a:lnTo>
                <a:cubicBezTo>
                  <a:pt x="2105" y="642"/>
                  <a:pt x="2105" y="642"/>
                  <a:pt x="2105" y="642"/>
                </a:cubicBezTo>
                <a:cubicBezTo>
                  <a:pt x="1737" y="0"/>
                  <a:pt x="1737" y="0"/>
                  <a:pt x="1737" y="0"/>
                </a:cubicBezTo>
                <a:cubicBezTo>
                  <a:pt x="1362" y="642"/>
                  <a:pt x="1362" y="642"/>
                  <a:pt x="1362" y="642"/>
                </a:cubicBezTo>
                <a:cubicBezTo>
                  <a:pt x="299" y="642"/>
                  <a:pt x="299" y="642"/>
                  <a:pt x="299" y="642"/>
                </a:cubicBezTo>
                <a:cubicBezTo>
                  <a:pt x="130" y="642"/>
                  <a:pt x="0" y="780"/>
                  <a:pt x="0" y="948"/>
                </a:cubicBezTo>
                <a:cubicBezTo>
                  <a:pt x="0" y="3420"/>
                  <a:pt x="0" y="3420"/>
                  <a:pt x="0" y="3420"/>
                </a:cubicBezTo>
                <a:cubicBezTo>
                  <a:pt x="0" y="3588"/>
                  <a:pt x="130" y="3718"/>
                  <a:pt x="299" y="3718"/>
                </a:cubicBezTo>
                <a:cubicBezTo>
                  <a:pt x="3115" y="3718"/>
                  <a:pt x="3115" y="3718"/>
                  <a:pt x="3115" y="3718"/>
                </a:cubicBezTo>
                <a:cubicBezTo>
                  <a:pt x="3283" y="3718"/>
                  <a:pt x="3421" y="3588"/>
                  <a:pt x="3421" y="3420"/>
                </a:cubicBezTo>
                <a:cubicBezTo>
                  <a:pt x="3421" y="948"/>
                  <a:pt x="3421" y="948"/>
                  <a:pt x="3421" y="948"/>
                </a:cubicBezTo>
                <a:cubicBezTo>
                  <a:pt x="3421" y="780"/>
                  <a:pt x="3283" y="642"/>
                  <a:pt x="3115" y="642"/>
                </a:cubicBezTo>
              </a:path>
            </a:pathLst>
          </a:custGeom>
          <a:solidFill>
            <a:srgbClr val="EDA13E"/>
          </a:solidFill>
          <a:ln w="9525" cap="flat">
            <a:noFill/>
            <a:bevel/>
          </a:ln>
          <a:effectLst/>
        </p:spPr>
        <p:txBody>
          <a:bodyPr wrap="none" anchor="ctr"/>
          <a:lstStyle/>
          <a:p>
            <a:endParaRPr lang="en-US"/>
          </a:p>
        </p:txBody>
      </p:sp>
      <p:sp>
        <p:nvSpPr>
          <p:cNvPr id="30" name="Freeform 179">
            <a:extLst>
              <a:ext uri="{FF2B5EF4-FFF2-40B4-BE49-F238E27FC236}">
                <a16:creationId xmlns:a16="http://schemas.microsoft.com/office/drawing/2014/main" id="{832BCD4D-201E-8748-B1F7-9CE73C83B47C}"/>
              </a:ext>
            </a:extLst>
          </p:cNvPr>
          <p:cNvSpPr>
            <a:spLocks noChangeArrowheads="1"/>
          </p:cNvSpPr>
          <p:nvPr userDrawn="1"/>
        </p:nvSpPr>
        <p:spPr bwMode="auto">
          <a:xfrm>
            <a:off x="9376508" y="3024269"/>
            <a:ext cx="1921262" cy="2081780"/>
          </a:xfrm>
          <a:custGeom>
            <a:avLst/>
            <a:gdLst>
              <a:gd name="T0" fmla="*/ 3122 w 3429"/>
              <a:gd name="T1" fmla="*/ 642 h 3719"/>
              <a:gd name="T2" fmla="*/ 3122 w 3429"/>
              <a:gd name="T3" fmla="*/ 642 h 3719"/>
              <a:gd name="T4" fmla="*/ 2120 w 3429"/>
              <a:gd name="T5" fmla="*/ 642 h 3719"/>
              <a:gd name="T6" fmla="*/ 1745 w 3429"/>
              <a:gd name="T7" fmla="*/ 0 h 3719"/>
              <a:gd name="T8" fmla="*/ 1377 w 3429"/>
              <a:gd name="T9" fmla="*/ 642 h 3719"/>
              <a:gd name="T10" fmla="*/ 306 w 3429"/>
              <a:gd name="T11" fmla="*/ 642 h 3719"/>
              <a:gd name="T12" fmla="*/ 0 w 3429"/>
              <a:gd name="T13" fmla="*/ 948 h 3719"/>
              <a:gd name="T14" fmla="*/ 0 w 3429"/>
              <a:gd name="T15" fmla="*/ 3420 h 3719"/>
              <a:gd name="T16" fmla="*/ 306 w 3429"/>
              <a:gd name="T17" fmla="*/ 3718 h 3719"/>
              <a:gd name="T18" fmla="*/ 3122 w 3429"/>
              <a:gd name="T19" fmla="*/ 3718 h 3719"/>
              <a:gd name="T20" fmla="*/ 3428 w 3429"/>
              <a:gd name="T21" fmla="*/ 3420 h 3719"/>
              <a:gd name="T22" fmla="*/ 3428 w 3429"/>
              <a:gd name="T23" fmla="*/ 948 h 3719"/>
              <a:gd name="T24" fmla="*/ 3122 w 3429"/>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2" y="642"/>
                </a:moveTo>
                <a:lnTo>
                  <a:pt x="3122" y="642"/>
                </a:lnTo>
                <a:cubicBezTo>
                  <a:pt x="2120" y="642"/>
                  <a:pt x="2120" y="642"/>
                  <a:pt x="2120" y="642"/>
                </a:cubicBezTo>
                <a:cubicBezTo>
                  <a:pt x="1745" y="0"/>
                  <a:pt x="1745" y="0"/>
                  <a:pt x="1745" y="0"/>
                </a:cubicBezTo>
                <a:cubicBezTo>
                  <a:pt x="1377" y="642"/>
                  <a:pt x="1377" y="642"/>
                  <a:pt x="137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1" y="3718"/>
                  <a:pt x="3428" y="3588"/>
                  <a:pt x="3428" y="3420"/>
                </a:cubicBezTo>
                <a:cubicBezTo>
                  <a:pt x="3428" y="948"/>
                  <a:pt x="3428" y="948"/>
                  <a:pt x="3428" y="948"/>
                </a:cubicBezTo>
                <a:cubicBezTo>
                  <a:pt x="3428" y="780"/>
                  <a:pt x="3291" y="642"/>
                  <a:pt x="3122" y="642"/>
                </a:cubicBezTo>
              </a:path>
            </a:pathLst>
          </a:custGeom>
          <a:solidFill>
            <a:srgbClr val="B41F7A"/>
          </a:solidFill>
          <a:ln w="9525" cap="flat">
            <a:noFill/>
            <a:bevel/>
          </a:ln>
          <a:effectLst/>
        </p:spPr>
        <p:txBody>
          <a:bodyPr wrap="none" anchor="ctr"/>
          <a:lstStyle/>
          <a:p>
            <a:endParaRPr lang="en-US"/>
          </a:p>
        </p:txBody>
      </p:sp>
      <p:sp>
        <p:nvSpPr>
          <p:cNvPr id="33" name="Rectangle 32">
            <a:extLst>
              <a:ext uri="{FF2B5EF4-FFF2-40B4-BE49-F238E27FC236}">
                <a16:creationId xmlns:a16="http://schemas.microsoft.com/office/drawing/2014/main" id="{C32DC3FE-D517-4045-A81C-97480C4BB5BC}"/>
              </a:ext>
            </a:extLst>
          </p:cNvPr>
          <p:cNvSpPr/>
          <p:nvPr userDrawn="1"/>
        </p:nvSpPr>
        <p:spPr>
          <a:xfrm>
            <a:off x="5650339" y="1213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sp>
        <p:nvSpPr>
          <p:cNvPr id="34" name="Text Placeholder 23">
            <a:extLst>
              <a:ext uri="{FF2B5EF4-FFF2-40B4-BE49-F238E27FC236}">
                <a16:creationId xmlns:a16="http://schemas.microsoft.com/office/drawing/2014/main" id="{929DE76E-73B1-9148-AD97-229EAA47B07C}"/>
              </a:ext>
            </a:extLst>
          </p:cNvPr>
          <p:cNvSpPr>
            <a:spLocks noGrp="1"/>
          </p:cNvSpPr>
          <p:nvPr>
            <p:ph type="body" sz="quarter" idx="29" hasCustomPrompt="1"/>
          </p:nvPr>
        </p:nvSpPr>
        <p:spPr>
          <a:xfrm>
            <a:off x="10764" y="430704"/>
            <a:ext cx="12181236" cy="582221"/>
          </a:xfrm>
        </p:spPr>
        <p:txBody>
          <a:bodyPr>
            <a:normAutofit/>
          </a:bodyPr>
          <a:lstStyle>
            <a:lvl1pPr marL="0" indent="0" algn="ctr">
              <a:buNone/>
              <a:defRPr sz="3600" b="0" i="0">
                <a:solidFill>
                  <a:srgbClr val="595959"/>
                </a:solidFill>
                <a:latin typeface="+mn-lt"/>
              </a:defRPr>
            </a:lvl1pPr>
          </a:lstStyle>
          <a:p>
            <a:pPr lvl="0"/>
            <a:r>
              <a:rPr lang="en-US"/>
              <a:t>Heading</a:t>
            </a: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846019" y="3772431"/>
            <a:ext cx="1903851"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Title</a:t>
            </a:r>
            <a:endParaRPr lang="en-US"/>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73021" y="3766181"/>
            <a:ext cx="1921263"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Title</a:t>
            </a:r>
            <a:endParaRPr lang="en-US"/>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116948" y="3757727"/>
            <a:ext cx="1908506"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Title</a:t>
            </a:r>
            <a:endParaRPr lang="en-US"/>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71386" y="3751477"/>
            <a:ext cx="1890175"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Title</a:t>
            </a:r>
            <a:endParaRPr lang="en-US"/>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1239" y="3739902"/>
            <a:ext cx="1921262"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Title</a:t>
            </a:r>
            <a:endParaRPr lang="en-US"/>
          </a:p>
        </p:txBody>
      </p:sp>
      <p:sp>
        <p:nvSpPr>
          <p:cNvPr id="18" name="Rectangle 17">
            <a:extLst>
              <a:ext uri="{FF2B5EF4-FFF2-40B4-BE49-F238E27FC236}">
                <a16:creationId xmlns:a16="http://schemas.microsoft.com/office/drawing/2014/main" id="{B3C2532F-D611-6B40-B3CA-28981F36055E}"/>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AD5FA0C8-251D-0745-92D5-AFAC54D02E43}"/>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317595" y="6342038"/>
            <a:ext cx="1300365" cy="144173"/>
          </a:xfrm>
          <a:prstGeom prst="rect">
            <a:avLst/>
          </a:prstGeom>
        </p:spPr>
      </p:pic>
    </p:spTree>
    <p:extLst>
      <p:ext uri="{BB962C8B-B14F-4D97-AF65-F5344CB8AC3E}">
        <p14:creationId xmlns:p14="http://schemas.microsoft.com/office/powerpoint/2010/main" val="405059520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point icon Graph C">
    <p:spTree>
      <p:nvGrpSpPr>
        <p:cNvPr id="1" name=""/>
        <p:cNvGrpSpPr/>
        <p:nvPr/>
      </p:nvGrpSpPr>
      <p:grpSpPr>
        <a:xfrm>
          <a:off x="0" y="0"/>
          <a:ext cx="0" cy="0"/>
          <a:chOff x="0" y="0"/>
          <a:chExt cx="0" cy="0"/>
        </a:xfrm>
      </p:grpSpPr>
      <p:grpSp>
        <p:nvGrpSpPr>
          <p:cNvPr id="100" name="Group 99">
            <a:extLst>
              <a:ext uri="{FF2B5EF4-FFF2-40B4-BE49-F238E27FC236}">
                <a16:creationId xmlns:a16="http://schemas.microsoft.com/office/drawing/2014/main" id="{9D47C539-7E1F-9A4D-A0E2-0874E257D47F}"/>
              </a:ext>
            </a:extLst>
          </p:cNvPr>
          <p:cNvGrpSpPr/>
          <p:nvPr userDrawn="1"/>
        </p:nvGrpSpPr>
        <p:grpSpPr>
          <a:xfrm>
            <a:off x="1154562" y="1887157"/>
            <a:ext cx="9882876" cy="2798187"/>
            <a:chOff x="1875859" y="4907106"/>
            <a:chExt cx="20625932" cy="5839921"/>
          </a:xfrm>
        </p:grpSpPr>
        <p:sp>
          <p:nvSpPr>
            <p:cNvPr id="101" name="Block Arc 100">
              <a:extLst>
                <a:ext uri="{FF2B5EF4-FFF2-40B4-BE49-F238E27FC236}">
                  <a16:creationId xmlns:a16="http://schemas.microsoft.com/office/drawing/2014/main" id="{DFBD3BC9-7E5A-4643-90E7-A5CDC7C6EAC3}"/>
                </a:ext>
              </a:extLst>
            </p:cNvPr>
            <p:cNvSpPr>
              <a:spLocks noChangeAspect="1"/>
            </p:cNvSpPr>
            <p:nvPr/>
          </p:nvSpPr>
          <p:spPr>
            <a:xfrm rot="10800000">
              <a:off x="1875859"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2" name="Block Arc 101">
              <a:extLst>
                <a:ext uri="{FF2B5EF4-FFF2-40B4-BE49-F238E27FC236}">
                  <a16:creationId xmlns:a16="http://schemas.microsoft.com/office/drawing/2014/main" id="{2A55FCAE-3E0F-C648-A867-D49B2D13DB17}"/>
                </a:ext>
              </a:extLst>
            </p:cNvPr>
            <p:cNvSpPr>
              <a:spLocks noChangeAspect="1"/>
            </p:cNvSpPr>
            <p:nvPr/>
          </p:nvSpPr>
          <p:spPr>
            <a:xfrm>
              <a:off x="5916227"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3" name="Block Arc 102">
              <a:extLst>
                <a:ext uri="{FF2B5EF4-FFF2-40B4-BE49-F238E27FC236}">
                  <a16:creationId xmlns:a16="http://schemas.microsoft.com/office/drawing/2014/main" id="{67B40F74-0334-F94D-A4A6-FC1A645B2016}"/>
                </a:ext>
              </a:extLst>
            </p:cNvPr>
            <p:cNvSpPr>
              <a:spLocks noChangeAspect="1"/>
            </p:cNvSpPr>
            <p:nvPr/>
          </p:nvSpPr>
          <p:spPr>
            <a:xfrm rot="10800000">
              <a:off x="9956596" y="4907108"/>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4" name="Block Arc 103">
              <a:extLst>
                <a:ext uri="{FF2B5EF4-FFF2-40B4-BE49-F238E27FC236}">
                  <a16:creationId xmlns:a16="http://schemas.microsoft.com/office/drawing/2014/main" id="{EA89031A-4F1E-3B4B-B3FD-73BD6969A58A}"/>
                </a:ext>
              </a:extLst>
            </p:cNvPr>
            <p:cNvSpPr>
              <a:spLocks noChangeAspect="1"/>
            </p:cNvSpPr>
            <p:nvPr/>
          </p:nvSpPr>
          <p:spPr>
            <a:xfrm>
              <a:off x="13996964"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5" name="Block Arc 104">
              <a:extLst>
                <a:ext uri="{FF2B5EF4-FFF2-40B4-BE49-F238E27FC236}">
                  <a16:creationId xmlns:a16="http://schemas.microsoft.com/office/drawing/2014/main" id="{BC102F9A-7693-8547-8518-EFB5ADD85CB1}"/>
                </a:ext>
              </a:extLst>
            </p:cNvPr>
            <p:cNvSpPr>
              <a:spLocks noChangeAspect="1"/>
            </p:cNvSpPr>
            <p:nvPr/>
          </p:nvSpPr>
          <p:spPr>
            <a:xfrm>
              <a:off x="1875859" y="4907106"/>
              <a:ext cx="4464459" cy="4631501"/>
            </a:xfrm>
            <a:prstGeom prst="blockArc">
              <a:avLst>
                <a:gd name="adj1" fmla="val 10800000"/>
                <a:gd name="adj2" fmla="val 0"/>
                <a:gd name="adj3" fmla="val 9694"/>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6" name="Block Arc 105">
              <a:extLst>
                <a:ext uri="{FF2B5EF4-FFF2-40B4-BE49-F238E27FC236}">
                  <a16:creationId xmlns:a16="http://schemas.microsoft.com/office/drawing/2014/main" id="{2CC5A5AC-8BF0-BA45-9D0A-A9E2B4F5D89D}"/>
                </a:ext>
              </a:extLst>
            </p:cNvPr>
            <p:cNvSpPr>
              <a:spLocks noChangeAspect="1"/>
            </p:cNvSpPr>
            <p:nvPr/>
          </p:nvSpPr>
          <p:spPr>
            <a:xfrm rot="10800000">
              <a:off x="18037332"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7" name="Block Arc 106">
              <a:extLst>
                <a:ext uri="{FF2B5EF4-FFF2-40B4-BE49-F238E27FC236}">
                  <a16:creationId xmlns:a16="http://schemas.microsoft.com/office/drawing/2014/main" id="{9C353EB8-D92A-1B42-9A1B-48051A61B7B2}"/>
                </a:ext>
              </a:extLst>
            </p:cNvPr>
            <p:cNvSpPr>
              <a:spLocks noChangeAspect="1"/>
            </p:cNvSpPr>
            <p:nvPr/>
          </p:nvSpPr>
          <p:spPr>
            <a:xfrm rot="10800000">
              <a:off x="5916227" y="4907106"/>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8" name="Block Arc 107">
              <a:extLst>
                <a:ext uri="{FF2B5EF4-FFF2-40B4-BE49-F238E27FC236}">
                  <a16:creationId xmlns:a16="http://schemas.microsoft.com/office/drawing/2014/main" id="{1C402117-6053-504C-8052-7EAC0B33EB8B}"/>
                </a:ext>
              </a:extLst>
            </p:cNvPr>
            <p:cNvSpPr>
              <a:spLocks noChangeAspect="1"/>
            </p:cNvSpPr>
            <p:nvPr/>
          </p:nvSpPr>
          <p:spPr>
            <a:xfrm rot="10800000">
              <a:off x="13996964" y="4907111"/>
              <a:ext cx="4464459" cy="4631501"/>
            </a:xfrm>
            <a:prstGeom prst="blockArc">
              <a:avLst>
                <a:gd name="adj1" fmla="val 10800000"/>
                <a:gd name="adj2" fmla="val 0"/>
                <a:gd name="adj3" fmla="val 9694"/>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9" name="Block Arc 108">
              <a:extLst>
                <a:ext uri="{FF2B5EF4-FFF2-40B4-BE49-F238E27FC236}">
                  <a16:creationId xmlns:a16="http://schemas.microsoft.com/office/drawing/2014/main" id="{46571C6C-6A6A-DC4C-938E-3A996BFCD104}"/>
                </a:ext>
              </a:extLst>
            </p:cNvPr>
            <p:cNvSpPr>
              <a:spLocks noChangeAspect="1"/>
            </p:cNvSpPr>
            <p:nvPr/>
          </p:nvSpPr>
          <p:spPr>
            <a:xfrm>
              <a:off x="9956596" y="4907108"/>
              <a:ext cx="4464459" cy="4631501"/>
            </a:xfrm>
            <a:prstGeom prst="blockArc">
              <a:avLst>
                <a:gd name="adj1" fmla="val 10800000"/>
                <a:gd name="adj2" fmla="val 0"/>
                <a:gd name="adj3" fmla="val 9694"/>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0" name="Block Arc 109">
              <a:extLst>
                <a:ext uri="{FF2B5EF4-FFF2-40B4-BE49-F238E27FC236}">
                  <a16:creationId xmlns:a16="http://schemas.microsoft.com/office/drawing/2014/main" id="{1937D021-BEEA-E74F-9D71-6852BF32CF1F}"/>
                </a:ext>
              </a:extLst>
            </p:cNvPr>
            <p:cNvSpPr>
              <a:spLocks noChangeAspect="1"/>
            </p:cNvSpPr>
            <p:nvPr/>
          </p:nvSpPr>
          <p:spPr>
            <a:xfrm>
              <a:off x="18037332" y="4907110"/>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1" name="TextBox 110">
              <a:extLst>
                <a:ext uri="{FF2B5EF4-FFF2-40B4-BE49-F238E27FC236}">
                  <a16:creationId xmlns:a16="http://schemas.microsoft.com/office/drawing/2014/main" id="{78C7850B-F149-0E41-9A41-F0D02FB2B9C3}"/>
                </a:ext>
              </a:extLst>
            </p:cNvPr>
            <p:cNvSpPr txBox="1"/>
            <p:nvPr/>
          </p:nvSpPr>
          <p:spPr>
            <a:xfrm>
              <a:off x="3248482" y="10100696"/>
              <a:ext cx="1927131" cy="646331"/>
            </a:xfrm>
            <a:prstGeom prst="rect">
              <a:avLst/>
            </a:prstGeom>
            <a:noFill/>
          </p:spPr>
          <p:txBody>
            <a:bodyPr wrap="none" rtlCol="0">
              <a:spAutoFit/>
            </a:bodyPr>
            <a:lstStyle/>
            <a:p>
              <a:pPr algn="ctr"/>
              <a:r>
                <a:rPr lang="en-US">
                  <a:solidFill>
                    <a:schemeClr val="tx2"/>
                  </a:solidFill>
                  <a:latin typeface="Montserrat" pitchFamily="2" charset="77"/>
                  <a:ea typeface="Lato Light" panose="020F0502020204030203" pitchFamily="34" charset="0"/>
                  <a:cs typeface="Lato Light" panose="020F0502020204030203" pitchFamily="34" charset="0"/>
                </a:rPr>
                <a:t>Mission</a:t>
              </a:r>
            </a:p>
          </p:txBody>
        </p:sp>
        <p:sp>
          <p:nvSpPr>
            <p:cNvPr id="113" name="TextBox 112">
              <a:extLst>
                <a:ext uri="{FF2B5EF4-FFF2-40B4-BE49-F238E27FC236}">
                  <a16:creationId xmlns:a16="http://schemas.microsoft.com/office/drawing/2014/main" id="{29C4BC7A-7D43-1647-99AE-68CD5E078683}"/>
                </a:ext>
              </a:extLst>
            </p:cNvPr>
            <p:cNvSpPr txBox="1"/>
            <p:nvPr/>
          </p:nvSpPr>
          <p:spPr>
            <a:xfrm>
              <a:off x="7357215" y="10100696"/>
              <a:ext cx="1582486" cy="646331"/>
            </a:xfrm>
            <a:prstGeom prst="rect">
              <a:avLst/>
            </a:prstGeom>
            <a:noFill/>
          </p:spPr>
          <p:txBody>
            <a:bodyPr wrap="none" rtlCol="0">
              <a:spAutoFit/>
            </a:bodyPr>
            <a:lstStyle/>
            <a:p>
              <a:pPr algn="ctr"/>
              <a:r>
                <a:rPr lang="en-US">
                  <a:solidFill>
                    <a:schemeClr val="tx2"/>
                  </a:solidFill>
                  <a:latin typeface="Montserrat" pitchFamily="2" charset="77"/>
                  <a:ea typeface="Lato Light" panose="020F0502020204030203" pitchFamily="34" charset="0"/>
                  <a:cs typeface="Lato Light" panose="020F0502020204030203" pitchFamily="34" charset="0"/>
                </a:rPr>
                <a:t>Vision</a:t>
              </a:r>
            </a:p>
          </p:txBody>
        </p:sp>
        <p:sp>
          <p:nvSpPr>
            <p:cNvPr id="115" name="TextBox 114">
              <a:extLst>
                <a:ext uri="{FF2B5EF4-FFF2-40B4-BE49-F238E27FC236}">
                  <a16:creationId xmlns:a16="http://schemas.microsoft.com/office/drawing/2014/main" id="{D21B2BCF-57D6-7E49-8B6A-8CE063146E7B}"/>
                </a:ext>
              </a:extLst>
            </p:cNvPr>
            <p:cNvSpPr txBox="1"/>
            <p:nvPr/>
          </p:nvSpPr>
          <p:spPr>
            <a:xfrm>
              <a:off x="11461705" y="10100696"/>
              <a:ext cx="1454245" cy="646331"/>
            </a:xfrm>
            <a:prstGeom prst="rect">
              <a:avLst/>
            </a:prstGeom>
            <a:noFill/>
          </p:spPr>
          <p:txBody>
            <a:bodyPr wrap="none" rtlCol="0">
              <a:spAutoFit/>
            </a:bodyPr>
            <a:lstStyle/>
            <a:p>
              <a:pPr algn="ctr"/>
              <a:r>
                <a:rPr lang="en-US">
                  <a:solidFill>
                    <a:schemeClr val="tx2"/>
                  </a:solidFill>
                  <a:latin typeface="Montserrat" pitchFamily="2" charset="77"/>
                  <a:ea typeface="Lato Light" panose="020F0502020204030203" pitchFamily="34" charset="0"/>
                  <a:cs typeface="Lato Light" panose="020F0502020204030203" pitchFamily="34" charset="0"/>
                </a:rPr>
                <a:t>Goals</a:t>
              </a:r>
            </a:p>
          </p:txBody>
        </p:sp>
        <p:sp>
          <p:nvSpPr>
            <p:cNvPr id="117" name="TextBox 116">
              <a:extLst>
                <a:ext uri="{FF2B5EF4-FFF2-40B4-BE49-F238E27FC236}">
                  <a16:creationId xmlns:a16="http://schemas.microsoft.com/office/drawing/2014/main" id="{5239597B-95B4-224B-8092-02E83F685D0A}"/>
                </a:ext>
              </a:extLst>
            </p:cNvPr>
            <p:cNvSpPr txBox="1"/>
            <p:nvPr/>
          </p:nvSpPr>
          <p:spPr>
            <a:xfrm>
              <a:off x="15369825" y="10100696"/>
              <a:ext cx="1718740" cy="646331"/>
            </a:xfrm>
            <a:prstGeom prst="rect">
              <a:avLst/>
            </a:prstGeom>
            <a:noFill/>
          </p:spPr>
          <p:txBody>
            <a:bodyPr wrap="none" rtlCol="0">
              <a:spAutoFit/>
            </a:bodyPr>
            <a:lstStyle/>
            <a:p>
              <a:pPr algn="ctr"/>
              <a:r>
                <a:rPr lang="en-US">
                  <a:solidFill>
                    <a:schemeClr val="tx2"/>
                  </a:solidFill>
                  <a:latin typeface="Montserrat" pitchFamily="2" charset="77"/>
                  <a:ea typeface="Lato Light" panose="020F0502020204030203" pitchFamily="34" charset="0"/>
                  <a:cs typeface="Lato Light" panose="020F0502020204030203" pitchFamily="34" charset="0"/>
                </a:rPr>
                <a:t>Values</a:t>
              </a:r>
            </a:p>
          </p:txBody>
        </p:sp>
        <p:sp>
          <p:nvSpPr>
            <p:cNvPr id="119" name="TextBox 118">
              <a:extLst>
                <a:ext uri="{FF2B5EF4-FFF2-40B4-BE49-F238E27FC236}">
                  <a16:creationId xmlns:a16="http://schemas.microsoft.com/office/drawing/2014/main" id="{632B747A-D6C1-1A44-B024-63125FA7FE49}"/>
                </a:ext>
              </a:extLst>
            </p:cNvPr>
            <p:cNvSpPr txBox="1"/>
            <p:nvPr/>
          </p:nvSpPr>
          <p:spPr>
            <a:xfrm>
              <a:off x="19196193" y="10100696"/>
              <a:ext cx="2146743" cy="646331"/>
            </a:xfrm>
            <a:prstGeom prst="rect">
              <a:avLst/>
            </a:prstGeom>
            <a:noFill/>
          </p:spPr>
          <p:txBody>
            <a:bodyPr wrap="none" rtlCol="0">
              <a:spAutoFit/>
            </a:bodyPr>
            <a:lstStyle/>
            <a:p>
              <a:pPr algn="ctr"/>
              <a:r>
                <a:rPr lang="en-US">
                  <a:solidFill>
                    <a:schemeClr val="tx2"/>
                  </a:solidFill>
                  <a:latin typeface="Montserrat" pitchFamily="2" charset="77"/>
                  <a:ea typeface="Lato Light" panose="020F0502020204030203" pitchFamily="34" charset="0"/>
                  <a:cs typeface="Lato Light" panose="020F0502020204030203" pitchFamily="34" charset="0"/>
                </a:rPr>
                <a:t>Strategy</a:t>
              </a:r>
            </a:p>
          </p:txBody>
        </p:sp>
      </p:grpSp>
      <p:sp>
        <p:nvSpPr>
          <p:cNvPr id="131" name="Text Placeholder 17">
            <a:extLst>
              <a:ext uri="{FF2B5EF4-FFF2-40B4-BE49-F238E27FC236}">
                <a16:creationId xmlns:a16="http://schemas.microsoft.com/office/drawing/2014/main" id="{CD6CCE6C-B4E3-C149-902E-39BDA11B0FC0}"/>
              </a:ext>
            </a:extLst>
          </p:cNvPr>
          <p:cNvSpPr>
            <a:spLocks noGrp="1"/>
          </p:cNvSpPr>
          <p:nvPr>
            <p:ph type="body" sz="quarter" idx="30" hasCustomPrompt="1"/>
          </p:nvPr>
        </p:nvSpPr>
        <p:spPr>
          <a:xfrm>
            <a:off x="3269110" y="4533160"/>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132" name="Text Placeholder 17">
            <a:extLst>
              <a:ext uri="{FF2B5EF4-FFF2-40B4-BE49-F238E27FC236}">
                <a16:creationId xmlns:a16="http://schemas.microsoft.com/office/drawing/2014/main" id="{11104F8E-2BBD-8841-8033-FB61C44CE686}"/>
              </a:ext>
            </a:extLst>
          </p:cNvPr>
          <p:cNvSpPr>
            <a:spLocks noGrp="1"/>
          </p:cNvSpPr>
          <p:nvPr>
            <p:ph type="body" sz="quarter" idx="31" hasCustomPrompt="1"/>
          </p:nvPr>
        </p:nvSpPr>
        <p:spPr>
          <a:xfrm>
            <a:off x="1333175" y="4539912"/>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133" name="Text Placeholder 17">
            <a:extLst>
              <a:ext uri="{FF2B5EF4-FFF2-40B4-BE49-F238E27FC236}">
                <a16:creationId xmlns:a16="http://schemas.microsoft.com/office/drawing/2014/main" id="{ADA8F331-B773-9A48-9C92-B8D80C9D5D28}"/>
              </a:ext>
            </a:extLst>
          </p:cNvPr>
          <p:cNvSpPr>
            <a:spLocks noGrp="1"/>
          </p:cNvSpPr>
          <p:nvPr>
            <p:ph type="body" sz="quarter" idx="32" hasCustomPrompt="1"/>
          </p:nvPr>
        </p:nvSpPr>
        <p:spPr>
          <a:xfrm>
            <a:off x="7165569" y="4535946"/>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134" name="Text Placeholder 17">
            <a:extLst>
              <a:ext uri="{FF2B5EF4-FFF2-40B4-BE49-F238E27FC236}">
                <a16:creationId xmlns:a16="http://schemas.microsoft.com/office/drawing/2014/main" id="{8C6EB927-6876-364B-9D8E-642E2160F1F5}"/>
              </a:ext>
            </a:extLst>
          </p:cNvPr>
          <p:cNvSpPr>
            <a:spLocks noGrp="1"/>
          </p:cNvSpPr>
          <p:nvPr>
            <p:ph type="body" sz="quarter" idx="33" hasCustomPrompt="1"/>
          </p:nvPr>
        </p:nvSpPr>
        <p:spPr>
          <a:xfrm>
            <a:off x="5229634" y="4542698"/>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135" name="Text Placeholder 17">
            <a:extLst>
              <a:ext uri="{FF2B5EF4-FFF2-40B4-BE49-F238E27FC236}">
                <a16:creationId xmlns:a16="http://schemas.microsoft.com/office/drawing/2014/main" id="{01736E27-5CA5-014F-B907-7522BA18CBDD}"/>
              </a:ext>
            </a:extLst>
          </p:cNvPr>
          <p:cNvSpPr>
            <a:spLocks noGrp="1"/>
          </p:cNvSpPr>
          <p:nvPr>
            <p:ph type="body" sz="quarter" idx="34" hasCustomPrompt="1"/>
          </p:nvPr>
        </p:nvSpPr>
        <p:spPr>
          <a:xfrm>
            <a:off x="9101503" y="4557649"/>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28" name="Text Placeholder 23">
            <a:extLst>
              <a:ext uri="{FF2B5EF4-FFF2-40B4-BE49-F238E27FC236}">
                <a16:creationId xmlns:a16="http://schemas.microsoft.com/office/drawing/2014/main" id="{74CE074A-C461-B741-A948-84D85A8206D9}"/>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a:t>Heading</a:t>
            </a:r>
          </a:p>
        </p:txBody>
      </p:sp>
      <p:sp>
        <p:nvSpPr>
          <p:cNvPr id="29" name="Rectangle 28">
            <a:extLst>
              <a:ext uri="{FF2B5EF4-FFF2-40B4-BE49-F238E27FC236}">
                <a16:creationId xmlns:a16="http://schemas.microsoft.com/office/drawing/2014/main" id="{DADF0D77-B718-1445-9663-921379DFEA8A}"/>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30" name="Picture 29" descr="Logo&#10;&#10;Description automatically generated">
            <a:extLst>
              <a:ext uri="{FF2B5EF4-FFF2-40B4-BE49-F238E27FC236}">
                <a16:creationId xmlns:a16="http://schemas.microsoft.com/office/drawing/2014/main" id="{DB26B81B-9D4A-304C-955B-829FF2EB6991}"/>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317595" y="6342038"/>
            <a:ext cx="1300365" cy="144173"/>
          </a:xfrm>
          <a:prstGeom prst="rect">
            <a:avLst/>
          </a:prstGeom>
        </p:spPr>
      </p:pic>
    </p:spTree>
    <p:extLst>
      <p:ext uri="{BB962C8B-B14F-4D97-AF65-F5344CB8AC3E}">
        <p14:creationId xmlns:p14="http://schemas.microsoft.com/office/powerpoint/2010/main" val="592762448"/>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ercentage graph x 4">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958611" y="1840131"/>
            <a:ext cx="10383759" cy="2382415"/>
            <a:chOff x="2122935" y="4949396"/>
            <a:chExt cx="20123404" cy="5001613"/>
          </a:xfrm>
        </p:grpSpPr>
        <p:sp>
          <p:nvSpPr>
            <p:cNvPr id="30" name="Shape 493">
              <a:extLst>
                <a:ext uri="{FF2B5EF4-FFF2-40B4-BE49-F238E27FC236}">
                  <a16:creationId xmlns:a16="http://schemas.microsoft.com/office/drawing/2014/main" id="{FA93A623-AC46-CA41-AB39-3D0015516C37}"/>
                </a:ext>
              </a:extLst>
            </p:cNvPr>
            <p:cNvSpPr/>
            <p:nvPr/>
          </p:nvSpPr>
          <p:spPr>
            <a:xfrm>
              <a:off x="2122935" y="4949396"/>
              <a:ext cx="3790687"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a:solidFill>
                  <a:schemeClr val="lt1"/>
                </a:solidFill>
                <a:latin typeface="Montserrat Light" charset="0"/>
                <a:ea typeface="Montserrat Light" charset="0"/>
                <a:cs typeface="Montserrat Light" charset="0"/>
                <a:sym typeface="Calibri" panose="020F0502020204030204"/>
              </a:endParaRPr>
            </a:p>
          </p:txBody>
        </p:sp>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a:solidFill>
                  <a:schemeClr val="lt1"/>
                </a:solidFill>
                <a:latin typeface="Montserrat Light" charset="0"/>
                <a:ea typeface="Montserrat Light" charset="0"/>
                <a:cs typeface="Montserrat Light" charset="0"/>
                <a:sym typeface="Calibri" panose="020F0502020204030204"/>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a:solidFill>
                  <a:schemeClr val="lt1"/>
                </a:solidFill>
                <a:latin typeface="Montserrat Light" charset="0"/>
                <a:ea typeface="Montserrat Light" charset="0"/>
                <a:cs typeface="Montserrat Light" charset="0"/>
                <a:sym typeface="Calibri" panose="020F0502020204030204"/>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6"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a:solidFill>
                  <a:schemeClr val="lt1"/>
                </a:solidFill>
                <a:latin typeface="Montserrat Light" charset="0"/>
                <a:ea typeface="Montserrat Light" charset="0"/>
                <a:cs typeface="Montserrat Light" charset="0"/>
                <a:sym typeface="Calibri" panose="020F0502020204030204"/>
              </a:endParaRPr>
            </a:p>
          </p:txBody>
        </p:sp>
        <p:sp>
          <p:nvSpPr>
            <p:cNvPr id="52" name="TextBox 51">
              <a:extLst>
                <a:ext uri="{FF2B5EF4-FFF2-40B4-BE49-F238E27FC236}">
                  <a16:creationId xmlns:a16="http://schemas.microsoft.com/office/drawing/2014/main" id="{28835238-EF0F-C945-85D9-9B4D8000EB04}"/>
                </a:ext>
              </a:extLst>
            </p:cNvPr>
            <p:cNvSpPr txBox="1"/>
            <p:nvPr/>
          </p:nvSpPr>
          <p:spPr>
            <a:xfrm>
              <a:off x="12638765" y="9304679"/>
              <a:ext cx="4216023" cy="646330"/>
            </a:xfrm>
            <a:prstGeom prst="rect">
              <a:avLst/>
            </a:prstGeom>
            <a:noFill/>
          </p:spPr>
          <p:txBody>
            <a:bodyPr wrap="square" rtlCol="0">
              <a:spAutoFit/>
            </a:bodyPr>
            <a:lstStyle/>
            <a:p>
              <a:pPr algn="ctr"/>
              <a:r>
                <a:rPr lang="en-US">
                  <a:solidFill>
                    <a:schemeClr val="tx2"/>
                  </a:solidFill>
                  <a:latin typeface="Montserrat" pitchFamily="2" charset="77"/>
                  <a:ea typeface="Montserrat" charset="0"/>
                  <a:cs typeface="Montserrat" charset="0"/>
                </a:rPr>
                <a:t>Title Three</a:t>
              </a:r>
            </a:p>
          </p:txBody>
        </p:sp>
        <p:sp>
          <p:nvSpPr>
            <p:cNvPr id="50" name="TextBox 49">
              <a:extLst>
                <a:ext uri="{FF2B5EF4-FFF2-40B4-BE49-F238E27FC236}">
                  <a16:creationId xmlns:a16="http://schemas.microsoft.com/office/drawing/2014/main" id="{739C8343-8EBC-0249-A505-2B9597148B52}"/>
                </a:ext>
              </a:extLst>
            </p:cNvPr>
            <p:cNvSpPr txBox="1"/>
            <p:nvPr/>
          </p:nvSpPr>
          <p:spPr>
            <a:xfrm>
              <a:off x="18030317" y="9304679"/>
              <a:ext cx="4216023" cy="646330"/>
            </a:xfrm>
            <a:prstGeom prst="rect">
              <a:avLst/>
            </a:prstGeom>
            <a:noFill/>
          </p:spPr>
          <p:txBody>
            <a:bodyPr wrap="square" rtlCol="0">
              <a:spAutoFit/>
            </a:bodyPr>
            <a:lstStyle/>
            <a:p>
              <a:pPr algn="ctr"/>
              <a:r>
                <a:rPr lang="en-US">
                  <a:solidFill>
                    <a:schemeClr val="tx2"/>
                  </a:solidFill>
                  <a:latin typeface="Montserrat" pitchFamily="2" charset="77"/>
                  <a:ea typeface="Montserrat" charset="0"/>
                  <a:cs typeface="Montserrat" charset="0"/>
                </a:rPr>
                <a:t>Title Four</a:t>
              </a:r>
            </a:p>
          </p:txBody>
        </p:sp>
      </p:grpSp>
      <p:sp>
        <p:nvSpPr>
          <p:cNvPr id="58" name="Text Placeholder 17">
            <a:extLst>
              <a:ext uri="{FF2B5EF4-FFF2-40B4-BE49-F238E27FC236}">
                <a16:creationId xmlns:a16="http://schemas.microsoft.com/office/drawing/2014/main" id="{45DC1254-EFA2-0246-97A8-B695C82306D2}"/>
              </a:ext>
            </a:extLst>
          </p:cNvPr>
          <p:cNvSpPr>
            <a:spLocks noGrp="1"/>
          </p:cNvSpPr>
          <p:nvPr>
            <p:ph type="body" sz="quarter" idx="31" hasCustomPrompt="1"/>
          </p:nvPr>
        </p:nvSpPr>
        <p:spPr>
          <a:xfrm>
            <a:off x="893815" y="4265990"/>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3660245" y="4251141"/>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6427562" y="4217367"/>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9193992" y="420251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66" name="Text Placeholder 17">
            <a:extLst>
              <a:ext uri="{FF2B5EF4-FFF2-40B4-BE49-F238E27FC236}">
                <a16:creationId xmlns:a16="http://schemas.microsoft.com/office/drawing/2014/main" id="{BF0A50F1-0099-544E-BA47-5E868B197C6C}"/>
              </a:ext>
            </a:extLst>
          </p:cNvPr>
          <p:cNvSpPr>
            <a:spLocks noGrp="1"/>
          </p:cNvSpPr>
          <p:nvPr>
            <p:ph type="body" sz="quarter" idx="38" hasCustomPrompt="1"/>
          </p:nvPr>
        </p:nvSpPr>
        <p:spPr>
          <a:xfrm>
            <a:off x="904742" y="2534899"/>
            <a:ext cx="2106525" cy="1237497"/>
          </a:xfrm>
        </p:spPr>
        <p:txBody>
          <a:bodyPr/>
          <a:lstStyle>
            <a:lvl1pPr algn="ctr">
              <a:buNone/>
              <a:defRPr sz="3600" b="1" i="0" spc="0">
                <a:solidFill>
                  <a:srgbClr val="7F1C58"/>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15%</a:t>
            </a:r>
            <a:endParaRPr lang="en-US"/>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3697637" y="2534899"/>
            <a:ext cx="2106525" cy="1237497"/>
          </a:xfrm>
        </p:spPr>
        <p:txBody>
          <a:bodyPr/>
          <a:lstStyle>
            <a:lvl1pPr algn="ctr">
              <a:buNone/>
              <a:defRPr sz="3600" b="1" i="0" spc="0">
                <a:solidFill>
                  <a:srgbClr val="B41F7A"/>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75%</a:t>
            </a:r>
            <a:endParaRPr lang="en-US"/>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6477675" y="2534899"/>
            <a:ext cx="2106525" cy="1237497"/>
          </a:xfrm>
        </p:spPr>
        <p:txBody>
          <a:bodyPr/>
          <a:lstStyle>
            <a:lvl1pPr algn="ctr">
              <a:buNone/>
              <a:defRPr sz="3600" b="1" i="0" spc="0">
                <a:solidFill>
                  <a:srgbClr val="F16924"/>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40%</a:t>
            </a:r>
            <a:endParaRPr lang="en-US"/>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9270570" y="2534899"/>
            <a:ext cx="2106525" cy="1237497"/>
          </a:xfrm>
        </p:spPr>
        <p:txBody>
          <a:bodyPr/>
          <a:lstStyle>
            <a:lvl1pPr algn="ctr">
              <a:buNone/>
              <a:defRPr sz="3600" b="1" i="0" spc="0">
                <a:solidFill>
                  <a:srgbClr val="EDA13E"/>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60%</a:t>
            </a:r>
            <a:endParaRPr lang="en-US"/>
          </a:p>
        </p:txBody>
      </p:sp>
      <p:sp>
        <p:nvSpPr>
          <p:cNvPr id="26" name="Text Placeholder 23">
            <a:extLst>
              <a:ext uri="{FF2B5EF4-FFF2-40B4-BE49-F238E27FC236}">
                <a16:creationId xmlns:a16="http://schemas.microsoft.com/office/drawing/2014/main" id="{01456C76-F262-BA4E-8DBF-271FB5AB0315}"/>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a:t>Heading</a:t>
            </a:r>
          </a:p>
        </p:txBody>
      </p:sp>
      <p:sp>
        <p:nvSpPr>
          <p:cNvPr id="22" name="Rectangle 21">
            <a:extLst>
              <a:ext uri="{FF2B5EF4-FFF2-40B4-BE49-F238E27FC236}">
                <a16:creationId xmlns:a16="http://schemas.microsoft.com/office/drawing/2014/main" id="{FCB3897B-0335-7248-B31A-4A58E77FE66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3B8F62A7-D6C3-704B-B4D0-6F75FD2E4E4B}"/>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317595" y="6342038"/>
            <a:ext cx="1300365" cy="144173"/>
          </a:xfrm>
          <a:prstGeom prst="rect">
            <a:avLst/>
          </a:prstGeom>
        </p:spPr>
      </p:pic>
    </p:spTree>
    <p:extLst>
      <p:ext uri="{BB962C8B-B14F-4D97-AF65-F5344CB8AC3E}">
        <p14:creationId xmlns:p14="http://schemas.microsoft.com/office/powerpoint/2010/main" val="1903704413"/>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ercentage graph x 3">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2282521" y="1805252"/>
            <a:ext cx="7491958" cy="1805615"/>
            <a:chOff x="7490990" y="4949396"/>
            <a:chExt cx="14519185" cy="3790686"/>
          </a:xfrm>
        </p:grpSpPr>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a:solidFill>
                  <a:schemeClr val="lt1"/>
                </a:solidFill>
                <a:latin typeface="Montserrat Light" charset="0"/>
                <a:ea typeface="Montserrat Light" charset="0"/>
                <a:cs typeface="Montserrat Light" charset="0"/>
                <a:sym typeface="Calibri" panose="020F0502020204030204"/>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a:solidFill>
                  <a:schemeClr val="lt1"/>
                </a:solidFill>
                <a:latin typeface="Montserrat Light" charset="0"/>
                <a:ea typeface="Montserrat Light" charset="0"/>
                <a:cs typeface="Montserrat Light" charset="0"/>
                <a:sym typeface="Calibri" panose="020F0502020204030204"/>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6"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a:solidFill>
                  <a:schemeClr val="lt1"/>
                </a:solidFill>
                <a:latin typeface="Montserrat Light" charset="0"/>
                <a:ea typeface="Montserrat Light" charset="0"/>
                <a:cs typeface="Montserrat Light" charset="0"/>
                <a:sym typeface="Calibri" panose="020F0502020204030204"/>
              </a:endParaRPr>
            </a:p>
          </p:txBody>
        </p:sp>
      </p:gr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2214217" y="4216262"/>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4981534" y="418248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7747964" y="4167639"/>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2251609" y="2500020"/>
            <a:ext cx="2106525" cy="1237497"/>
          </a:xfrm>
        </p:spPr>
        <p:txBody>
          <a:bodyPr/>
          <a:lstStyle>
            <a:lvl1pPr algn="ctr">
              <a:buNone/>
              <a:defRPr sz="36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75%</a:t>
            </a:r>
            <a:endParaRPr lang="en-US"/>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5031647" y="2500020"/>
            <a:ext cx="2106525" cy="1237497"/>
          </a:xfrm>
        </p:spPr>
        <p:txBody>
          <a:bodyPr/>
          <a:lstStyle>
            <a:lvl1pPr algn="ctr">
              <a:buNone/>
              <a:defRPr sz="36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40%</a:t>
            </a:r>
            <a:endParaRPr lang="en-US"/>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7824542" y="2500020"/>
            <a:ext cx="2106525" cy="1237497"/>
          </a:xfrm>
        </p:spPr>
        <p:txBody>
          <a:bodyPr/>
          <a:lstStyle>
            <a:lvl1pPr algn="ctr">
              <a:buNone/>
              <a:defRPr sz="36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60%</a:t>
            </a:r>
            <a:endParaRPr lang="en-US"/>
          </a:p>
        </p:txBody>
      </p:sp>
      <p:sp>
        <p:nvSpPr>
          <p:cNvPr id="20" name="Text Placeholder 23">
            <a:extLst>
              <a:ext uri="{FF2B5EF4-FFF2-40B4-BE49-F238E27FC236}">
                <a16:creationId xmlns:a16="http://schemas.microsoft.com/office/drawing/2014/main" id="{BEB2F77E-FE48-FF4C-81F1-260AA71B0618}"/>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a:t>Heading</a:t>
            </a:r>
          </a:p>
        </p:txBody>
      </p:sp>
      <p:sp>
        <p:nvSpPr>
          <p:cNvPr id="17" name="Rectangle 16">
            <a:extLst>
              <a:ext uri="{FF2B5EF4-FFF2-40B4-BE49-F238E27FC236}">
                <a16:creationId xmlns:a16="http://schemas.microsoft.com/office/drawing/2014/main" id="{3D2CF5BA-2EEA-454D-AD82-A7AF3CF37F5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8" name="Picture 17" descr="Logo&#10;&#10;Description automatically generated">
            <a:extLst>
              <a:ext uri="{FF2B5EF4-FFF2-40B4-BE49-F238E27FC236}">
                <a16:creationId xmlns:a16="http://schemas.microsoft.com/office/drawing/2014/main" id="{9D84D82E-1D77-4342-93C5-18F17738E0F5}"/>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317595" y="6342038"/>
            <a:ext cx="1300365" cy="144173"/>
          </a:xfrm>
          <a:prstGeom prst="rect">
            <a:avLst/>
          </a:prstGeom>
        </p:spPr>
      </p:pic>
    </p:spTree>
    <p:extLst>
      <p:ext uri="{BB962C8B-B14F-4D97-AF65-F5344CB8AC3E}">
        <p14:creationId xmlns:p14="http://schemas.microsoft.com/office/powerpoint/2010/main" val="1902107688"/>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ircle icon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1BCDD55-1DF7-884A-BB9D-948AA2579F83}"/>
              </a:ext>
            </a:extLst>
          </p:cNvPr>
          <p:cNvGrpSpPr/>
          <p:nvPr userDrawn="1"/>
        </p:nvGrpSpPr>
        <p:grpSpPr>
          <a:xfrm flipH="1">
            <a:off x="8729578" y="863758"/>
            <a:ext cx="3462422" cy="4621568"/>
            <a:chOff x="1333421" y="1575267"/>
            <a:chExt cx="7926559" cy="10580207"/>
          </a:xfrm>
        </p:grpSpPr>
        <p:sp>
          <p:nvSpPr>
            <p:cNvPr id="3" name="Freeform 360">
              <a:extLst>
                <a:ext uri="{FF2B5EF4-FFF2-40B4-BE49-F238E27FC236}">
                  <a16:creationId xmlns:a16="http://schemas.microsoft.com/office/drawing/2014/main" id="{444920D1-2F08-AC4B-8699-90F0CFC61A19}"/>
                </a:ext>
              </a:extLst>
            </p:cNvPr>
            <p:cNvSpPr>
              <a:spLocks noChangeArrowheads="1"/>
            </p:cNvSpPr>
            <p:nvPr/>
          </p:nvSpPr>
          <p:spPr bwMode="auto">
            <a:xfrm>
              <a:off x="5564524" y="5167524"/>
              <a:ext cx="1120431" cy="3380949"/>
            </a:xfrm>
            <a:custGeom>
              <a:avLst/>
              <a:gdLst>
                <a:gd name="T0" fmla="*/ 0 w 1005"/>
                <a:gd name="T1" fmla="*/ 2794 h 3034"/>
                <a:gd name="T2" fmla="*/ 0 w 1005"/>
                <a:gd name="T3" fmla="*/ 2794 h 3034"/>
                <a:gd name="T4" fmla="*/ 16 w 1005"/>
                <a:gd name="T5" fmla="*/ 2738 h 3034"/>
                <a:gd name="T6" fmla="*/ 207 w 1005"/>
                <a:gd name="T7" fmla="*/ 1520 h 3034"/>
                <a:gd name="T8" fmla="*/ 16 w 1005"/>
                <a:gd name="T9" fmla="*/ 294 h 3034"/>
                <a:gd name="T10" fmla="*/ 0 w 1005"/>
                <a:gd name="T11" fmla="*/ 247 h 3034"/>
                <a:gd name="T12" fmla="*/ 757 w 1005"/>
                <a:gd name="T13" fmla="*/ 0 h 3034"/>
                <a:gd name="T14" fmla="*/ 773 w 1005"/>
                <a:gd name="T15" fmla="*/ 48 h 3034"/>
                <a:gd name="T16" fmla="*/ 1004 w 1005"/>
                <a:gd name="T17" fmla="*/ 1520 h 3034"/>
                <a:gd name="T18" fmla="*/ 773 w 1005"/>
                <a:gd name="T19" fmla="*/ 2985 h 3034"/>
                <a:gd name="T20" fmla="*/ 757 w 1005"/>
                <a:gd name="T21" fmla="*/ 3033 h 3034"/>
                <a:gd name="T22" fmla="*/ 0 w 1005"/>
                <a:gd name="T23" fmla="*/ 2794 h 3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4" h="3034">
                  <a:moveTo>
                    <a:pt x="0" y="2794"/>
                  </a:moveTo>
                  <a:lnTo>
                    <a:pt x="0" y="2794"/>
                  </a:lnTo>
                  <a:cubicBezTo>
                    <a:pt x="16" y="2738"/>
                    <a:pt x="16" y="2738"/>
                    <a:pt x="16" y="2738"/>
                  </a:cubicBezTo>
                  <a:cubicBezTo>
                    <a:pt x="144" y="2348"/>
                    <a:pt x="207" y="1934"/>
                    <a:pt x="207" y="1520"/>
                  </a:cubicBezTo>
                  <a:cubicBezTo>
                    <a:pt x="207" y="1099"/>
                    <a:pt x="144" y="693"/>
                    <a:pt x="16" y="294"/>
                  </a:cubicBezTo>
                  <a:cubicBezTo>
                    <a:pt x="0" y="247"/>
                    <a:pt x="0" y="247"/>
                    <a:pt x="0" y="247"/>
                  </a:cubicBezTo>
                  <a:cubicBezTo>
                    <a:pt x="757" y="0"/>
                    <a:pt x="757" y="0"/>
                    <a:pt x="757" y="0"/>
                  </a:cubicBezTo>
                  <a:cubicBezTo>
                    <a:pt x="773" y="48"/>
                    <a:pt x="773" y="48"/>
                    <a:pt x="773" y="48"/>
                  </a:cubicBezTo>
                  <a:cubicBezTo>
                    <a:pt x="932" y="526"/>
                    <a:pt x="1004" y="1019"/>
                    <a:pt x="1004" y="1520"/>
                  </a:cubicBezTo>
                  <a:cubicBezTo>
                    <a:pt x="1004" y="2022"/>
                    <a:pt x="932" y="2515"/>
                    <a:pt x="773" y="2985"/>
                  </a:cubicBezTo>
                  <a:cubicBezTo>
                    <a:pt x="757" y="3033"/>
                    <a:pt x="757" y="3033"/>
                    <a:pt x="757" y="3033"/>
                  </a:cubicBezTo>
                  <a:lnTo>
                    <a:pt x="0" y="2794"/>
                  </a:lnTo>
                </a:path>
              </a:pathLst>
            </a:custGeom>
            <a:solidFill>
              <a:srgbClr val="F16924"/>
            </a:solidFill>
            <a:ln>
              <a:noFill/>
            </a:ln>
            <a:effectLst/>
          </p:spPr>
          <p:txBody>
            <a:bodyPr wrap="none" anchor="ctr"/>
            <a:lstStyle/>
            <a:p>
              <a:endParaRPr lang="en-US"/>
            </a:p>
          </p:txBody>
        </p:sp>
        <p:sp>
          <p:nvSpPr>
            <p:cNvPr id="4" name="Freeform 362">
              <a:extLst>
                <a:ext uri="{FF2B5EF4-FFF2-40B4-BE49-F238E27FC236}">
                  <a16:creationId xmlns:a16="http://schemas.microsoft.com/office/drawing/2014/main" id="{7CCCF227-4B75-8E43-B1E3-6224CB19C115}"/>
                </a:ext>
              </a:extLst>
            </p:cNvPr>
            <p:cNvSpPr>
              <a:spLocks noChangeArrowheads="1"/>
            </p:cNvSpPr>
            <p:nvPr/>
          </p:nvSpPr>
          <p:spPr bwMode="auto">
            <a:xfrm>
              <a:off x="1333421" y="1575267"/>
              <a:ext cx="3223696" cy="1759273"/>
            </a:xfrm>
            <a:custGeom>
              <a:avLst/>
              <a:gdLst>
                <a:gd name="T0" fmla="*/ 2381 w 2891"/>
                <a:gd name="T1" fmla="*/ 1545 h 1577"/>
                <a:gd name="T2" fmla="*/ 2381 w 2891"/>
                <a:gd name="T3" fmla="*/ 1545 h 1577"/>
                <a:gd name="T4" fmla="*/ 55 w 2891"/>
                <a:gd name="T5" fmla="*/ 796 h 1577"/>
                <a:gd name="T6" fmla="*/ 0 w 2891"/>
                <a:gd name="T7" fmla="*/ 796 h 1577"/>
                <a:gd name="T8" fmla="*/ 0 w 2891"/>
                <a:gd name="T9" fmla="*/ 0 h 1577"/>
                <a:gd name="T10" fmla="*/ 55 w 2891"/>
                <a:gd name="T11" fmla="*/ 0 h 1577"/>
                <a:gd name="T12" fmla="*/ 2851 w 2891"/>
                <a:gd name="T13" fmla="*/ 900 h 1577"/>
                <a:gd name="T14" fmla="*/ 2890 w 2891"/>
                <a:gd name="T15" fmla="*/ 931 h 1577"/>
                <a:gd name="T16" fmla="*/ 2420 w 2891"/>
                <a:gd name="T17" fmla="*/ 1576 h 1577"/>
                <a:gd name="T18" fmla="*/ 2381 w 2891"/>
                <a:gd name="T19" fmla="*/ 1545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77">
                  <a:moveTo>
                    <a:pt x="2381" y="1545"/>
                  </a:moveTo>
                  <a:lnTo>
                    <a:pt x="2381" y="1545"/>
                  </a:lnTo>
                  <a:cubicBezTo>
                    <a:pt x="1704" y="1051"/>
                    <a:pt x="900" y="796"/>
                    <a:pt x="55" y="796"/>
                  </a:cubicBezTo>
                  <a:cubicBezTo>
                    <a:pt x="0" y="796"/>
                    <a:pt x="0" y="796"/>
                    <a:pt x="0" y="796"/>
                  </a:cubicBezTo>
                  <a:cubicBezTo>
                    <a:pt x="0" y="0"/>
                    <a:pt x="0" y="0"/>
                    <a:pt x="0" y="0"/>
                  </a:cubicBezTo>
                  <a:cubicBezTo>
                    <a:pt x="55" y="0"/>
                    <a:pt x="55" y="0"/>
                    <a:pt x="55" y="0"/>
                  </a:cubicBezTo>
                  <a:cubicBezTo>
                    <a:pt x="1067" y="0"/>
                    <a:pt x="2030" y="311"/>
                    <a:pt x="2851" y="900"/>
                  </a:cubicBezTo>
                  <a:cubicBezTo>
                    <a:pt x="2890" y="931"/>
                    <a:pt x="2890" y="931"/>
                    <a:pt x="2890" y="931"/>
                  </a:cubicBezTo>
                  <a:cubicBezTo>
                    <a:pt x="2420" y="1576"/>
                    <a:pt x="2420" y="1576"/>
                    <a:pt x="2420" y="1576"/>
                  </a:cubicBezTo>
                  <a:lnTo>
                    <a:pt x="2381" y="1545"/>
                  </a:lnTo>
                </a:path>
              </a:pathLst>
            </a:custGeom>
            <a:solidFill>
              <a:srgbClr val="7F1C58"/>
            </a:solidFill>
            <a:ln>
              <a:noFill/>
            </a:ln>
            <a:effectLst/>
          </p:spPr>
          <p:txBody>
            <a:bodyPr wrap="none" anchor="ctr"/>
            <a:lstStyle/>
            <a:p>
              <a:endParaRPr lang="en-US"/>
            </a:p>
          </p:txBody>
        </p:sp>
        <p:sp>
          <p:nvSpPr>
            <p:cNvPr id="5" name="Freeform 364">
              <a:extLst>
                <a:ext uri="{FF2B5EF4-FFF2-40B4-BE49-F238E27FC236}">
                  <a16:creationId xmlns:a16="http://schemas.microsoft.com/office/drawing/2014/main" id="{202302F4-CC55-1B49-AF69-5DF0D0B8B1FF}"/>
                </a:ext>
              </a:extLst>
            </p:cNvPr>
            <p:cNvSpPr>
              <a:spLocks noChangeArrowheads="1"/>
            </p:cNvSpPr>
            <p:nvPr/>
          </p:nvSpPr>
          <p:spPr bwMode="auto">
            <a:xfrm>
              <a:off x="3933019" y="2543357"/>
              <a:ext cx="2511140" cy="3017301"/>
            </a:xfrm>
            <a:custGeom>
              <a:avLst/>
              <a:gdLst>
                <a:gd name="T0" fmla="*/ 1481 w 2255"/>
                <a:gd name="T1" fmla="*/ 2651 h 2708"/>
                <a:gd name="T2" fmla="*/ 1481 w 2255"/>
                <a:gd name="T3" fmla="*/ 2651 h 2708"/>
                <a:gd name="T4" fmla="*/ 916 w 2255"/>
                <a:gd name="T5" fmla="*/ 1553 h 2708"/>
                <a:gd name="T6" fmla="*/ 48 w 2255"/>
                <a:gd name="T7" fmla="*/ 677 h 2708"/>
                <a:gd name="T8" fmla="*/ 0 w 2255"/>
                <a:gd name="T9" fmla="*/ 645 h 2708"/>
                <a:gd name="T10" fmla="*/ 470 w 2255"/>
                <a:gd name="T11" fmla="*/ 0 h 2708"/>
                <a:gd name="T12" fmla="*/ 518 w 2255"/>
                <a:gd name="T13" fmla="*/ 32 h 2708"/>
                <a:gd name="T14" fmla="*/ 1561 w 2255"/>
                <a:gd name="T15" fmla="*/ 1083 h 2708"/>
                <a:gd name="T16" fmla="*/ 2238 w 2255"/>
                <a:gd name="T17" fmla="*/ 2405 h 2708"/>
                <a:gd name="T18" fmla="*/ 2254 w 2255"/>
                <a:gd name="T19" fmla="*/ 2460 h 2708"/>
                <a:gd name="T20" fmla="*/ 1497 w 2255"/>
                <a:gd name="T21" fmla="*/ 2707 h 2708"/>
                <a:gd name="T22" fmla="*/ 1481 w 2255"/>
                <a:gd name="T23" fmla="*/ 2651 h 2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8">
                  <a:moveTo>
                    <a:pt x="1481" y="2651"/>
                  </a:moveTo>
                  <a:lnTo>
                    <a:pt x="1481" y="2651"/>
                  </a:lnTo>
                  <a:cubicBezTo>
                    <a:pt x="1354" y="2261"/>
                    <a:pt x="1163" y="1887"/>
                    <a:pt x="916" y="1553"/>
                  </a:cubicBezTo>
                  <a:cubicBezTo>
                    <a:pt x="669" y="1218"/>
                    <a:pt x="382" y="923"/>
                    <a:pt x="48" y="677"/>
                  </a:cubicBezTo>
                  <a:cubicBezTo>
                    <a:pt x="0" y="645"/>
                    <a:pt x="0" y="645"/>
                    <a:pt x="0" y="645"/>
                  </a:cubicBezTo>
                  <a:cubicBezTo>
                    <a:pt x="470" y="0"/>
                    <a:pt x="470" y="0"/>
                    <a:pt x="470" y="0"/>
                  </a:cubicBezTo>
                  <a:cubicBezTo>
                    <a:pt x="518" y="32"/>
                    <a:pt x="518" y="32"/>
                    <a:pt x="518" y="32"/>
                  </a:cubicBezTo>
                  <a:cubicBezTo>
                    <a:pt x="916" y="326"/>
                    <a:pt x="1266" y="677"/>
                    <a:pt x="1561" y="1083"/>
                  </a:cubicBezTo>
                  <a:cubicBezTo>
                    <a:pt x="1855" y="1489"/>
                    <a:pt x="2086" y="1935"/>
                    <a:pt x="2238" y="2405"/>
                  </a:cubicBezTo>
                  <a:cubicBezTo>
                    <a:pt x="2254" y="2460"/>
                    <a:pt x="2254" y="2460"/>
                    <a:pt x="2254" y="2460"/>
                  </a:cubicBezTo>
                  <a:cubicBezTo>
                    <a:pt x="1497" y="2707"/>
                    <a:pt x="1497" y="2707"/>
                    <a:pt x="1497" y="2707"/>
                  </a:cubicBezTo>
                  <a:lnTo>
                    <a:pt x="1481" y="2651"/>
                  </a:lnTo>
                </a:path>
              </a:pathLst>
            </a:custGeom>
            <a:solidFill>
              <a:srgbClr val="B41F7A"/>
            </a:solidFill>
            <a:ln>
              <a:noFill/>
            </a:ln>
            <a:effectLst/>
          </p:spPr>
          <p:txBody>
            <a:bodyPr wrap="none" anchor="ctr"/>
            <a:lstStyle/>
            <a:p>
              <a:endParaRPr lang="en-US"/>
            </a:p>
          </p:txBody>
        </p:sp>
        <p:sp>
          <p:nvSpPr>
            <p:cNvPr id="6" name="Freeform 366">
              <a:extLst>
                <a:ext uri="{FF2B5EF4-FFF2-40B4-BE49-F238E27FC236}">
                  <a16:creationId xmlns:a16="http://schemas.microsoft.com/office/drawing/2014/main" id="{CB9C6474-133B-844D-9BD8-3E0B449C8704}"/>
                </a:ext>
              </a:extLst>
            </p:cNvPr>
            <p:cNvSpPr>
              <a:spLocks noChangeArrowheads="1"/>
            </p:cNvSpPr>
            <p:nvPr/>
          </p:nvSpPr>
          <p:spPr bwMode="auto">
            <a:xfrm>
              <a:off x="1333421" y="10386373"/>
              <a:ext cx="3223696" cy="1769101"/>
            </a:xfrm>
            <a:custGeom>
              <a:avLst/>
              <a:gdLst>
                <a:gd name="T0" fmla="*/ 0 w 2891"/>
                <a:gd name="T1" fmla="*/ 1585 h 1586"/>
                <a:gd name="T2" fmla="*/ 0 w 2891"/>
                <a:gd name="T3" fmla="*/ 1585 h 1586"/>
                <a:gd name="T4" fmla="*/ 0 w 2891"/>
                <a:gd name="T5" fmla="*/ 788 h 1586"/>
                <a:gd name="T6" fmla="*/ 55 w 2891"/>
                <a:gd name="T7" fmla="*/ 788 h 1586"/>
                <a:gd name="T8" fmla="*/ 2381 w 2891"/>
                <a:gd name="T9" fmla="*/ 32 h 1586"/>
                <a:gd name="T10" fmla="*/ 2420 w 2891"/>
                <a:gd name="T11" fmla="*/ 0 h 1586"/>
                <a:gd name="T12" fmla="*/ 2890 w 2891"/>
                <a:gd name="T13" fmla="*/ 645 h 1586"/>
                <a:gd name="T14" fmla="*/ 2851 w 2891"/>
                <a:gd name="T15" fmla="*/ 677 h 1586"/>
                <a:gd name="T16" fmla="*/ 55 w 2891"/>
                <a:gd name="T17" fmla="*/ 1585 h 1586"/>
                <a:gd name="T18" fmla="*/ 0 w 2891"/>
                <a:gd name="T19" fmla="*/ 1585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86">
                  <a:moveTo>
                    <a:pt x="0" y="1585"/>
                  </a:moveTo>
                  <a:lnTo>
                    <a:pt x="0" y="1585"/>
                  </a:lnTo>
                  <a:cubicBezTo>
                    <a:pt x="0" y="788"/>
                    <a:pt x="0" y="788"/>
                    <a:pt x="0" y="788"/>
                  </a:cubicBezTo>
                  <a:cubicBezTo>
                    <a:pt x="55" y="788"/>
                    <a:pt x="55" y="788"/>
                    <a:pt x="55" y="788"/>
                  </a:cubicBezTo>
                  <a:cubicBezTo>
                    <a:pt x="900" y="788"/>
                    <a:pt x="1704" y="526"/>
                    <a:pt x="2381" y="32"/>
                  </a:cubicBezTo>
                  <a:cubicBezTo>
                    <a:pt x="2420" y="0"/>
                    <a:pt x="2420" y="0"/>
                    <a:pt x="2420" y="0"/>
                  </a:cubicBezTo>
                  <a:cubicBezTo>
                    <a:pt x="2890" y="645"/>
                    <a:pt x="2890" y="645"/>
                    <a:pt x="2890" y="645"/>
                  </a:cubicBezTo>
                  <a:cubicBezTo>
                    <a:pt x="2851" y="677"/>
                    <a:pt x="2851" y="677"/>
                    <a:pt x="2851" y="677"/>
                  </a:cubicBezTo>
                  <a:cubicBezTo>
                    <a:pt x="2030" y="1274"/>
                    <a:pt x="1067" y="1585"/>
                    <a:pt x="55" y="1585"/>
                  </a:cubicBezTo>
                  <a:lnTo>
                    <a:pt x="0" y="1585"/>
                  </a:lnTo>
                </a:path>
              </a:pathLst>
            </a:custGeom>
            <a:solidFill>
              <a:srgbClr val="B41F7A"/>
            </a:solidFill>
            <a:ln>
              <a:noFill/>
            </a:ln>
            <a:effectLst/>
          </p:spPr>
          <p:txBody>
            <a:bodyPr wrap="none" anchor="ctr"/>
            <a:lstStyle/>
            <a:p>
              <a:endParaRPr lang="en-US"/>
            </a:p>
          </p:txBody>
        </p:sp>
        <p:sp>
          <p:nvSpPr>
            <p:cNvPr id="7" name="Freeform 368">
              <a:extLst>
                <a:ext uri="{FF2B5EF4-FFF2-40B4-BE49-F238E27FC236}">
                  <a16:creationId xmlns:a16="http://schemas.microsoft.com/office/drawing/2014/main" id="{0A55155F-2169-8148-86C8-080AF2EBA8D3}"/>
                </a:ext>
              </a:extLst>
            </p:cNvPr>
            <p:cNvSpPr>
              <a:spLocks noChangeArrowheads="1"/>
            </p:cNvSpPr>
            <p:nvPr/>
          </p:nvSpPr>
          <p:spPr bwMode="auto">
            <a:xfrm>
              <a:off x="3933019" y="8165168"/>
              <a:ext cx="2511140" cy="3012388"/>
            </a:xfrm>
            <a:custGeom>
              <a:avLst/>
              <a:gdLst>
                <a:gd name="T0" fmla="*/ 0 w 2255"/>
                <a:gd name="T1" fmla="*/ 2055 h 2701"/>
                <a:gd name="T2" fmla="*/ 0 w 2255"/>
                <a:gd name="T3" fmla="*/ 2055 h 2701"/>
                <a:gd name="T4" fmla="*/ 48 w 2255"/>
                <a:gd name="T5" fmla="*/ 2023 h 2701"/>
                <a:gd name="T6" fmla="*/ 916 w 2255"/>
                <a:gd name="T7" fmla="*/ 1155 h 2701"/>
                <a:gd name="T8" fmla="*/ 1481 w 2255"/>
                <a:gd name="T9" fmla="*/ 48 h 2701"/>
                <a:gd name="T10" fmla="*/ 1497 w 2255"/>
                <a:gd name="T11" fmla="*/ 0 h 2701"/>
                <a:gd name="T12" fmla="*/ 2254 w 2255"/>
                <a:gd name="T13" fmla="*/ 247 h 2701"/>
                <a:gd name="T14" fmla="*/ 2238 w 2255"/>
                <a:gd name="T15" fmla="*/ 295 h 2701"/>
                <a:gd name="T16" fmla="*/ 1561 w 2255"/>
                <a:gd name="T17" fmla="*/ 1625 h 2701"/>
                <a:gd name="T18" fmla="*/ 518 w 2255"/>
                <a:gd name="T19" fmla="*/ 2668 h 2701"/>
                <a:gd name="T20" fmla="*/ 470 w 2255"/>
                <a:gd name="T21" fmla="*/ 2700 h 2701"/>
                <a:gd name="T22" fmla="*/ 0 w 2255"/>
                <a:gd name="T23" fmla="*/ 2055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1">
                  <a:moveTo>
                    <a:pt x="0" y="2055"/>
                  </a:moveTo>
                  <a:lnTo>
                    <a:pt x="0" y="2055"/>
                  </a:lnTo>
                  <a:cubicBezTo>
                    <a:pt x="48" y="2023"/>
                    <a:pt x="48" y="2023"/>
                    <a:pt x="48" y="2023"/>
                  </a:cubicBezTo>
                  <a:cubicBezTo>
                    <a:pt x="382" y="1784"/>
                    <a:pt x="669" y="1489"/>
                    <a:pt x="916" y="1155"/>
                  </a:cubicBezTo>
                  <a:cubicBezTo>
                    <a:pt x="1163" y="820"/>
                    <a:pt x="1354" y="446"/>
                    <a:pt x="1481" y="48"/>
                  </a:cubicBezTo>
                  <a:cubicBezTo>
                    <a:pt x="1497" y="0"/>
                    <a:pt x="1497" y="0"/>
                    <a:pt x="1497" y="0"/>
                  </a:cubicBezTo>
                  <a:cubicBezTo>
                    <a:pt x="2254" y="247"/>
                    <a:pt x="2254" y="247"/>
                    <a:pt x="2254" y="247"/>
                  </a:cubicBezTo>
                  <a:cubicBezTo>
                    <a:pt x="2238" y="295"/>
                    <a:pt x="2238" y="295"/>
                    <a:pt x="2238" y="295"/>
                  </a:cubicBezTo>
                  <a:cubicBezTo>
                    <a:pt x="2086" y="773"/>
                    <a:pt x="1855" y="1219"/>
                    <a:pt x="1561" y="1625"/>
                  </a:cubicBezTo>
                  <a:cubicBezTo>
                    <a:pt x="1266" y="2023"/>
                    <a:pt x="916" y="2381"/>
                    <a:pt x="518" y="2668"/>
                  </a:cubicBezTo>
                  <a:cubicBezTo>
                    <a:pt x="470" y="2700"/>
                    <a:pt x="470" y="2700"/>
                    <a:pt x="470" y="2700"/>
                  </a:cubicBezTo>
                  <a:lnTo>
                    <a:pt x="0" y="2055"/>
                  </a:lnTo>
                </a:path>
              </a:pathLst>
            </a:custGeom>
            <a:solidFill>
              <a:srgbClr val="EDA13E"/>
            </a:solidFill>
            <a:ln>
              <a:noFill/>
            </a:ln>
            <a:effectLst/>
          </p:spPr>
          <p:txBody>
            <a:bodyPr wrap="none" anchor="ctr"/>
            <a:lstStyle/>
            <a:p>
              <a:endParaRPr lang="en-US"/>
            </a:p>
          </p:txBody>
        </p:sp>
        <p:sp>
          <p:nvSpPr>
            <p:cNvPr id="8" name="Line 370">
              <a:extLst>
                <a:ext uri="{FF2B5EF4-FFF2-40B4-BE49-F238E27FC236}">
                  <a16:creationId xmlns:a16="http://schemas.microsoft.com/office/drawing/2014/main" id="{32F6DF3F-2938-BD4D-BF51-EE02DE58C7BC}"/>
                </a:ext>
              </a:extLst>
            </p:cNvPr>
            <p:cNvSpPr>
              <a:spLocks noChangeShapeType="1"/>
            </p:cNvSpPr>
            <p:nvPr/>
          </p:nvSpPr>
          <p:spPr bwMode="auto">
            <a:xfrm flipH="1">
              <a:off x="6134567" y="1678463"/>
              <a:ext cx="152338" cy="4916"/>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9" name="Line 371">
              <a:extLst>
                <a:ext uri="{FF2B5EF4-FFF2-40B4-BE49-F238E27FC236}">
                  <a16:creationId xmlns:a16="http://schemas.microsoft.com/office/drawing/2014/main" id="{FD695B73-B2F8-604F-9235-05D969A31DC9}"/>
                </a:ext>
              </a:extLst>
            </p:cNvPr>
            <p:cNvSpPr>
              <a:spLocks noChangeShapeType="1"/>
            </p:cNvSpPr>
            <p:nvPr/>
          </p:nvSpPr>
          <p:spPr bwMode="auto">
            <a:xfrm flipH="1">
              <a:off x="5854458" y="1678463"/>
              <a:ext cx="152341" cy="4916"/>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0" name="Line 372">
              <a:extLst>
                <a:ext uri="{FF2B5EF4-FFF2-40B4-BE49-F238E27FC236}">
                  <a16:creationId xmlns:a16="http://schemas.microsoft.com/office/drawing/2014/main" id="{CE8F5863-1C31-E94A-872C-236AA0936078}"/>
                </a:ext>
              </a:extLst>
            </p:cNvPr>
            <p:cNvSpPr>
              <a:spLocks noChangeShapeType="1"/>
            </p:cNvSpPr>
            <p:nvPr/>
          </p:nvSpPr>
          <p:spPr bwMode="auto">
            <a:xfrm flipH="1">
              <a:off x="5569436" y="1678463"/>
              <a:ext cx="152341" cy="4916"/>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1" name="Line 373">
              <a:extLst>
                <a:ext uri="{FF2B5EF4-FFF2-40B4-BE49-F238E27FC236}">
                  <a16:creationId xmlns:a16="http://schemas.microsoft.com/office/drawing/2014/main" id="{3F78E116-88BE-424F-8426-F5289049A1C7}"/>
                </a:ext>
              </a:extLst>
            </p:cNvPr>
            <p:cNvSpPr>
              <a:spLocks noChangeShapeType="1"/>
            </p:cNvSpPr>
            <p:nvPr/>
          </p:nvSpPr>
          <p:spPr bwMode="auto">
            <a:xfrm flipH="1">
              <a:off x="5284414" y="1678463"/>
              <a:ext cx="152341" cy="4916"/>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2" name="Line 374">
              <a:extLst>
                <a:ext uri="{FF2B5EF4-FFF2-40B4-BE49-F238E27FC236}">
                  <a16:creationId xmlns:a16="http://schemas.microsoft.com/office/drawing/2014/main" id="{6ECB9C51-5512-D341-8DEE-25BC594A98E2}"/>
                </a:ext>
              </a:extLst>
            </p:cNvPr>
            <p:cNvSpPr>
              <a:spLocks noChangeShapeType="1"/>
            </p:cNvSpPr>
            <p:nvPr/>
          </p:nvSpPr>
          <p:spPr bwMode="auto">
            <a:xfrm flipH="1">
              <a:off x="4999393" y="1678463"/>
              <a:ext cx="152341" cy="4916"/>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3" name="Line 375">
              <a:extLst>
                <a:ext uri="{FF2B5EF4-FFF2-40B4-BE49-F238E27FC236}">
                  <a16:creationId xmlns:a16="http://schemas.microsoft.com/office/drawing/2014/main" id="{60BBF185-F8E8-A64F-9824-29CD57013338}"/>
                </a:ext>
              </a:extLst>
            </p:cNvPr>
            <p:cNvSpPr>
              <a:spLocks noChangeShapeType="1"/>
            </p:cNvSpPr>
            <p:nvPr/>
          </p:nvSpPr>
          <p:spPr bwMode="auto">
            <a:xfrm flipH="1">
              <a:off x="4719286" y="1678463"/>
              <a:ext cx="152338" cy="4916"/>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4" name="Line 376">
              <a:extLst>
                <a:ext uri="{FF2B5EF4-FFF2-40B4-BE49-F238E27FC236}">
                  <a16:creationId xmlns:a16="http://schemas.microsoft.com/office/drawing/2014/main" id="{0B44548D-0436-1B4D-82BA-3F36597C0B2A}"/>
                </a:ext>
              </a:extLst>
            </p:cNvPr>
            <p:cNvSpPr>
              <a:spLocks noChangeShapeType="1"/>
            </p:cNvSpPr>
            <p:nvPr/>
          </p:nvSpPr>
          <p:spPr bwMode="auto">
            <a:xfrm flipH="1">
              <a:off x="4434264" y="1678463"/>
              <a:ext cx="152338" cy="4916"/>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5" name="Line 377">
              <a:extLst>
                <a:ext uri="{FF2B5EF4-FFF2-40B4-BE49-F238E27FC236}">
                  <a16:creationId xmlns:a16="http://schemas.microsoft.com/office/drawing/2014/main" id="{1B930512-8211-0549-8411-C7237814C285}"/>
                </a:ext>
              </a:extLst>
            </p:cNvPr>
            <p:cNvSpPr>
              <a:spLocks noChangeShapeType="1"/>
            </p:cNvSpPr>
            <p:nvPr/>
          </p:nvSpPr>
          <p:spPr bwMode="auto">
            <a:xfrm flipH="1">
              <a:off x="4149243" y="1678463"/>
              <a:ext cx="152338" cy="4916"/>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6" name="Line 378">
              <a:extLst>
                <a:ext uri="{FF2B5EF4-FFF2-40B4-BE49-F238E27FC236}">
                  <a16:creationId xmlns:a16="http://schemas.microsoft.com/office/drawing/2014/main" id="{97AF0131-21D4-1D48-8255-173B0EE6F7FC}"/>
                </a:ext>
              </a:extLst>
            </p:cNvPr>
            <p:cNvSpPr>
              <a:spLocks noChangeShapeType="1"/>
            </p:cNvSpPr>
            <p:nvPr/>
          </p:nvSpPr>
          <p:spPr bwMode="auto">
            <a:xfrm flipH="1">
              <a:off x="3864221" y="1678463"/>
              <a:ext cx="152338" cy="4916"/>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7" name="Freeform 379">
              <a:extLst>
                <a:ext uri="{FF2B5EF4-FFF2-40B4-BE49-F238E27FC236}">
                  <a16:creationId xmlns:a16="http://schemas.microsoft.com/office/drawing/2014/main" id="{E06F29DA-7B97-804D-A43F-12391EF183B4}"/>
                </a:ext>
              </a:extLst>
            </p:cNvPr>
            <p:cNvSpPr>
              <a:spLocks noChangeArrowheads="1"/>
            </p:cNvSpPr>
            <p:nvPr/>
          </p:nvSpPr>
          <p:spPr bwMode="auto">
            <a:xfrm>
              <a:off x="3603768" y="1678463"/>
              <a:ext cx="127768" cy="44229"/>
            </a:xfrm>
            <a:custGeom>
              <a:avLst/>
              <a:gdLst>
                <a:gd name="T0" fmla="*/ 112 w 113"/>
                <a:gd name="T1" fmla="*/ 0 h 41"/>
                <a:gd name="T2" fmla="*/ 40 w 113"/>
                <a:gd name="T3" fmla="*/ 0 h 41"/>
                <a:gd name="T4" fmla="*/ 0 w 113"/>
                <a:gd name="T5" fmla="*/ 40 h 41"/>
              </a:gdLst>
              <a:ahLst/>
              <a:cxnLst>
                <a:cxn ang="0">
                  <a:pos x="T0" y="T1"/>
                </a:cxn>
                <a:cxn ang="0">
                  <a:pos x="T2" y="T3"/>
                </a:cxn>
                <a:cxn ang="0">
                  <a:pos x="T4" y="T5"/>
                </a:cxn>
              </a:cxnLst>
              <a:rect l="0" t="0" r="r" b="b"/>
              <a:pathLst>
                <a:path w="113" h="41">
                  <a:moveTo>
                    <a:pt x="112" y="0"/>
                  </a:moveTo>
                  <a:lnTo>
                    <a:pt x="40" y="0"/>
                  </a:lnTo>
                  <a:lnTo>
                    <a:pt x="0" y="40"/>
                  </a:lnTo>
                </a:path>
              </a:pathLst>
            </a:custGeom>
            <a:noFill/>
            <a:ln w="14400" cap="flat">
              <a:solidFill>
                <a:schemeClr val="bg1">
                  <a:lumMod val="50000"/>
                </a:schemeClr>
              </a:solidFill>
              <a:rou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8" name="Line 380">
              <a:extLst>
                <a:ext uri="{FF2B5EF4-FFF2-40B4-BE49-F238E27FC236}">
                  <a16:creationId xmlns:a16="http://schemas.microsoft.com/office/drawing/2014/main" id="{39489DCB-CD4C-5840-B2C1-7D81D07BE59D}"/>
                </a:ext>
              </a:extLst>
            </p:cNvPr>
            <p:cNvSpPr>
              <a:spLocks noChangeShapeType="1"/>
            </p:cNvSpPr>
            <p:nvPr/>
          </p:nvSpPr>
          <p:spPr bwMode="auto">
            <a:xfrm flipH="1">
              <a:off x="3412117" y="1830804"/>
              <a:ext cx="98283" cy="108112"/>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9" name="Line 381">
              <a:extLst>
                <a:ext uri="{FF2B5EF4-FFF2-40B4-BE49-F238E27FC236}">
                  <a16:creationId xmlns:a16="http://schemas.microsoft.com/office/drawing/2014/main" id="{95643E82-7587-DC49-BC30-C0E6E404B9C4}"/>
                </a:ext>
              </a:extLst>
            </p:cNvPr>
            <p:cNvSpPr>
              <a:spLocks noChangeShapeType="1"/>
            </p:cNvSpPr>
            <p:nvPr/>
          </p:nvSpPr>
          <p:spPr bwMode="auto">
            <a:xfrm>
              <a:off x="5716861" y="3924240"/>
              <a:ext cx="142512"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0" name="Line 382">
              <a:extLst>
                <a:ext uri="{FF2B5EF4-FFF2-40B4-BE49-F238E27FC236}">
                  <a16:creationId xmlns:a16="http://schemas.microsoft.com/office/drawing/2014/main" id="{D358734F-B9C8-BE43-A8DC-AC5B032EB038}"/>
                </a:ext>
              </a:extLst>
            </p:cNvPr>
            <p:cNvSpPr>
              <a:spLocks noChangeShapeType="1"/>
            </p:cNvSpPr>
            <p:nvPr/>
          </p:nvSpPr>
          <p:spPr bwMode="auto">
            <a:xfrm>
              <a:off x="6001883" y="3924240"/>
              <a:ext cx="142512"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1" name="Line 383">
              <a:extLst>
                <a:ext uri="{FF2B5EF4-FFF2-40B4-BE49-F238E27FC236}">
                  <a16:creationId xmlns:a16="http://schemas.microsoft.com/office/drawing/2014/main" id="{AA567CB0-C7D0-4546-8B67-2094E0252F16}"/>
                </a:ext>
              </a:extLst>
            </p:cNvPr>
            <p:cNvSpPr>
              <a:spLocks noChangeShapeType="1"/>
            </p:cNvSpPr>
            <p:nvPr/>
          </p:nvSpPr>
          <p:spPr bwMode="auto">
            <a:xfrm>
              <a:off x="6281993" y="3924240"/>
              <a:ext cx="142509"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2" name="Line 384">
              <a:extLst>
                <a:ext uri="{FF2B5EF4-FFF2-40B4-BE49-F238E27FC236}">
                  <a16:creationId xmlns:a16="http://schemas.microsoft.com/office/drawing/2014/main" id="{EA681CC9-5ABA-3248-A4A7-CB9CD72FD3B6}"/>
                </a:ext>
              </a:extLst>
            </p:cNvPr>
            <p:cNvSpPr>
              <a:spLocks noChangeShapeType="1"/>
            </p:cNvSpPr>
            <p:nvPr/>
          </p:nvSpPr>
          <p:spPr bwMode="auto">
            <a:xfrm>
              <a:off x="6567014" y="3924240"/>
              <a:ext cx="142509"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3" name="Line 385">
              <a:extLst>
                <a:ext uri="{FF2B5EF4-FFF2-40B4-BE49-F238E27FC236}">
                  <a16:creationId xmlns:a16="http://schemas.microsoft.com/office/drawing/2014/main" id="{91F26741-DBCE-384F-B4F7-C04E11D09316}"/>
                </a:ext>
              </a:extLst>
            </p:cNvPr>
            <p:cNvSpPr>
              <a:spLocks noChangeShapeType="1"/>
            </p:cNvSpPr>
            <p:nvPr/>
          </p:nvSpPr>
          <p:spPr bwMode="auto">
            <a:xfrm>
              <a:off x="6852036" y="3924240"/>
              <a:ext cx="142509"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4" name="Line 386">
              <a:extLst>
                <a:ext uri="{FF2B5EF4-FFF2-40B4-BE49-F238E27FC236}">
                  <a16:creationId xmlns:a16="http://schemas.microsoft.com/office/drawing/2014/main" id="{6F66E14C-E7D6-D147-95EB-7B8BEE4DDFBE}"/>
                </a:ext>
              </a:extLst>
            </p:cNvPr>
            <p:cNvSpPr>
              <a:spLocks noChangeShapeType="1"/>
            </p:cNvSpPr>
            <p:nvPr/>
          </p:nvSpPr>
          <p:spPr bwMode="auto">
            <a:xfrm>
              <a:off x="7137058" y="3924240"/>
              <a:ext cx="142509"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5" name="Line 387">
              <a:extLst>
                <a:ext uri="{FF2B5EF4-FFF2-40B4-BE49-F238E27FC236}">
                  <a16:creationId xmlns:a16="http://schemas.microsoft.com/office/drawing/2014/main" id="{7AE857E7-44C1-BA4F-8375-C42C5C52CF05}"/>
                </a:ext>
              </a:extLst>
            </p:cNvPr>
            <p:cNvSpPr>
              <a:spLocks noChangeShapeType="1"/>
            </p:cNvSpPr>
            <p:nvPr/>
          </p:nvSpPr>
          <p:spPr bwMode="auto">
            <a:xfrm>
              <a:off x="7422080" y="3924240"/>
              <a:ext cx="142509"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6" name="Line 388">
              <a:extLst>
                <a:ext uri="{FF2B5EF4-FFF2-40B4-BE49-F238E27FC236}">
                  <a16:creationId xmlns:a16="http://schemas.microsoft.com/office/drawing/2014/main" id="{A214FDBA-4EC5-5241-8B30-1FE689861B72}"/>
                </a:ext>
              </a:extLst>
            </p:cNvPr>
            <p:cNvSpPr>
              <a:spLocks noChangeShapeType="1"/>
            </p:cNvSpPr>
            <p:nvPr/>
          </p:nvSpPr>
          <p:spPr bwMode="auto">
            <a:xfrm>
              <a:off x="7702186" y="3924240"/>
              <a:ext cx="142512"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7" name="Line 389">
              <a:extLst>
                <a:ext uri="{FF2B5EF4-FFF2-40B4-BE49-F238E27FC236}">
                  <a16:creationId xmlns:a16="http://schemas.microsoft.com/office/drawing/2014/main" id="{7C5E9A8F-8FDD-1A44-BF04-D0F310267E08}"/>
                </a:ext>
              </a:extLst>
            </p:cNvPr>
            <p:cNvSpPr>
              <a:spLocks noChangeShapeType="1"/>
            </p:cNvSpPr>
            <p:nvPr/>
          </p:nvSpPr>
          <p:spPr bwMode="auto">
            <a:xfrm>
              <a:off x="7987208" y="3924240"/>
              <a:ext cx="142512"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8" name="Line 390">
              <a:extLst>
                <a:ext uri="{FF2B5EF4-FFF2-40B4-BE49-F238E27FC236}">
                  <a16:creationId xmlns:a16="http://schemas.microsoft.com/office/drawing/2014/main" id="{0EA9B8C0-EDFD-1046-AD55-42F87E61706A}"/>
                </a:ext>
              </a:extLst>
            </p:cNvPr>
            <p:cNvSpPr>
              <a:spLocks noChangeShapeType="1"/>
            </p:cNvSpPr>
            <p:nvPr/>
          </p:nvSpPr>
          <p:spPr bwMode="auto">
            <a:xfrm>
              <a:off x="8272230" y="3924240"/>
              <a:ext cx="78627"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9" name="Line 391">
              <a:extLst>
                <a:ext uri="{FF2B5EF4-FFF2-40B4-BE49-F238E27FC236}">
                  <a16:creationId xmlns:a16="http://schemas.microsoft.com/office/drawing/2014/main" id="{6A9289EF-1274-C94D-8B8B-4554E3135E0E}"/>
                </a:ext>
              </a:extLst>
            </p:cNvPr>
            <p:cNvSpPr>
              <a:spLocks noChangeShapeType="1"/>
            </p:cNvSpPr>
            <p:nvPr/>
          </p:nvSpPr>
          <p:spPr bwMode="auto">
            <a:xfrm>
              <a:off x="6630897" y="6862914"/>
              <a:ext cx="142512"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0" name="Line 392">
              <a:extLst>
                <a:ext uri="{FF2B5EF4-FFF2-40B4-BE49-F238E27FC236}">
                  <a16:creationId xmlns:a16="http://schemas.microsoft.com/office/drawing/2014/main" id="{ED83F3A6-9F88-3742-A5D4-543111D2D583}"/>
                </a:ext>
              </a:extLst>
            </p:cNvPr>
            <p:cNvSpPr>
              <a:spLocks noChangeShapeType="1"/>
            </p:cNvSpPr>
            <p:nvPr/>
          </p:nvSpPr>
          <p:spPr bwMode="auto">
            <a:xfrm>
              <a:off x="6915919" y="6862914"/>
              <a:ext cx="142512"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1" name="Line 393">
              <a:extLst>
                <a:ext uri="{FF2B5EF4-FFF2-40B4-BE49-F238E27FC236}">
                  <a16:creationId xmlns:a16="http://schemas.microsoft.com/office/drawing/2014/main" id="{16BB54F5-8C56-B548-B2EF-F47C4745ECC1}"/>
                </a:ext>
              </a:extLst>
            </p:cNvPr>
            <p:cNvSpPr>
              <a:spLocks noChangeShapeType="1"/>
            </p:cNvSpPr>
            <p:nvPr/>
          </p:nvSpPr>
          <p:spPr bwMode="auto">
            <a:xfrm>
              <a:off x="7200941" y="6862914"/>
              <a:ext cx="142512"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2" name="Line 394">
              <a:extLst>
                <a:ext uri="{FF2B5EF4-FFF2-40B4-BE49-F238E27FC236}">
                  <a16:creationId xmlns:a16="http://schemas.microsoft.com/office/drawing/2014/main" id="{9C62878D-2275-144A-8646-33C664400DCB}"/>
                </a:ext>
              </a:extLst>
            </p:cNvPr>
            <p:cNvSpPr>
              <a:spLocks noChangeShapeType="1"/>
            </p:cNvSpPr>
            <p:nvPr/>
          </p:nvSpPr>
          <p:spPr bwMode="auto">
            <a:xfrm>
              <a:off x="7481050" y="6862914"/>
              <a:ext cx="142509"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3" name="Line 395">
              <a:extLst>
                <a:ext uri="{FF2B5EF4-FFF2-40B4-BE49-F238E27FC236}">
                  <a16:creationId xmlns:a16="http://schemas.microsoft.com/office/drawing/2014/main" id="{6A2E1EEE-E9D7-8046-88D4-F7BD7218B303}"/>
                </a:ext>
              </a:extLst>
            </p:cNvPr>
            <p:cNvSpPr>
              <a:spLocks noChangeShapeType="1"/>
            </p:cNvSpPr>
            <p:nvPr/>
          </p:nvSpPr>
          <p:spPr bwMode="auto">
            <a:xfrm>
              <a:off x="7766072" y="6862914"/>
              <a:ext cx="142509"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4" name="Line 396">
              <a:extLst>
                <a:ext uri="{FF2B5EF4-FFF2-40B4-BE49-F238E27FC236}">
                  <a16:creationId xmlns:a16="http://schemas.microsoft.com/office/drawing/2014/main" id="{0BAC68DC-5BAC-B440-B154-FC2AB78A8D22}"/>
                </a:ext>
              </a:extLst>
            </p:cNvPr>
            <p:cNvSpPr>
              <a:spLocks noChangeShapeType="1"/>
            </p:cNvSpPr>
            <p:nvPr/>
          </p:nvSpPr>
          <p:spPr bwMode="auto">
            <a:xfrm>
              <a:off x="8051094" y="6862914"/>
              <a:ext cx="142509"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5" name="Line 397">
              <a:extLst>
                <a:ext uri="{FF2B5EF4-FFF2-40B4-BE49-F238E27FC236}">
                  <a16:creationId xmlns:a16="http://schemas.microsoft.com/office/drawing/2014/main" id="{C84BCC2E-BE5E-1245-AA45-C11AA6F0B561}"/>
                </a:ext>
              </a:extLst>
            </p:cNvPr>
            <p:cNvSpPr>
              <a:spLocks noChangeShapeType="1"/>
            </p:cNvSpPr>
            <p:nvPr/>
          </p:nvSpPr>
          <p:spPr bwMode="auto">
            <a:xfrm>
              <a:off x="8336116" y="6862914"/>
              <a:ext cx="142509"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6" name="Line 398">
              <a:extLst>
                <a:ext uri="{FF2B5EF4-FFF2-40B4-BE49-F238E27FC236}">
                  <a16:creationId xmlns:a16="http://schemas.microsoft.com/office/drawing/2014/main" id="{8024D14E-8A2F-384A-96B7-48EC820B6406}"/>
                </a:ext>
              </a:extLst>
            </p:cNvPr>
            <p:cNvSpPr>
              <a:spLocks noChangeShapeType="1"/>
            </p:cNvSpPr>
            <p:nvPr/>
          </p:nvSpPr>
          <p:spPr bwMode="auto">
            <a:xfrm>
              <a:off x="8621138" y="6862914"/>
              <a:ext cx="142509"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7" name="Line 399">
              <a:extLst>
                <a:ext uri="{FF2B5EF4-FFF2-40B4-BE49-F238E27FC236}">
                  <a16:creationId xmlns:a16="http://schemas.microsoft.com/office/drawing/2014/main" id="{FC644DFB-6F5B-9846-8E31-E325594B7683}"/>
                </a:ext>
              </a:extLst>
            </p:cNvPr>
            <p:cNvSpPr>
              <a:spLocks noChangeShapeType="1"/>
            </p:cNvSpPr>
            <p:nvPr/>
          </p:nvSpPr>
          <p:spPr bwMode="auto">
            <a:xfrm>
              <a:off x="8901244" y="6862914"/>
              <a:ext cx="142512"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8" name="Line 400">
              <a:extLst>
                <a:ext uri="{FF2B5EF4-FFF2-40B4-BE49-F238E27FC236}">
                  <a16:creationId xmlns:a16="http://schemas.microsoft.com/office/drawing/2014/main" id="{8CFFFD75-3458-AA4C-837A-8E3E1FEA5A97}"/>
                </a:ext>
              </a:extLst>
            </p:cNvPr>
            <p:cNvSpPr>
              <a:spLocks noChangeShapeType="1"/>
            </p:cNvSpPr>
            <p:nvPr/>
          </p:nvSpPr>
          <p:spPr bwMode="auto">
            <a:xfrm>
              <a:off x="9186266" y="6862914"/>
              <a:ext cx="73714"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9" name="Line 401">
              <a:extLst>
                <a:ext uri="{FF2B5EF4-FFF2-40B4-BE49-F238E27FC236}">
                  <a16:creationId xmlns:a16="http://schemas.microsoft.com/office/drawing/2014/main" id="{64DA56AE-9533-3946-8D43-552F0D72211D}"/>
                </a:ext>
              </a:extLst>
            </p:cNvPr>
            <p:cNvSpPr>
              <a:spLocks noChangeShapeType="1"/>
            </p:cNvSpPr>
            <p:nvPr/>
          </p:nvSpPr>
          <p:spPr bwMode="auto">
            <a:xfrm>
              <a:off x="5716861" y="9663991"/>
              <a:ext cx="142512"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0" name="Line 402">
              <a:extLst>
                <a:ext uri="{FF2B5EF4-FFF2-40B4-BE49-F238E27FC236}">
                  <a16:creationId xmlns:a16="http://schemas.microsoft.com/office/drawing/2014/main" id="{23E0164A-EDFA-D947-9627-70AE9E22BC9B}"/>
                </a:ext>
              </a:extLst>
            </p:cNvPr>
            <p:cNvSpPr>
              <a:spLocks noChangeShapeType="1"/>
            </p:cNvSpPr>
            <p:nvPr/>
          </p:nvSpPr>
          <p:spPr bwMode="auto">
            <a:xfrm>
              <a:off x="6001883" y="9663991"/>
              <a:ext cx="142512"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1" name="Line 403">
              <a:extLst>
                <a:ext uri="{FF2B5EF4-FFF2-40B4-BE49-F238E27FC236}">
                  <a16:creationId xmlns:a16="http://schemas.microsoft.com/office/drawing/2014/main" id="{55D7BF5B-A0F1-5B45-8A0C-513859E3CD3F}"/>
                </a:ext>
              </a:extLst>
            </p:cNvPr>
            <p:cNvSpPr>
              <a:spLocks noChangeShapeType="1"/>
            </p:cNvSpPr>
            <p:nvPr/>
          </p:nvSpPr>
          <p:spPr bwMode="auto">
            <a:xfrm>
              <a:off x="6281993" y="9663991"/>
              <a:ext cx="142509"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2" name="Line 404">
              <a:extLst>
                <a:ext uri="{FF2B5EF4-FFF2-40B4-BE49-F238E27FC236}">
                  <a16:creationId xmlns:a16="http://schemas.microsoft.com/office/drawing/2014/main" id="{9226F207-3C9C-4A4E-AC2F-68AF8098ACFA}"/>
                </a:ext>
              </a:extLst>
            </p:cNvPr>
            <p:cNvSpPr>
              <a:spLocks noChangeShapeType="1"/>
            </p:cNvSpPr>
            <p:nvPr/>
          </p:nvSpPr>
          <p:spPr bwMode="auto">
            <a:xfrm>
              <a:off x="6567014" y="9663991"/>
              <a:ext cx="142509"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3" name="Line 405">
              <a:extLst>
                <a:ext uri="{FF2B5EF4-FFF2-40B4-BE49-F238E27FC236}">
                  <a16:creationId xmlns:a16="http://schemas.microsoft.com/office/drawing/2014/main" id="{8AE3256E-6B01-E94F-83AD-0640469CBA57}"/>
                </a:ext>
              </a:extLst>
            </p:cNvPr>
            <p:cNvSpPr>
              <a:spLocks noChangeShapeType="1"/>
            </p:cNvSpPr>
            <p:nvPr/>
          </p:nvSpPr>
          <p:spPr bwMode="auto">
            <a:xfrm>
              <a:off x="6852036" y="9663991"/>
              <a:ext cx="142509"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4" name="Line 406">
              <a:extLst>
                <a:ext uri="{FF2B5EF4-FFF2-40B4-BE49-F238E27FC236}">
                  <a16:creationId xmlns:a16="http://schemas.microsoft.com/office/drawing/2014/main" id="{CFE84471-1439-E24B-8F5F-88A991330A6F}"/>
                </a:ext>
              </a:extLst>
            </p:cNvPr>
            <p:cNvSpPr>
              <a:spLocks noChangeShapeType="1"/>
            </p:cNvSpPr>
            <p:nvPr/>
          </p:nvSpPr>
          <p:spPr bwMode="auto">
            <a:xfrm>
              <a:off x="7137058" y="9663991"/>
              <a:ext cx="142509"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5" name="Line 407">
              <a:extLst>
                <a:ext uri="{FF2B5EF4-FFF2-40B4-BE49-F238E27FC236}">
                  <a16:creationId xmlns:a16="http://schemas.microsoft.com/office/drawing/2014/main" id="{7CDC9049-3589-0A4F-8C41-0B15E6E51DC3}"/>
                </a:ext>
              </a:extLst>
            </p:cNvPr>
            <p:cNvSpPr>
              <a:spLocks noChangeShapeType="1"/>
            </p:cNvSpPr>
            <p:nvPr/>
          </p:nvSpPr>
          <p:spPr bwMode="auto">
            <a:xfrm>
              <a:off x="7422080" y="9663991"/>
              <a:ext cx="142509"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6" name="Line 408">
              <a:extLst>
                <a:ext uri="{FF2B5EF4-FFF2-40B4-BE49-F238E27FC236}">
                  <a16:creationId xmlns:a16="http://schemas.microsoft.com/office/drawing/2014/main" id="{9FCE5874-AB01-B548-8426-B63F8BD5E496}"/>
                </a:ext>
              </a:extLst>
            </p:cNvPr>
            <p:cNvSpPr>
              <a:spLocks noChangeShapeType="1"/>
            </p:cNvSpPr>
            <p:nvPr/>
          </p:nvSpPr>
          <p:spPr bwMode="auto">
            <a:xfrm>
              <a:off x="7702186" y="9663991"/>
              <a:ext cx="142512"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7" name="Line 409">
              <a:extLst>
                <a:ext uri="{FF2B5EF4-FFF2-40B4-BE49-F238E27FC236}">
                  <a16:creationId xmlns:a16="http://schemas.microsoft.com/office/drawing/2014/main" id="{5B0A45E2-43F1-4245-BE74-B8DDB9149A15}"/>
                </a:ext>
              </a:extLst>
            </p:cNvPr>
            <p:cNvSpPr>
              <a:spLocks noChangeShapeType="1"/>
            </p:cNvSpPr>
            <p:nvPr/>
          </p:nvSpPr>
          <p:spPr bwMode="auto">
            <a:xfrm>
              <a:off x="7987208" y="9663991"/>
              <a:ext cx="142512"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8" name="Line 410">
              <a:extLst>
                <a:ext uri="{FF2B5EF4-FFF2-40B4-BE49-F238E27FC236}">
                  <a16:creationId xmlns:a16="http://schemas.microsoft.com/office/drawing/2014/main" id="{A4325D27-2F2A-4549-9938-093400ED854A}"/>
                </a:ext>
              </a:extLst>
            </p:cNvPr>
            <p:cNvSpPr>
              <a:spLocks noChangeShapeType="1"/>
            </p:cNvSpPr>
            <p:nvPr/>
          </p:nvSpPr>
          <p:spPr bwMode="auto">
            <a:xfrm>
              <a:off x="8272230" y="9663991"/>
              <a:ext cx="78627"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9" name="Line 411">
              <a:extLst>
                <a:ext uri="{FF2B5EF4-FFF2-40B4-BE49-F238E27FC236}">
                  <a16:creationId xmlns:a16="http://schemas.microsoft.com/office/drawing/2014/main" id="{D2CE3B69-9FD0-8644-BCD2-6DA75B4E10FC}"/>
                </a:ext>
              </a:extLst>
            </p:cNvPr>
            <p:cNvSpPr>
              <a:spLocks noChangeShapeType="1"/>
            </p:cNvSpPr>
            <p:nvPr/>
          </p:nvSpPr>
          <p:spPr bwMode="auto">
            <a:xfrm flipH="1">
              <a:off x="6109995" y="12042450"/>
              <a:ext cx="152341"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0" name="Line 412">
              <a:extLst>
                <a:ext uri="{FF2B5EF4-FFF2-40B4-BE49-F238E27FC236}">
                  <a16:creationId xmlns:a16="http://schemas.microsoft.com/office/drawing/2014/main" id="{A694A40C-F6C2-E148-9EC3-A2A831B33309}"/>
                </a:ext>
              </a:extLst>
            </p:cNvPr>
            <p:cNvSpPr>
              <a:spLocks noChangeShapeType="1"/>
            </p:cNvSpPr>
            <p:nvPr/>
          </p:nvSpPr>
          <p:spPr bwMode="auto">
            <a:xfrm flipH="1">
              <a:off x="5824973" y="12042450"/>
              <a:ext cx="152341"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1" name="Line 413">
              <a:extLst>
                <a:ext uri="{FF2B5EF4-FFF2-40B4-BE49-F238E27FC236}">
                  <a16:creationId xmlns:a16="http://schemas.microsoft.com/office/drawing/2014/main" id="{41F59115-16B6-2E43-AC26-21E4ACD6C0FB}"/>
                </a:ext>
              </a:extLst>
            </p:cNvPr>
            <p:cNvSpPr>
              <a:spLocks noChangeShapeType="1"/>
            </p:cNvSpPr>
            <p:nvPr/>
          </p:nvSpPr>
          <p:spPr bwMode="auto">
            <a:xfrm flipH="1">
              <a:off x="5544867" y="12042450"/>
              <a:ext cx="152338"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2" name="Line 414">
              <a:extLst>
                <a:ext uri="{FF2B5EF4-FFF2-40B4-BE49-F238E27FC236}">
                  <a16:creationId xmlns:a16="http://schemas.microsoft.com/office/drawing/2014/main" id="{0537ECC0-D32A-764E-A96A-3552CAE6DC1D}"/>
                </a:ext>
              </a:extLst>
            </p:cNvPr>
            <p:cNvSpPr>
              <a:spLocks noChangeShapeType="1"/>
            </p:cNvSpPr>
            <p:nvPr/>
          </p:nvSpPr>
          <p:spPr bwMode="auto">
            <a:xfrm flipH="1">
              <a:off x="5259845" y="12042450"/>
              <a:ext cx="152338"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3" name="Line 415">
              <a:extLst>
                <a:ext uri="{FF2B5EF4-FFF2-40B4-BE49-F238E27FC236}">
                  <a16:creationId xmlns:a16="http://schemas.microsoft.com/office/drawing/2014/main" id="{15FAE838-7622-654D-AED9-C2EB0B6AA901}"/>
                </a:ext>
              </a:extLst>
            </p:cNvPr>
            <p:cNvSpPr>
              <a:spLocks noChangeShapeType="1"/>
            </p:cNvSpPr>
            <p:nvPr/>
          </p:nvSpPr>
          <p:spPr bwMode="auto">
            <a:xfrm flipH="1">
              <a:off x="4974823" y="12042450"/>
              <a:ext cx="152338"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4" name="Line 416">
              <a:extLst>
                <a:ext uri="{FF2B5EF4-FFF2-40B4-BE49-F238E27FC236}">
                  <a16:creationId xmlns:a16="http://schemas.microsoft.com/office/drawing/2014/main" id="{6972A018-20F0-EF44-AE4C-DF35274893C5}"/>
                </a:ext>
              </a:extLst>
            </p:cNvPr>
            <p:cNvSpPr>
              <a:spLocks noChangeShapeType="1"/>
            </p:cNvSpPr>
            <p:nvPr/>
          </p:nvSpPr>
          <p:spPr bwMode="auto">
            <a:xfrm flipH="1">
              <a:off x="4689801" y="12042450"/>
              <a:ext cx="152338"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5" name="Line 417">
              <a:extLst>
                <a:ext uri="{FF2B5EF4-FFF2-40B4-BE49-F238E27FC236}">
                  <a16:creationId xmlns:a16="http://schemas.microsoft.com/office/drawing/2014/main" id="{420F8A13-E165-CE4F-9717-74AA01E94E33}"/>
                </a:ext>
              </a:extLst>
            </p:cNvPr>
            <p:cNvSpPr>
              <a:spLocks noChangeShapeType="1"/>
            </p:cNvSpPr>
            <p:nvPr/>
          </p:nvSpPr>
          <p:spPr bwMode="auto">
            <a:xfrm flipH="1">
              <a:off x="4404779" y="12042450"/>
              <a:ext cx="152338"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6" name="Line 418">
              <a:extLst>
                <a:ext uri="{FF2B5EF4-FFF2-40B4-BE49-F238E27FC236}">
                  <a16:creationId xmlns:a16="http://schemas.microsoft.com/office/drawing/2014/main" id="{290207CA-790D-4F42-A915-852BFBF8AB0E}"/>
                </a:ext>
              </a:extLst>
            </p:cNvPr>
            <p:cNvSpPr>
              <a:spLocks noChangeShapeType="1"/>
            </p:cNvSpPr>
            <p:nvPr/>
          </p:nvSpPr>
          <p:spPr bwMode="auto">
            <a:xfrm flipH="1">
              <a:off x="4124670" y="12042450"/>
              <a:ext cx="152341"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7" name="Line 419">
              <a:extLst>
                <a:ext uri="{FF2B5EF4-FFF2-40B4-BE49-F238E27FC236}">
                  <a16:creationId xmlns:a16="http://schemas.microsoft.com/office/drawing/2014/main" id="{AEDEFB3B-2FE6-0849-AB96-115C6B0DD259}"/>
                </a:ext>
              </a:extLst>
            </p:cNvPr>
            <p:cNvSpPr>
              <a:spLocks noChangeShapeType="1"/>
            </p:cNvSpPr>
            <p:nvPr/>
          </p:nvSpPr>
          <p:spPr bwMode="auto">
            <a:xfrm flipH="1">
              <a:off x="3839648" y="12042450"/>
              <a:ext cx="152341" cy="4913"/>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8" name="Freeform 420">
              <a:extLst>
                <a:ext uri="{FF2B5EF4-FFF2-40B4-BE49-F238E27FC236}">
                  <a16:creationId xmlns:a16="http://schemas.microsoft.com/office/drawing/2014/main" id="{826C0850-C623-2B48-916E-BC3BE18BEAE7}"/>
                </a:ext>
              </a:extLst>
            </p:cNvPr>
            <p:cNvSpPr>
              <a:spLocks noChangeArrowheads="1"/>
            </p:cNvSpPr>
            <p:nvPr/>
          </p:nvSpPr>
          <p:spPr bwMode="auto">
            <a:xfrm>
              <a:off x="3593940" y="11988392"/>
              <a:ext cx="108112" cy="54057"/>
            </a:xfrm>
            <a:custGeom>
              <a:avLst/>
              <a:gdLst>
                <a:gd name="T0" fmla="*/ 96 w 97"/>
                <a:gd name="T1" fmla="*/ 48 h 49"/>
                <a:gd name="T2" fmla="*/ 32 w 97"/>
                <a:gd name="T3" fmla="*/ 48 h 49"/>
                <a:gd name="T4" fmla="*/ 0 w 97"/>
                <a:gd name="T5" fmla="*/ 0 h 49"/>
              </a:gdLst>
              <a:ahLst/>
              <a:cxnLst>
                <a:cxn ang="0">
                  <a:pos x="T0" y="T1"/>
                </a:cxn>
                <a:cxn ang="0">
                  <a:pos x="T2" y="T3"/>
                </a:cxn>
                <a:cxn ang="0">
                  <a:pos x="T4" y="T5"/>
                </a:cxn>
              </a:cxnLst>
              <a:rect l="0" t="0" r="r" b="b"/>
              <a:pathLst>
                <a:path w="97" h="49">
                  <a:moveTo>
                    <a:pt x="96" y="48"/>
                  </a:moveTo>
                  <a:lnTo>
                    <a:pt x="32" y="48"/>
                  </a:lnTo>
                  <a:lnTo>
                    <a:pt x="0" y="0"/>
                  </a:lnTo>
                </a:path>
              </a:pathLst>
            </a:custGeom>
            <a:noFill/>
            <a:ln w="14400" cap="flat">
              <a:solidFill>
                <a:schemeClr val="bg1">
                  <a:lumMod val="50000"/>
                </a:schemeClr>
              </a:solidFill>
              <a:rou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9" name="Line 421">
              <a:extLst>
                <a:ext uri="{FF2B5EF4-FFF2-40B4-BE49-F238E27FC236}">
                  <a16:creationId xmlns:a16="http://schemas.microsoft.com/office/drawing/2014/main" id="{E52B94A8-404A-0D4F-812A-80BA84B1376D}"/>
                </a:ext>
              </a:extLst>
            </p:cNvPr>
            <p:cNvSpPr>
              <a:spLocks noChangeShapeType="1"/>
            </p:cNvSpPr>
            <p:nvPr/>
          </p:nvSpPr>
          <p:spPr bwMode="auto">
            <a:xfrm flipH="1" flipV="1">
              <a:off x="3441602" y="11737771"/>
              <a:ext cx="88455" cy="132681"/>
            </a:xfrm>
            <a:prstGeom prst="line">
              <a:avLst/>
            </a:prstGeom>
            <a:noFill/>
            <a:ln w="14400" cap="flat">
              <a:solidFill>
                <a:schemeClr val="bg1">
                  <a:lumMod val="50000"/>
                </a:schemeClr>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grpSp>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734715" y="1476869"/>
            <a:ext cx="4312551" cy="4147846"/>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ub-heading</a:t>
            </a:r>
            <a:endParaRPr lang="en-US"/>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734715" y="642972"/>
            <a:ext cx="4308887" cy="582221"/>
          </a:xfrm>
        </p:spPr>
        <p:txBody>
          <a:bodyPr>
            <a:normAutofit/>
          </a:bodyPr>
          <a:lstStyle>
            <a:lvl1pPr marL="0" indent="0" algn="l">
              <a:buNone/>
              <a:defRPr sz="3600" b="0" i="0">
                <a:solidFill>
                  <a:srgbClr val="595959"/>
                </a:solidFill>
                <a:latin typeface="+mn-lt"/>
              </a:defRPr>
            </a:lvl1pPr>
          </a:lstStyle>
          <a:p>
            <a:pPr lvl="0"/>
            <a:r>
              <a:rPr lang="en-US"/>
              <a:t>Heading</a:t>
            </a:r>
          </a:p>
        </p:txBody>
      </p:sp>
      <p:sp>
        <p:nvSpPr>
          <p:cNvPr id="102" name="Text Placeholder 23">
            <a:extLst>
              <a:ext uri="{FF2B5EF4-FFF2-40B4-BE49-F238E27FC236}">
                <a16:creationId xmlns:a16="http://schemas.microsoft.com/office/drawing/2014/main" id="{4F90DD39-208A-0846-AC92-FAC36CE191A5}"/>
              </a:ext>
            </a:extLst>
          </p:cNvPr>
          <p:cNvSpPr>
            <a:spLocks noGrp="1"/>
          </p:cNvSpPr>
          <p:nvPr>
            <p:ph type="body" sz="quarter" idx="20" hasCustomPrompt="1"/>
          </p:nvPr>
        </p:nvSpPr>
        <p:spPr>
          <a:xfrm>
            <a:off x="5383588" y="2854742"/>
            <a:ext cx="2219219" cy="442320"/>
          </a:xfrm>
        </p:spPr>
        <p:txBody>
          <a:bodyPr>
            <a:normAutofit/>
          </a:bodyPr>
          <a:lstStyle>
            <a:lvl1pPr marL="0" indent="0" algn="r">
              <a:buNone/>
              <a:defRPr sz="2200" b="1" i="0">
                <a:solidFill>
                  <a:srgbClr val="F16924"/>
                </a:solidFill>
                <a:latin typeface="+mn-lt"/>
              </a:defRPr>
            </a:lvl1pPr>
          </a:lstStyle>
          <a:p>
            <a:pPr lvl="0"/>
            <a:r>
              <a:rPr lang="en-US"/>
              <a:t>Title</a:t>
            </a:r>
          </a:p>
        </p:txBody>
      </p:sp>
      <p:sp>
        <p:nvSpPr>
          <p:cNvPr id="104" name="Text Placeholder 23">
            <a:extLst>
              <a:ext uri="{FF2B5EF4-FFF2-40B4-BE49-F238E27FC236}">
                <a16:creationId xmlns:a16="http://schemas.microsoft.com/office/drawing/2014/main" id="{DFCB3FD5-E40F-CE48-A411-1E3CAE3E9AC8}"/>
              </a:ext>
            </a:extLst>
          </p:cNvPr>
          <p:cNvSpPr>
            <a:spLocks noGrp="1"/>
          </p:cNvSpPr>
          <p:nvPr>
            <p:ph type="body" sz="quarter" idx="22" hasCustomPrompt="1"/>
          </p:nvPr>
        </p:nvSpPr>
        <p:spPr>
          <a:xfrm>
            <a:off x="6505379" y="565819"/>
            <a:ext cx="2219219" cy="442320"/>
          </a:xfrm>
        </p:spPr>
        <p:txBody>
          <a:bodyPr>
            <a:normAutofit/>
          </a:bodyPr>
          <a:lstStyle>
            <a:lvl1pPr marL="0" indent="0" algn="r">
              <a:buNone/>
              <a:defRPr sz="2200" b="1" i="0">
                <a:solidFill>
                  <a:srgbClr val="7F1C58"/>
                </a:solidFill>
                <a:latin typeface="+mn-lt"/>
              </a:defRPr>
            </a:lvl1pPr>
          </a:lstStyle>
          <a:p>
            <a:pPr lvl="0"/>
            <a:r>
              <a:rPr lang="en-US"/>
              <a:t>Title</a:t>
            </a:r>
          </a:p>
        </p:txBody>
      </p:sp>
      <p:sp>
        <p:nvSpPr>
          <p:cNvPr id="106" name="Text Placeholder 23">
            <a:extLst>
              <a:ext uri="{FF2B5EF4-FFF2-40B4-BE49-F238E27FC236}">
                <a16:creationId xmlns:a16="http://schemas.microsoft.com/office/drawing/2014/main" id="{3C479639-2B37-234D-B21C-737A15B07610}"/>
              </a:ext>
            </a:extLst>
          </p:cNvPr>
          <p:cNvSpPr>
            <a:spLocks noGrp="1"/>
          </p:cNvSpPr>
          <p:nvPr>
            <p:ph type="body" sz="quarter" idx="24" hasCustomPrompt="1"/>
          </p:nvPr>
        </p:nvSpPr>
        <p:spPr>
          <a:xfrm>
            <a:off x="6667060" y="5139665"/>
            <a:ext cx="2219219" cy="442320"/>
          </a:xfrm>
        </p:spPr>
        <p:txBody>
          <a:bodyPr>
            <a:normAutofit/>
          </a:bodyPr>
          <a:lstStyle>
            <a:lvl1pPr marL="0" indent="0" algn="r">
              <a:buNone/>
              <a:defRPr sz="2200" b="1" i="0">
                <a:solidFill>
                  <a:srgbClr val="B41F7A"/>
                </a:solidFill>
                <a:latin typeface="+mn-lt"/>
              </a:defRPr>
            </a:lvl1pPr>
          </a:lstStyle>
          <a:p>
            <a:pPr lvl="0"/>
            <a:r>
              <a:rPr lang="en-US"/>
              <a:t>Title</a:t>
            </a:r>
          </a:p>
        </p:txBody>
      </p:sp>
      <p:sp>
        <p:nvSpPr>
          <p:cNvPr id="108" name="Text Placeholder 23">
            <a:extLst>
              <a:ext uri="{FF2B5EF4-FFF2-40B4-BE49-F238E27FC236}">
                <a16:creationId xmlns:a16="http://schemas.microsoft.com/office/drawing/2014/main" id="{AF91F0CE-C7DF-B74F-B4D7-25C7ADC90465}"/>
              </a:ext>
            </a:extLst>
          </p:cNvPr>
          <p:cNvSpPr>
            <a:spLocks noGrp="1"/>
          </p:cNvSpPr>
          <p:nvPr>
            <p:ph type="body" sz="quarter" idx="26" hasCustomPrompt="1"/>
          </p:nvPr>
        </p:nvSpPr>
        <p:spPr>
          <a:xfrm>
            <a:off x="5731326" y="4085773"/>
            <a:ext cx="2219219" cy="442320"/>
          </a:xfrm>
        </p:spPr>
        <p:txBody>
          <a:bodyPr>
            <a:normAutofit/>
          </a:bodyPr>
          <a:lstStyle>
            <a:lvl1pPr marL="0" indent="0" algn="r">
              <a:buNone/>
              <a:defRPr sz="2200" b="1" i="0">
                <a:solidFill>
                  <a:srgbClr val="EDA13E"/>
                </a:solidFill>
                <a:latin typeface="+mn-lt"/>
              </a:defRPr>
            </a:lvl1pPr>
          </a:lstStyle>
          <a:p>
            <a:pPr lvl="0"/>
            <a:r>
              <a:rPr lang="en-US"/>
              <a:t>Title</a:t>
            </a:r>
          </a:p>
        </p:txBody>
      </p:sp>
      <p:sp>
        <p:nvSpPr>
          <p:cNvPr id="110" name="Text Placeholder 23">
            <a:extLst>
              <a:ext uri="{FF2B5EF4-FFF2-40B4-BE49-F238E27FC236}">
                <a16:creationId xmlns:a16="http://schemas.microsoft.com/office/drawing/2014/main" id="{9D34396D-AAEA-8941-B9FA-2158B9F5BCD8}"/>
              </a:ext>
            </a:extLst>
          </p:cNvPr>
          <p:cNvSpPr>
            <a:spLocks noGrp="1"/>
          </p:cNvSpPr>
          <p:nvPr>
            <p:ph type="body" sz="quarter" idx="28" hasCustomPrompt="1"/>
          </p:nvPr>
        </p:nvSpPr>
        <p:spPr>
          <a:xfrm>
            <a:off x="5779231" y="1598285"/>
            <a:ext cx="2219219" cy="442320"/>
          </a:xfrm>
        </p:spPr>
        <p:txBody>
          <a:bodyPr>
            <a:normAutofit/>
          </a:bodyPr>
          <a:lstStyle>
            <a:lvl1pPr marL="0" indent="0" algn="r">
              <a:buNone/>
              <a:defRPr sz="2200" b="1" i="0">
                <a:solidFill>
                  <a:srgbClr val="B41F7A"/>
                </a:solidFill>
                <a:latin typeface="+mn-lt"/>
              </a:defRPr>
            </a:lvl1pPr>
          </a:lstStyle>
          <a:p>
            <a:pPr lvl="0"/>
            <a:r>
              <a:rPr lang="en-US"/>
              <a:t>Title</a:t>
            </a:r>
          </a:p>
        </p:txBody>
      </p:sp>
      <p:sp>
        <p:nvSpPr>
          <p:cNvPr id="72" name="Rectangle 71">
            <a:extLst>
              <a:ext uri="{FF2B5EF4-FFF2-40B4-BE49-F238E27FC236}">
                <a16:creationId xmlns:a16="http://schemas.microsoft.com/office/drawing/2014/main" id="{7CB6C5C2-8CFF-FF43-9D25-7BEE5D78D5E9}"/>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73" name="Picture 72" descr="Logo&#10;&#10;Description automatically generated">
            <a:extLst>
              <a:ext uri="{FF2B5EF4-FFF2-40B4-BE49-F238E27FC236}">
                <a16:creationId xmlns:a16="http://schemas.microsoft.com/office/drawing/2014/main" id="{2477F655-C5F2-D844-85E9-02F328E47159}"/>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06695" y="6583579"/>
            <a:ext cx="1300365" cy="144173"/>
          </a:xfrm>
          <a:prstGeom prst="rect">
            <a:avLst/>
          </a:prstGeom>
        </p:spPr>
      </p:pic>
    </p:spTree>
    <p:extLst>
      <p:ext uri="{BB962C8B-B14F-4D97-AF65-F5344CB8AC3E}">
        <p14:creationId xmlns:p14="http://schemas.microsoft.com/office/powerpoint/2010/main" val="2582531291"/>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 point number graph with icons A">
    <p:spTree>
      <p:nvGrpSpPr>
        <p:cNvPr id="1" name=""/>
        <p:cNvGrpSpPr/>
        <p:nvPr/>
      </p:nvGrpSpPr>
      <p:grpSpPr>
        <a:xfrm>
          <a:off x="0" y="0"/>
          <a:ext cx="0" cy="0"/>
          <a:chOff x="0" y="0"/>
          <a:chExt cx="0" cy="0"/>
        </a:xfrm>
      </p:grpSpPr>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411246" y="1263516"/>
            <a:ext cx="4312551" cy="748242"/>
          </a:xfrm>
        </p:spPr>
        <p:txBody>
          <a:bodyPr/>
          <a:lstStyle>
            <a:lvl1pPr>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ub-heading</a:t>
            </a:r>
            <a:endParaRPr lang="en-US"/>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mn-lt"/>
              </a:defRPr>
            </a:lvl1pPr>
          </a:lstStyle>
          <a:p>
            <a:pPr lvl="0"/>
            <a:r>
              <a:rPr lang="en-US"/>
              <a:t>Heading</a:t>
            </a:r>
          </a:p>
        </p:txBody>
      </p:sp>
      <p:sp>
        <p:nvSpPr>
          <p:cNvPr id="76" name="Freeform 169">
            <a:extLst>
              <a:ext uri="{FF2B5EF4-FFF2-40B4-BE49-F238E27FC236}">
                <a16:creationId xmlns:a16="http://schemas.microsoft.com/office/drawing/2014/main" id="{38720E63-EB1C-BB42-A9BC-BBD00E84BC82}"/>
              </a:ext>
            </a:extLst>
          </p:cNvPr>
          <p:cNvSpPr>
            <a:spLocks noChangeArrowheads="1"/>
          </p:cNvSpPr>
          <p:nvPr/>
        </p:nvSpPr>
        <p:spPr bwMode="auto">
          <a:xfrm>
            <a:off x="2384303" y="2144026"/>
            <a:ext cx="2066436" cy="2071148"/>
          </a:xfrm>
          <a:custGeom>
            <a:avLst/>
            <a:gdLst>
              <a:gd name="T0" fmla="*/ 3867 w 3868"/>
              <a:gd name="T1" fmla="*/ 1932 h 3876"/>
              <a:gd name="T2" fmla="*/ 3867 w 3868"/>
              <a:gd name="T3" fmla="*/ 1932 h 3876"/>
              <a:gd name="T4" fmla="*/ 1933 w 3868"/>
              <a:gd name="T5" fmla="*/ 3875 h 3876"/>
              <a:gd name="T6" fmla="*/ 0 w 3868"/>
              <a:gd name="T7" fmla="*/ 1932 h 3876"/>
              <a:gd name="T8" fmla="*/ 1933 w 3868"/>
              <a:gd name="T9" fmla="*/ 0 h 3876"/>
              <a:gd name="T10" fmla="*/ 3867 w 3868"/>
              <a:gd name="T11" fmla="*/ 1932 h 3876"/>
            </a:gdLst>
            <a:ahLst/>
            <a:cxnLst>
              <a:cxn ang="0">
                <a:pos x="T0" y="T1"/>
              </a:cxn>
              <a:cxn ang="0">
                <a:pos x="T2" y="T3"/>
              </a:cxn>
              <a:cxn ang="0">
                <a:pos x="T4" y="T5"/>
              </a:cxn>
              <a:cxn ang="0">
                <a:pos x="T6" y="T7"/>
              </a:cxn>
              <a:cxn ang="0">
                <a:pos x="T8" y="T9"/>
              </a:cxn>
              <a:cxn ang="0">
                <a:pos x="T10" y="T11"/>
              </a:cxn>
            </a:cxnLst>
            <a:rect l="0" t="0" r="r" b="b"/>
            <a:pathLst>
              <a:path w="3867" h="3876">
                <a:moveTo>
                  <a:pt x="3867" y="1932"/>
                </a:moveTo>
                <a:lnTo>
                  <a:pt x="3867" y="1932"/>
                </a:lnTo>
                <a:cubicBezTo>
                  <a:pt x="3867" y="3007"/>
                  <a:pt x="3000" y="3875"/>
                  <a:pt x="1933" y="3875"/>
                </a:cubicBezTo>
                <a:cubicBezTo>
                  <a:pt x="867" y="3875"/>
                  <a:pt x="0" y="3007"/>
                  <a:pt x="0" y="1932"/>
                </a:cubicBezTo>
                <a:cubicBezTo>
                  <a:pt x="0" y="866"/>
                  <a:pt x="867" y="0"/>
                  <a:pt x="1933" y="0"/>
                </a:cubicBezTo>
                <a:cubicBezTo>
                  <a:pt x="3000" y="0"/>
                  <a:pt x="3867" y="866"/>
                  <a:pt x="3867" y="1932"/>
                </a:cubicBezTo>
              </a:path>
            </a:pathLst>
          </a:custGeom>
          <a:solidFill>
            <a:srgbClr val="7F1C58"/>
          </a:solidFill>
          <a:ln w="9525" cap="flat">
            <a:noFill/>
            <a:bevel/>
          </a:ln>
          <a:effectLst/>
        </p:spPr>
        <p:txBody>
          <a:bodyPr wrap="none" anchor="ctr"/>
          <a:lstStyle/>
          <a:p>
            <a:endParaRPr lang="en-US"/>
          </a:p>
        </p:txBody>
      </p:sp>
      <p:sp>
        <p:nvSpPr>
          <p:cNvPr id="77" name="Freeform 170">
            <a:extLst>
              <a:ext uri="{FF2B5EF4-FFF2-40B4-BE49-F238E27FC236}">
                <a16:creationId xmlns:a16="http://schemas.microsoft.com/office/drawing/2014/main" id="{C82BD997-3E2D-3F4D-A216-D21A3434D7F1}"/>
              </a:ext>
            </a:extLst>
          </p:cNvPr>
          <p:cNvSpPr>
            <a:spLocks noChangeArrowheads="1"/>
          </p:cNvSpPr>
          <p:nvPr/>
        </p:nvSpPr>
        <p:spPr bwMode="auto">
          <a:xfrm>
            <a:off x="6875324" y="2733089"/>
            <a:ext cx="2365680" cy="2365680"/>
          </a:xfrm>
          <a:custGeom>
            <a:avLst/>
            <a:gdLst>
              <a:gd name="T0" fmla="*/ 4427 w 4428"/>
              <a:gd name="T1" fmla="*/ 2213 h 4428"/>
              <a:gd name="T2" fmla="*/ 4427 w 4428"/>
              <a:gd name="T3" fmla="*/ 2213 h 4428"/>
              <a:gd name="T4" fmla="*/ 2213 w 4428"/>
              <a:gd name="T5" fmla="*/ 4427 h 4428"/>
              <a:gd name="T6" fmla="*/ 0 w 4428"/>
              <a:gd name="T7" fmla="*/ 2213 h 4428"/>
              <a:gd name="T8" fmla="*/ 2213 w 4428"/>
              <a:gd name="T9" fmla="*/ 0 h 4428"/>
              <a:gd name="T10" fmla="*/ 4427 w 4428"/>
              <a:gd name="T11" fmla="*/ 2213 h 4428"/>
            </a:gdLst>
            <a:ahLst/>
            <a:cxnLst>
              <a:cxn ang="0">
                <a:pos x="T0" y="T1"/>
              </a:cxn>
              <a:cxn ang="0">
                <a:pos x="T2" y="T3"/>
              </a:cxn>
              <a:cxn ang="0">
                <a:pos x="T4" y="T5"/>
              </a:cxn>
              <a:cxn ang="0">
                <a:pos x="T6" y="T7"/>
              </a:cxn>
              <a:cxn ang="0">
                <a:pos x="T8" y="T9"/>
              </a:cxn>
              <a:cxn ang="0">
                <a:pos x="T10" y="T11"/>
              </a:cxn>
            </a:cxnLst>
            <a:rect l="0" t="0" r="r" b="b"/>
            <a:pathLst>
              <a:path w="4428" h="4428">
                <a:moveTo>
                  <a:pt x="4427" y="2213"/>
                </a:moveTo>
                <a:lnTo>
                  <a:pt x="4427" y="2213"/>
                </a:lnTo>
                <a:cubicBezTo>
                  <a:pt x="4427" y="3433"/>
                  <a:pt x="3433" y="4427"/>
                  <a:pt x="2213" y="4427"/>
                </a:cubicBezTo>
                <a:cubicBezTo>
                  <a:pt x="984" y="4427"/>
                  <a:pt x="0" y="3433"/>
                  <a:pt x="0" y="2213"/>
                </a:cubicBezTo>
                <a:cubicBezTo>
                  <a:pt x="0" y="985"/>
                  <a:pt x="984" y="0"/>
                  <a:pt x="2213" y="0"/>
                </a:cubicBezTo>
                <a:cubicBezTo>
                  <a:pt x="3433" y="0"/>
                  <a:pt x="4427" y="985"/>
                  <a:pt x="4427" y="2213"/>
                </a:cubicBezTo>
              </a:path>
            </a:pathLst>
          </a:custGeom>
          <a:solidFill>
            <a:srgbClr val="EDA13E"/>
          </a:solidFill>
          <a:ln w="9525" cap="flat">
            <a:noFill/>
            <a:bevel/>
          </a:ln>
          <a:effectLst/>
        </p:spPr>
        <p:txBody>
          <a:bodyPr wrap="none" anchor="ctr"/>
          <a:lstStyle/>
          <a:p>
            <a:endParaRPr lang="en-US"/>
          </a:p>
        </p:txBody>
      </p:sp>
      <p:sp>
        <p:nvSpPr>
          <p:cNvPr id="78" name="Freeform 171">
            <a:extLst>
              <a:ext uri="{FF2B5EF4-FFF2-40B4-BE49-F238E27FC236}">
                <a16:creationId xmlns:a16="http://schemas.microsoft.com/office/drawing/2014/main" id="{C68FEA06-8C7F-9F49-990B-23D42094A08A}"/>
              </a:ext>
            </a:extLst>
          </p:cNvPr>
          <p:cNvSpPr>
            <a:spLocks noChangeArrowheads="1"/>
          </p:cNvSpPr>
          <p:nvPr/>
        </p:nvSpPr>
        <p:spPr bwMode="auto">
          <a:xfrm>
            <a:off x="4224538" y="3013484"/>
            <a:ext cx="2313842" cy="2313842"/>
          </a:xfrm>
          <a:custGeom>
            <a:avLst/>
            <a:gdLst>
              <a:gd name="T0" fmla="*/ 4329 w 4330"/>
              <a:gd name="T1" fmla="*/ 2168 h 4329"/>
              <a:gd name="T2" fmla="*/ 4329 w 4330"/>
              <a:gd name="T3" fmla="*/ 2168 h 4329"/>
              <a:gd name="T4" fmla="*/ 2169 w 4330"/>
              <a:gd name="T5" fmla="*/ 4328 h 4329"/>
              <a:gd name="T6" fmla="*/ 0 w 4330"/>
              <a:gd name="T7" fmla="*/ 2168 h 4329"/>
              <a:gd name="T8" fmla="*/ 2169 w 4330"/>
              <a:gd name="T9" fmla="*/ 0 h 4329"/>
              <a:gd name="T10" fmla="*/ 4329 w 4330"/>
              <a:gd name="T11" fmla="*/ 2168 h 4329"/>
            </a:gdLst>
            <a:ahLst/>
            <a:cxnLst>
              <a:cxn ang="0">
                <a:pos x="T0" y="T1"/>
              </a:cxn>
              <a:cxn ang="0">
                <a:pos x="T2" y="T3"/>
              </a:cxn>
              <a:cxn ang="0">
                <a:pos x="T4" y="T5"/>
              </a:cxn>
              <a:cxn ang="0">
                <a:pos x="T6" y="T7"/>
              </a:cxn>
              <a:cxn ang="0">
                <a:pos x="T8" y="T9"/>
              </a:cxn>
              <a:cxn ang="0">
                <a:pos x="T10" y="T11"/>
              </a:cxn>
            </a:cxnLst>
            <a:rect l="0" t="0" r="r" b="b"/>
            <a:pathLst>
              <a:path w="4330" h="4329">
                <a:moveTo>
                  <a:pt x="4329" y="2168"/>
                </a:moveTo>
                <a:lnTo>
                  <a:pt x="4329" y="2168"/>
                </a:lnTo>
                <a:cubicBezTo>
                  <a:pt x="4329" y="3361"/>
                  <a:pt x="3362" y="4328"/>
                  <a:pt x="2169" y="4328"/>
                </a:cubicBezTo>
                <a:cubicBezTo>
                  <a:pt x="967" y="4328"/>
                  <a:pt x="0" y="3361"/>
                  <a:pt x="0" y="2168"/>
                </a:cubicBezTo>
                <a:cubicBezTo>
                  <a:pt x="0" y="976"/>
                  <a:pt x="967" y="0"/>
                  <a:pt x="2169" y="0"/>
                </a:cubicBezTo>
                <a:cubicBezTo>
                  <a:pt x="3362" y="0"/>
                  <a:pt x="4329" y="976"/>
                  <a:pt x="4329" y="2168"/>
                </a:cubicBezTo>
              </a:path>
            </a:pathLst>
          </a:custGeom>
          <a:solidFill>
            <a:srgbClr val="B41F7A"/>
          </a:solidFill>
          <a:ln w="9525" cap="flat">
            <a:noFill/>
            <a:bevel/>
          </a:ln>
          <a:effectLst/>
        </p:spPr>
        <p:txBody>
          <a:bodyPr wrap="none" anchor="ctr"/>
          <a:lstStyle/>
          <a:p>
            <a:endParaRPr lang="en-US"/>
          </a:p>
        </p:txBody>
      </p:sp>
      <p:sp>
        <p:nvSpPr>
          <p:cNvPr id="79" name="Freeform 172">
            <a:extLst>
              <a:ext uri="{FF2B5EF4-FFF2-40B4-BE49-F238E27FC236}">
                <a16:creationId xmlns:a16="http://schemas.microsoft.com/office/drawing/2014/main" id="{4AC9A4FA-A4A1-1F44-874C-8BE1E0CAE5BF}"/>
              </a:ext>
            </a:extLst>
          </p:cNvPr>
          <p:cNvSpPr>
            <a:spLocks noChangeArrowheads="1"/>
          </p:cNvSpPr>
          <p:nvPr/>
        </p:nvSpPr>
        <p:spPr bwMode="auto">
          <a:xfrm>
            <a:off x="8911127" y="1536112"/>
            <a:ext cx="2690842" cy="2688487"/>
          </a:xfrm>
          <a:custGeom>
            <a:avLst/>
            <a:gdLst>
              <a:gd name="T0" fmla="*/ 5033 w 5034"/>
              <a:gd name="T1" fmla="*/ 2511 h 5033"/>
              <a:gd name="T2" fmla="*/ 5033 w 5034"/>
              <a:gd name="T3" fmla="*/ 2511 h 5033"/>
              <a:gd name="T4" fmla="*/ 2521 w 5034"/>
              <a:gd name="T5" fmla="*/ 5032 h 5033"/>
              <a:gd name="T6" fmla="*/ 0 w 5034"/>
              <a:gd name="T7" fmla="*/ 2511 h 5033"/>
              <a:gd name="T8" fmla="*/ 2521 w 5034"/>
              <a:gd name="T9" fmla="*/ 0 h 5033"/>
              <a:gd name="T10" fmla="*/ 5033 w 5034"/>
              <a:gd name="T11" fmla="*/ 2511 h 5033"/>
            </a:gdLst>
            <a:ahLst/>
            <a:cxnLst>
              <a:cxn ang="0">
                <a:pos x="T0" y="T1"/>
              </a:cxn>
              <a:cxn ang="0">
                <a:pos x="T2" y="T3"/>
              </a:cxn>
              <a:cxn ang="0">
                <a:pos x="T4" y="T5"/>
              </a:cxn>
              <a:cxn ang="0">
                <a:pos x="T6" y="T7"/>
              </a:cxn>
              <a:cxn ang="0">
                <a:pos x="T8" y="T9"/>
              </a:cxn>
              <a:cxn ang="0">
                <a:pos x="T10" y="T11"/>
              </a:cxn>
            </a:cxnLst>
            <a:rect l="0" t="0" r="r" b="b"/>
            <a:pathLst>
              <a:path w="5034" h="5033">
                <a:moveTo>
                  <a:pt x="5033" y="2511"/>
                </a:moveTo>
                <a:lnTo>
                  <a:pt x="5033" y="2511"/>
                </a:lnTo>
                <a:cubicBezTo>
                  <a:pt x="5033" y="3902"/>
                  <a:pt x="3904" y="5032"/>
                  <a:pt x="2521" y="5032"/>
                </a:cubicBezTo>
                <a:cubicBezTo>
                  <a:pt x="1130" y="5032"/>
                  <a:pt x="0" y="3902"/>
                  <a:pt x="0" y="2511"/>
                </a:cubicBezTo>
                <a:cubicBezTo>
                  <a:pt x="0" y="1120"/>
                  <a:pt x="1130" y="0"/>
                  <a:pt x="2521" y="0"/>
                </a:cubicBezTo>
                <a:cubicBezTo>
                  <a:pt x="3904" y="0"/>
                  <a:pt x="5033" y="1120"/>
                  <a:pt x="5033" y="2511"/>
                </a:cubicBezTo>
              </a:path>
            </a:pathLst>
          </a:custGeom>
          <a:solidFill>
            <a:srgbClr val="B41F7A"/>
          </a:solidFill>
          <a:ln w="9525" cap="flat">
            <a:noFill/>
            <a:bevel/>
          </a:ln>
          <a:effectLst/>
        </p:spPr>
        <p:txBody>
          <a:bodyPr wrap="none" anchor="ctr"/>
          <a:lstStyle/>
          <a:p>
            <a:endParaRPr lang="en-US"/>
          </a:p>
        </p:txBody>
      </p:sp>
      <p:sp>
        <p:nvSpPr>
          <p:cNvPr id="80" name="Freeform 173">
            <a:extLst>
              <a:ext uri="{FF2B5EF4-FFF2-40B4-BE49-F238E27FC236}">
                <a16:creationId xmlns:a16="http://schemas.microsoft.com/office/drawing/2014/main" id="{27FCD08C-F550-D545-95E5-ACCEF51638A9}"/>
              </a:ext>
            </a:extLst>
          </p:cNvPr>
          <p:cNvSpPr>
            <a:spLocks noChangeArrowheads="1"/>
          </p:cNvSpPr>
          <p:nvPr/>
        </p:nvSpPr>
        <p:spPr bwMode="auto">
          <a:xfrm>
            <a:off x="5574671" y="1498412"/>
            <a:ext cx="1983966" cy="1979254"/>
          </a:xfrm>
          <a:custGeom>
            <a:avLst/>
            <a:gdLst>
              <a:gd name="T0" fmla="*/ 3713 w 3714"/>
              <a:gd name="T1" fmla="*/ 1851 h 3704"/>
              <a:gd name="T2" fmla="*/ 3713 w 3714"/>
              <a:gd name="T3" fmla="*/ 1851 h 3704"/>
              <a:gd name="T4" fmla="*/ 1862 w 3714"/>
              <a:gd name="T5" fmla="*/ 3703 h 3704"/>
              <a:gd name="T6" fmla="*/ 0 w 3714"/>
              <a:gd name="T7" fmla="*/ 1851 h 3704"/>
              <a:gd name="T8" fmla="*/ 1862 w 3714"/>
              <a:gd name="T9" fmla="*/ 0 h 3704"/>
              <a:gd name="T10" fmla="*/ 3713 w 3714"/>
              <a:gd name="T11" fmla="*/ 1851 h 3704"/>
            </a:gdLst>
            <a:ahLst/>
            <a:cxnLst>
              <a:cxn ang="0">
                <a:pos x="T0" y="T1"/>
              </a:cxn>
              <a:cxn ang="0">
                <a:pos x="T2" y="T3"/>
              </a:cxn>
              <a:cxn ang="0">
                <a:pos x="T4" y="T5"/>
              </a:cxn>
              <a:cxn ang="0">
                <a:pos x="T6" y="T7"/>
              </a:cxn>
              <a:cxn ang="0">
                <a:pos x="T8" y="T9"/>
              </a:cxn>
              <a:cxn ang="0">
                <a:pos x="T10" y="T11"/>
              </a:cxn>
            </a:cxnLst>
            <a:rect l="0" t="0" r="r" b="b"/>
            <a:pathLst>
              <a:path w="3714" h="3703">
                <a:moveTo>
                  <a:pt x="3713" y="1851"/>
                </a:moveTo>
                <a:lnTo>
                  <a:pt x="3713" y="1851"/>
                </a:lnTo>
                <a:cubicBezTo>
                  <a:pt x="3713" y="2872"/>
                  <a:pt x="2883" y="3703"/>
                  <a:pt x="1862" y="3703"/>
                </a:cubicBezTo>
                <a:cubicBezTo>
                  <a:pt x="832" y="3703"/>
                  <a:pt x="0" y="2872"/>
                  <a:pt x="0" y="1851"/>
                </a:cubicBezTo>
                <a:cubicBezTo>
                  <a:pt x="0" y="831"/>
                  <a:pt x="832" y="0"/>
                  <a:pt x="1862" y="0"/>
                </a:cubicBezTo>
                <a:cubicBezTo>
                  <a:pt x="2883" y="0"/>
                  <a:pt x="3713" y="831"/>
                  <a:pt x="3713" y="1851"/>
                </a:cubicBezTo>
              </a:path>
            </a:pathLst>
          </a:custGeom>
          <a:solidFill>
            <a:srgbClr val="F16924"/>
          </a:solidFill>
          <a:ln w="9525" cap="flat">
            <a:noFill/>
            <a:bevel/>
          </a:ln>
          <a:effectLst/>
        </p:spPr>
        <p:txBody>
          <a:bodyPr wrap="none" anchor="ctr"/>
          <a:lstStyle/>
          <a:p>
            <a:endParaRPr lang="en-US"/>
          </a:p>
        </p:txBody>
      </p:sp>
      <p:sp>
        <p:nvSpPr>
          <p:cNvPr id="81" name="Freeform 174">
            <a:extLst>
              <a:ext uri="{FF2B5EF4-FFF2-40B4-BE49-F238E27FC236}">
                <a16:creationId xmlns:a16="http://schemas.microsoft.com/office/drawing/2014/main" id="{4A9CE79B-4F97-2642-817C-4F0E7F93E57E}"/>
              </a:ext>
            </a:extLst>
          </p:cNvPr>
          <p:cNvSpPr>
            <a:spLocks noChangeArrowheads="1"/>
          </p:cNvSpPr>
          <p:nvPr/>
        </p:nvSpPr>
        <p:spPr bwMode="auto">
          <a:xfrm>
            <a:off x="2108622" y="3272672"/>
            <a:ext cx="791702" cy="791702"/>
          </a:xfrm>
          <a:custGeom>
            <a:avLst/>
            <a:gdLst>
              <a:gd name="T0" fmla="*/ 1482 w 1483"/>
              <a:gd name="T1" fmla="*/ 740 h 1482"/>
              <a:gd name="T2" fmla="*/ 1482 w 1483"/>
              <a:gd name="T3" fmla="*/ 740 h 1482"/>
              <a:gd name="T4" fmla="*/ 741 w 1483"/>
              <a:gd name="T5" fmla="*/ 1481 h 1482"/>
              <a:gd name="T6" fmla="*/ 0 w 1483"/>
              <a:gd name="T7" fmla="*/ 740 h 1482"/>
              <a:gd name="T8" fmla="*/ 741 w 1483"/>
              <a:gd name="T9" fmla="*/ 0 h 1482"/>
              <a:gd name="T10" fmla="*/ 1482 w 1483"/>
              <a:gd name="T11" fmla="*/ 740 h 1482"/>
            </a:gdLst>
            <a:ahLst/>
            <a:cxnLst>
              <a:cxn ang="0">
                <a:pos x="T0" y="T1"/>
              </a:cxn>
              <a:cxn ang="0">
                <a:pos x="T2" y="T3"/>
              </a:cxn>
              <a:cxn ang="0">
                <a:pos x="T4" y="T5"/>
              </a:cxn>
              <a:cxn ang="0">
                <a:pos x="T6" y="T7"/>
              </a:cxn>
              <a:cxn ang="0">
                <a:pos x="T8" y="T9"/>
              </a:cxn>
              <a:cxn ang="0">
                <a:pos x="T10" y="T11"/>
              </a:cxn>
            </a:cxnLst>
            <a:rect l="0" t="0" r="r" b="b"/>
            <a:pathLst>
              <a:path w="1483" h="1482">
                <a:moveTo>
                  <a:pt x="1482" y="740"/>
                </a:moveTo>
                <a:lnTo>
                  <a:pt x="1482" y="740"/>
                </a:lnTo>
                <a:cubicBezTo>
                  <a:pt x="1482" y="1147"/>
                  <a:pt x="1147" y="1481"/>
                  <a:pt x="741" y="1481"/>
                </a:cubicBezTo>
                <a:cubicBezTo>
                  <a:pt x="334" y="1481"/>
                  <a:pt x="0" y="1147"/>
                  <a:pt x="0" y="740"/>
                </a:cubicBezTo>
                <a:cubicBezTo>
                  <a:pt x="0" y="334"/>
                  <a:pt x="334" y="0"/>
                  <a:pt x="741" y="0"/>
                </a:cubicBezTo>
                <a:cubicBezTo>
                  <a:pt x="1147" y="0"/>
                  <a:pt x="1482" y="334"/>
                  <a:pt x="1482" y="740"/>
                </a:cubicBezTo>
              </a:path>
            </a:pathLst>
          </a:custGeom>
          <a:solidFill>
            <a:srgbClr val="7F1C58"/>
          </a:solidFill>
          <a:ln w="9525" cap="flat">
            <a:noFill/>
            <a:bevel/>
          </a:ln>
          <a:effectLst/>
        </p:spPr>
        <p:txBody>
          <a:bodyPr wrap="none" anchor="ctr"/>
          <a:lstStyle/>
          <a:p>
            <a:endParaRPr lang="en-US"/>
          </a:p>
        </p:txBody>
      </p:sp>
      <p:sp>
        <p:nvSpPr>
          <p:cNvPr id="82" name="Freeform 175">
            <a:extLst>
              <a:ext uri="{FF2B5EF4-FFF2-40B4-BE49-F238E27FC236}">
                <a16:creationId xmlns:a16="http://schemas.microsoft.com/office/drawing/2014/main" id="{06142319-C95F-814A-BCD5-AFEE8A77203B}"/>
              </a:ext>
            </a:extLst>
          </p:cNvPr>
          <p:cNvSpPr>
            <a:spLocks noChangeArrowheads="1"/>
          </p:cNvSpPr>
          <p:nvPr userDrawn="1"/>
        </p:nvSpPr>
        <p:spPr bwMode="auto">
          <a:xfrm>
            <a:off x="5923397" y="4495568"/>
            <a:ext cx="791702" cy="791702"/>
          </a:xfrm>
          <a:custGeom>
            <a:avLst/>
            <a:gdLst>
              <a:gd name="T0" fmla="*/ 1482 w 1483"/>
              <a:gd name="T1" fmla="*/ 741 h 1482"/>
              <a:gd name="T2" fmla="*/ 1482 w 1483"/>
              <a:gd name="T3" fmla="*/ 741 h 1482"/>
              <a:gd name="T4" fmla="*/ 741 w 1483"/>
              <a:gd name="T5" fmla="*/ 1481 h 1482"/>
              <a:gd name="T6" fmla="*/ 0 w 1483"/>
              <a:gd name="T7" fmla="*/ 741 h 1482"/>
              <a:gd name="T8" fmla="*/ 741 w 1483"/>
              <a:gd name="T9" fmla="*/ 0 h 1482"/>
              <a:gd name="T10" fmla="*/ 1482 w 1483"/>
              <a:gd name="T11" fmla="*/ 741 h 1482"/>
            </a:gdLst>
            <a:ahLst/>
            <a:cxnLst>
              <a:cxn ang="0">
                <a:pos x="T0" y="T1"/>
              </a:cxn>
              <a:cxn ang="0">
                <a:pos x="T2" y="T3"/>
              </a:cxn>
              <a:cxn ang="0">
                <a:pos x="T4" y="T5"/>
              </a:cxn>
              <a:cxn ang="0">
                <a:pos x="T6" y="T7"/>
              </a:cxn>
              <a:cxn ang="0">
                <a:pos x="T8" y="T9"/>
              </a:cxn>
              <a:cxn ang="0">
                <a:pos x="T10" y="T11"/>
              </a:cxn>
            </a:cxnLst>
            <a:rect l="0" t="0" r="r" b="b"/>
            <a:pathLst>
              <a:path w="1483" h="1482">
                <a:moveTo>
                  <a:pt x="1482" y="741"/>
                </a:moveTo>
                <a:lnTo>
                  <a:pt x="1482" y="741"/>
                </a:lnTo>
                <a:cubicBezTo>
                  <a:pt x="1482" y="1147"/>
                  <a:pt x="1148" y="1481"/>
                  <a:pt x="741" y="1481"/>
                </a:cubicBezTo>
                <a:cubicBezTo>
                  <a:pt x="334" y="1481"/>
                  <a:pt x="0" y="1147"/>
                  <a:pt x="0" y="741"/>
                </a:cubicBezTo>
                <a:cubicBezTo>
                  <a:pt x="0" y="334"/>
                  <a:pt x="334" y="0"/>
                  <a:pt x="741" y="0"/>
                </a:cubicBezTo>
                <a:cubicBezTo>
                  <a:pt x="1148" y="0"/>
                  <a:pt x="1482" y="334"/>
                  <a:pt x="1482" y="741"/>
                </a:cubicBezTo>
              </a:path>
            </a:pathLst>
          </a:custGeom>
          <a:solidFill>
            <a:srgbClr val="B41F7A"/>
          </a:solidFill>
          <a:ln w="9525" cap="flat">
            <a:noFill/>
            <a:bevel/>
          </a:ln>
          <a:effectLst/>
        </p:spPr>
        <p:txBody>
          <a:bodyPr wrap="none" anchor="ctr"/>
          <a:lstStyle/>
          <a:p>
            <a:endParaRPr lang="en-US"/>
          </a:p>
        </p:txBody>
      </p:sp>
      <p:sp>
        <p:nvSpPr>
          <p:cNvPr id="83" name="Freeform 176">
            <a:extLst>
              <a:ext uri="{FF2B5EF4-FFF2-40B4-BE49-F238E27FC236}">
                <a16:creationId xmlns:a16="http://schemas.microsoft.com/office/drawing/2014/main" id="{91B82CE6-EFD3-C44A-97DF-D00B51610AC8}"/>
              </a:ext>
            </a:extLst>
          </p:cNvPr>
          <p:cNvSpPr>
            <a:spLocks noChangeArrowheads="1"/>
          </p:cNvSpPr>
          <p:nvPr/>
        </p:nvSpPr>
        <p:spPr bwMode="auto">
          <a:xfrm>
            <a:off x="5527546" y="1342899"/>
            <a:ext cx="791702" cy="786989"/>
          </a:xfrm>
          <a:custGeom>
            <a:avLst/>
            <a:gdLst>
              <a:gd name="T0" fmla="*/ 1482 w 1483"/>
              <a:gd name="T1" fmla="*/ 731 h 1473"/>
              <a:gd name="T2" fmla="*/ 1482 w 1483"/>
              <a:gd name="T3" fmla="*/ 731 h 1473"/>
              <a:gd name="T4" fmla="*/ 741 w 1483"/>
              <a:gd name="T5" fmla="*/ 1472 h 1473"/>
              <a:gd name="T6" fmla="*/ 0 w 1483"/>
              <a:gd name="T7" fmla="*/ 731 h 1473"/>
              <a:gd name="T8" fmla="*/ 741 w 1483"/>
              <a:gd name="T9" fmla="*/ 0 h 1473"/>
              <a:gd name="T10" fmla="*/ 1482 w 1483"/>
              <a:gd name="T11" fmla="*/ 731 h 1473"/>
            </a:gdLst>
            <a:ahLst/>
            <a:cxnLst>
              <a:cxn ang="0">
                <a:pos x="T0" y="T1"/>
              </a:cxn>
              <a:cxn ang="0">
                <a:pos x="T2" y="T3"/>
              </a:cxn>
              <a:cxn ang="0">
                <a:pos x="T4" y="T5"/>
              </a:cxn>
              <a:cxn ang="0">
                <a:pos x="T6" y="T7"/>
              </a:cxn>
              <a:cxn ang="0">
                <a:pos x="T8" y="T9"/>
              </a:cxn>
              <a:cxn ang="0">
                <a:pos x="T10" y="T11"/>
              </a:cxn>
            </a:cxnLst>
            <a:rect l="0" t="0" r="r" b="b"/>
            <a:pathLst>
              <a:path w="1483" h="1473">
                <a:moveTo>
                  <a:pt x="1482" y="731"/>
                </a:moveTo>
                <a:lnTo>
                  <a:pt x="1482" y="731"/>
                </a:lnTo>
                <a:cubicBezTo>
                  <a:pt x="1482" y="1147"/>
                  <a:pt x="1148" y="1472"/>
                  <a:pt x="741" y="1472"/>
                </a:cubicBezTo>
                <a:cubicBezTo>
                  <a:pt x="334" y="1472"/>
                  <a:pt x="0" y="1147"/>
                  <a:pt x="0" y="731"/>
                </a:cubicBezTo>
                <a:cubicBezTo>
                  <a:pt x="0" y="325"/>
                  <a:pt x="334" y="0"/>
                  <a:pt x="741" y="0"/>
                </a:cubicBezTo>
                <a:cubicBezTo>
                  <a:pt x="1148" y="0"/>
                  <a:pt x="1482" y="325"/>
                  <a:pt x="1482" y="731"/>
                </a:cubicBezTo>
              </a:path>
            </a:pathLst>
          </a:custGeom>
          <a:solidFill>
            <a:srgbClr val="F16924"/>
          </a:solidFill>
          <a:ln w="9525" cap="flat">
            <a:noFill/>
            <a:bevel/>
          </a:ln>
          <a:effectLst/>
        </p:spPr>
        <p:txBody>
          <a:bodyPr wrap="none" anchor="ctr"/>
          <a:lstStyle/>
          <a:p>
            <a:endParaRPr lang="en-US"/>
          </a:p>
        </p:txBody>
      </p:sp>
      <p:sp>
        <p:nvSpPr>
          <p:cNvPr id="84" name="Freeform 177">
            <a:extLst>
              <a:ext uri="{FF2B5EF4-FFF2-40B4-BE49-F238E27FC236}">
                <a16:creationId xmlns:a16="http://schemas.microsoft.com/office/drawing/2014/main" id="{93A80B2C-5FD5-C347-BBB3-F9F251C50D45}"/>
              </a:ext>
            </a:extLst>
          </p:cNvPr>
          <p:cNvSpPr>
            <a:spLocks noChangeArrowheads="1"/>
          </p:cNvSpPr>
          <p:nvPr/>
        </p:nvSpPr>
        <p:spPr bwMode="auto">
          <a:xfrm>
            <a:off x="8058164" y="2400858"/>
            <a:ext cx="786989" cy="786989"/>
          </a:xfrm>
          <a:custGeom>
            <a:avLst/>
            <a:gdLst>
              <a:gd name="T0" fmla="*/ 1473 w 1474"/>
              <a:gd name="T1" fmla="*/ 740 h 1473"/>
              <a:gd name="T2" fmla="*/ 1473 w 1474"/>
              <a:gd name="T3" fmla="*/ 740 h 1473"/>
              <a:gd name="T4" fmla="*/ 741 w 1474"/>
              <a:gd name="T5" fmla="*/ 1472 h 1473"/>
              <a:gd name="T6" fmla="*/ 0 w 1474"/>
              <a:gd name="T7" fmla="*/ 740 h 1473"/>
              <a:gd name="T8" fmla="*/ 741 w 1474"/>
              <a:gd name="T9" fmla="*/ 0 h 1473"/>
              <a:gd name="T10" fmla="*/ 1473 w 1474"/>
              <a:gd name="T11" fmla="*/ 740 h 1473"/>
            </a:gdLst>
            <a:ahLst/>
            <a:cxnLst>
              <a:cxn ang="0">
                <a:pos x="T0" y="T1"/>
              </a:cxn>
              <a:cxn ang="0">
                <a:pos x="T2" y="T3"/>
              </a:cxn>
              <a:cxn ang="0">
                <a:pos x="T4" y="T5"/>
              </a:cxn>
              <a:cxn ang="0">
                <a:pos x="T6" y="T7"/>
              </a:cxn>
              <a:cxn ang="0">
                <a:pos x="T8" y="T9"/>
              </a:cxn>
              <a:cxn ang="0">
                <a:pos x="T10" y="T11"/>
              </a:cxn>
            </a:cxnLst>
            <a:rect l="0" t="0" r="r" b="b"/>
            <a:pathLst>
              <a:path w="1474" h="1473">
                <a:moveTo>
                  <a:pt x="1473" y="740"/>
                </a:moveTo>
                <a:lnTo>
                  <a:pt x="1473" y="740"/>
                </a:lnTo>
                <a:cubicBezTo>
                  <a:pt x="1473" y="1147"/>
                  <a:pt x="1147" y="1472"/>
                  <a:pt x="741" y="1472"/>
                </a:cubicBezTo>
                <a:cubicBezTo>
                  <a:pt x="325" y="1472"/>
                  <a:pt x="0" y="1147"/>
                  <a:pt x="0" y="740"/>
                </a:cubicBezTo>
                <a:cubicBezTo>
                  <a:pt x="0" y="325"/>
                  <a:pt x="325" y="0"/>
                  <a:pt x="741" y="0"/>
                </a:cubicBezTo>
                <a:cubicBezTo>
                  <a:pt x="1147" y="0"/>
                  <a:pt x="1473" y="325"/>
                  <a:pt x="1473" y="740"/>
                </a:cubicBezTo>
              </a:path>
            </a:pathLst>
          </a:custGeom>
          <a:solidFill>
            <a:srgbClr val="EDA13E"/>
          </a:solidFill>
          <a:ln w="9525" cap="flat">
            <a:noFill/>
            <a:bevel/>
          </a:ln>
          <a:effectLst/>
        </p:spPr>
        <p:txBody>
          <a:bodyPr wrap="none" anchor="ctr"/>
          <a:lstStyle/>
          <a:p>
            <a:endParaRPr lang="en-US"/>
          </a:p>
        </p:txBody>
      </p:sp>
      <p:sp>
        <p:nvSpPr>
          <p:cNvPr id="87" name="Freeform 178">
            <a:extLst>
              <a:ext uri="{FF2B5EF4-FFF2-40B4-BE49-F238E27FC236}">
                <a16:creationId xmlns:a16="http://schemas.microsoft.com/office/drawing/2014/main" id="{57E238EC-5E3B-724B-824A-991294CD73C2}"/>
              </a:ext>
            </a:extLst>
          </p:cNvPr>
          <p:cNvSpPr>
            <a:spLocks noChangeArrowheads="1"/>
          </p:cNvSpPr>
          <p:nvPr/>
        </p:nvSpPr>
        <p:spPr bwMode="auto">
          <a:xfrm>
            <a:off x="10852680" y="1609156"/>
            <a:ext cx="786989" cy="791702"/>
          </a:xfrm>
          <a:custGeom>
            <a:avLst/>
            <a:gdLst>
              <a:gd name="T0" fmla="*/ 1473 w 1474"/>
              <a:gd name="T1" fmla="*/ 740 h 1482"/>
              <a:gd name="T2" fmla="*/ 1473 w 1474"/>
              <a:gd name="T3" fmla="*/ 740 h 1482"/>
              <a:gd name="T4" fmla="*/ 733 w 1474"/>
              <a:gd name="T5" fmla="*/ 1481 h 1482"/>
              <a:gd name="T6" fmla="*/ 0 w 1474"/>
              <a:gd name="T7" fmla="*/ 740 h 1482"/>
              <a:gd name="T8" fmla="*/ 733 w 1474"/>
              <a:gd name="T9" fmla="*/ 0 h 1482"/>
              <a:gd name="T10" fmla="*/ 1473 w 1474"/>
              <a:gd name="T11" fmla="*/ 740 h 1482"/>
            </a:gdLst>
            <a:ahLst/>
            <a:cxnLst>
              <a:cxn ang="0">
                <a:pos x="T0" y="T1"/>
              </a:cxn>
              <a:cxn ang="0">
                <a:pos x="T2" y="T3"/>
              </a:cxn>
              <a:cxn ang="0">
                <a:pos x="T4" y="T5"/>
              </a:cxn>
              <a:cxn ang="0">
                <a:pos x="T6" y="T7"/>
              </a:cxn>
              <a:cxn ang="0">
                <a:pos x="T8" y="T9"/>
              </a:cxn>
              <a:cxn ang="0">
                <a:pos x="T10" y="T11"/>
              </a:cxn>
            </a:cxnLst>
            <a:rect l="0" t="0" r="r" b="b"/>
            <a:pathLst>
              <a:path w="1474" h="1482">
                <a:moveTo>
                  <a:pt x="1473" y="740"/>
                </a:moveTo>
                <a:lnTo>
                  <a:pt x="1473" y="740"/>
                </a:lnTo>
                <a:cubicBezTo>
                  <a:pt x="1473" y="1147"/>
                  <a:pt x="1148" y="1481"/>
                  <a:pt x="733" y="1481"/>
                </a:cubicBezTo>
                <a:cubicBezTo>
                  <a:pt x="326" y="1481"/>
                  <a:pt x="0" y="1147"/>
                  <a:pt x="0" y="740"/>
                </a:cubicBezTo>
                <a:cubicBezTo>
                  <a:pt x="0" y="334"/>
                  <a:pt x="326" y="0"/>
                  <a:pt x="733" y="0"/>
                </a:cubicBezTo>
                <a:cubicBezTo>
                  <a:pt x="1148" y="0"/>
                  <a:pt x="1473" y="334"/>
                  <a:pt x="1473" y="740"/>
                </a:cubicBezTo>
              </a:path>
            </a:pathLst>
          </a:custGeom>
          <a:solidFill>
            <a:srgbClr val="B41F7A"/>
          </a:solidFill>
          <a:ln w="9525" cap="flat">
            <a:noFill/>
            <a:bevel/>
          </a:ln>
          <a:effectLst/>
        </p:spPr>
        <p:txBody>
          <a:bodyPr wrap="none" anchor="ctr"/>
          <a:lstStyle/>
          <a:p>
            <a:endParaRPr lang="en-US"/>
          </a:p>
        </p:txBody>
      </p:sp>
      <p:sp>
        <p:nvSpPr>
          <p:cNvPr id="145" name="Text Placeholder 17">
            <a:extLst>
              <a:ext uri="{FF2B5EF4-FFF2-40B4-BE49-F238E27FC236}">
                <a16:creationId xmlns:a16="http://schemas.microsoft.com/office/drawing/2014/main" id="{DAE6D4C0-6899-EF4D-9FAF-4D8C3B217C65}"/>
              </a:ext>
            </a:extLst>
          </p:cNvPr>
          <p:cNvSpPr>
            <a:spLocks noGrp="1"/>
          </p:cNvSpPr>
          <p:nvPr userDrawn="1">
            <p:ph type="body" sz="quarter" idx="25" hasCustomPrompt="1"/>
          </p:nvPr>
        </p:nvSpPr>
        <p:spPr>
          <a:xfrm>
            <a:off x="2519373" y="2476787"/>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Your Title</a:t>
            </a:r>
            <a:endParaRPr lang="en-US"/>
          </a:p>
        </p:txBody>
      </p:sp>
      <p:sp>
        <p:nvSpPr>
          <p:cNvPr id="147" name="Text Placeholder 17">
            <a:extLst>
              <a:ext uri="{FF2B5EF4-FFF2-40B4-BE49-F238E27FC236}">
                <a16:creationId xmlns:a16="http://schemas.microsoft.com/office/drawing/2014/main" id="{4A7B02EF-9D32-9E4D-A155-FD8D2BEEF1E8}"/>
              </a:ext>
            </a:extLst>
          </p:cNvPr>
          <p:cNvSpPr>
            <a:spLocks noGrp="1"/>
          </p:cNvSpPr>
          <p:nvPr userDrawn="1">
            <p:ph type="body" sz="quarter" idx="27" hasCustomPrompt="1"/>
          </p:nvPr>
        </p:nvSpPr>
        <p:spPr>
          <a:xfrm>
            <a:off x="4466172" y="3462500"/>
            <a:ext cx="1853076"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Your Title</a:t>
            </a:r>
            <a:endParaRPr lang="en-US"/>
          </a:p>
        </p:txBody>
      </p:sp>
      <p:sp>
        <p:nvSpPr>
          <p:cNvPr id="153" name="Text Placeholder 17">
            <a:extLst>
              <a:ext uri="{FF2B5EF4-FFF2-40B4-BE49-F238E27FC236}">
                <a16:creationId xmlns:a16="http://schemas.microsoft.com/office/drawing/2014/main" id="{6F3EB50C-D614-9148-BADE-CDDF657537E1}"/>
              </a:ext>
            </a:extLst>
          </p:cNvPr>
          <p:cNvSpPr>
            <a:spLocks noGrp="1"/>
          </p:cNvSpPr>
          <p:nvPr userDrawn="1">
            <p:ph type="body" sz="quarter" idx="33" hasCustomPrompt="1"/>
          </p:nvPr>
        </p:nvSpPr>
        <p:spPr>
          <a:xfrm>
            <a:off x="5659370" y="1887731"/>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Your Title</a:t>
            </a:r>
            <a:endParaRPr lang="en-US"/>
          </a:p>
        </p:txBody>
      </p:sp>
      <p:sp>
        <p:nvSpPr>
          <p:cNvPr id="154" name="Text Placeholder 17">
            <a:extLst>
              <a:ext uri="{FF2B5EF4-FFF2-40B4-BE49-F238E27FC236}">
                <a16:creationId xmlns:a16="http://schemas.microsoft.com/office/drawing/2014/main" id="{43222CA0-2E78-6A40-979E-1DAE10272C71}"/>
              </a:ext>
            </a:extLst>
          </p:cNvPr>
          <p:cNvSpPr>
            <a:spLocks noGrp="1"/>
          </p:cNvSpPr>
          <p:nvPr>
            <p:ph type="body" sz="quarter" idx="34" hasCustomPrompt="1"/>
          </p:nvPr>
        </p:nvSpPr>
        <p:spPr>
          <a:xfrm>
            <a:off x="2138039" y="3421579"/>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1</a:t>
            </a:r>
            <a:endParaRPr lang="en-US"/>
          </a:p>
        </p:txBody>
      </p:sp>
      <p:sp>
        <p:nvSpPr>
          <p:cNvPr id="36" name="Text Placeholder 17">
            <a:extLst>
              <a:ext uri="{FF2B5EF4-FFF2-40B4-BE49-F238E27FC236}">
                <a16:creationId xmlns:a16="http://schemas.microsoft.com/office/drawing/2014/main" id="{6E1A7CF4-E6FF-8D4B-867B-3C198DB57314}"/>
              </a:ext>
            </a:extLst>
          </p:cNvPr>
          <p:cNvSpPr>
            <a:spLocks noGrp="1"/>
          </p:cNvSpPr>
          <p:nvPr>
            <p:ph type="body" sz="quarter" idx="35" hasCustomPrompt="1"/>
          </p:nvPr>
        </p:nvSpPr>
        <p:spPr>
          <a:xfrm>
            <a:off x="6003355" y="4641816"/>
            <a:ext cx="695250" cy="734798"/>
          </a:xfrm>
          <a:noFill/>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2</a:t>
            </a:r>
            <a:endParaRPr lang="en-US"/>
          </a:p>
        </p:txBody>
      </p:sp>
      <p:sp>
        <p:nvSpPr>
          <p:cNvPr id="39" name="Text Placeholder 17">
            <a:extLst>
              <a:ext uri="{FF2B5EF4-FFF2-40B4-BE49-F238E27FC236}">
                <a16:creationId xmlns:a16="http://schemas.microsoft.com/office/drawing/2014/main" id="{BFE69741-8104-EF45-9674-B4F26DEBFFD1}"/>
              </a:ext>
            </a:extLst>
          </p:cNvPr>
          <p:cNvSpPr>
            <a:spLocks noGrp="1"/>
          </p:cNvSpPr>
          <p:nvPr>
            <p:ph type="body" sz="quarter" idx="29" hasCustomPrompt="1"/>
          </p:nvPr>
        </p:nvSpPr>
        <p:spPr>
          <a:xfrm>
            <a:off x="6964823" y="3174422"/>
            <a:ext cx="213096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Your Title</a:t>
            </a:r>
            <a:endParaRPr lang="en-US"/>
          </a:p>
        </p:txBody>
      </p:sp>
      <p:sp>
        <p:nvSpPr>
          <p:cNvPr id="42" name="Text Placeholder 17">
            <a:extLst>
              <a:ext uri="{FF2B5EF4-FFF2-40B4-BE49-F238E27FC236}">
                <a16:creationId xmlns:a16="http://schemas.microsoft.com/office/drawing/2014/main" id="{19ADE865-DD46-6A4A-B20B-AFFCE1CA78D9}"/>
              </a:ext>
            </a:extLst>
          </p:cNvPr>
          <p:cNvSpPr>
            <a:spLocks noGrp="1"/>
          </p:cNvSpPr>
          <p:nvPr>
            <p:ph type="body" sz="quarter" idx="31" hasCustomPrompt="1"/>
          </p:nvPr>
        </p:nvSpPr>
        <p:spPr>
          <a:xfrm>
            <a:off x="9081526" y="2119951"/>
            <a:ext cx="2333958"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Your Title</a:t>
            </a:r>
            <a:endParaRPr lang="en-US"/>
          </a:p>
        </p:txBody>
      </p:sp>
      <p:sp>
        <p:nvSpPr>
          <p:cNvPr id="51" name="Text Placeholder 17">
            <a:extLst>
              <a:ext uri="{FF2B5EF4-FFF2-40B4-BE49-F238E27FC236}">
                <a16:creationId xmlns:a16="http://schemas.microsoft.com/office/drawing/2014/main" id="{DC0B00F6-5FCE-6D47-AF0C-495830F8CD89}"/>
              </a:ext>
            </a:extLst>
          </p:cNvPr>
          <p:cNvSpPr>
            <a:spLocks noGrp="1"/>
          </p:cNvSpPr>
          <p:nvPr>
            <p:ph type="body" sz="quarter" idx="38" hasCustomPrompt="1"/>
          </p:nvPr>
        </p:nvSpPr>
        <p:spPr>
          <a:xfrm>
            <a:off x="10942078" y="1707788"/>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5</a:t>
            </a:r>
            <a:endParaRPr lang="en-US"/>
          </a:p>
        </p:txBody>
      </p:sp>
      <p:sp>
        <p:nvSpPr>
          <p:cNvPr id="27" name="Text Placeholder 17">
            <a:extLst>
              <a:ext uri="{FF2B5EF4-FFF2-40B4-BE49-F238E27FC236}">
                <a16:creationId xmlns:a16="http://schemas.microsoft.com/office/drawing/2014/main" id="{644C8ACD-EE45-3247-B5B4-70E60CEED05C}"/>
              </a:ext>
            </a:extLst>
          </p:cNvPr>
          <p:cNvSpPr>
            <a:spLocks noGrp="1"/>
          </p:cNvSpPr>
          <p:nvPr>
            <p:ph type="body" sz="quarter" idx="37" hasCustomPrompt="1"/>
          </p:nvPr>
        </p:nvSpPr>
        <p:spPr>
          <a:xfrm>
            <a:off x="8119887" y="2463875"/>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4</a:t>
            </a:r>
            <a:endParaRPr lang="en-US"/>
          </a:p>
        </p:txBody>
      </p:sp>
      <p:sp>
        <p:nvSpPr>
          <p:cNvPr id="28" name="Rectangle 27">
            <a:extLst>
              <a:ext uri="{FF2B5EF4-FFF2-40B4-BE49-F238E27FC236}">
                <a16:creationId xmlns:a16="http://schemas.microsoft.com/office/drawing/2014/main" id="{7E78B14B-6951-054D-A2DF-A8FCDEF0709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8ECF504B-3325-7A4A-B030-DF8FF389736A}"/>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506695" y="6583579"/>
            <a:ext cx="1300365" cy="144173"/>
          </a:xfrm>
          <a:prstGeom prst="rect">
            <a:avLst/>
          </a:prstGeom>
        </p:spPr>
      </p:pic>
      <p:sp>
        <p:nvSpPr>
          <p:cNvPr id="32" name="Text Placeholder 17">
            <a:extLst>
              <a:ext uri="{FF2B5EF4-FFF2-40B4-BE49-F238E27FC236}">
                <a16:creationId xmlns:a16="http://schemas.microsoft.com/office/drawing/2014/main" id="{F3012E70-A541-AE4B-94FA-000AAF6B3A11}"/>
              </a:ext>
            </a:extLst>
          </p:cNvPr>
          <p:cNvSpPr>
            <a:spLocks noGrp="1"/>
          </p:cNvSpPr>
          <p:nvPr>
            <p:ph type="body" sz="quarter" idx="36" hasCustomPrompt="1"/>
          </p:nvPr>
        </p:nvSpPr>
        <p:spPr>
          <a:xfrm>
            <a:off x="5575772" y="1390066"/>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3</a:t>
            </a:r>
            <a:endParaRPr lang="en-US"/>
          </a:p>
        </p:txBody>
      </p:sp>
    </p:spTree>
    <p:extLst>
      <p:ext uri="{BB962C8B-B14F-4D97-AF65-F5344CB8AC3E}">
        <p14:creationId xmlns:p14="http://schemas.microsoft.com/office/powerpoint/2010/main" val="3507714267"/>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point number graph with icons ">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Calibri" panose="020F0502020204030204" pitchFamily="34" charset="0"/>
                <a:cs typeface="Calibri" panose="020F0502020204030204" pitchFamily="34" charset="0"/>
              </a:defRPr>
            </a:lvl1pPr>
          </a:lstStyle>
          <a:p>
            <a:pPr lvl="0"/>
            <a:r>
              <a:rPr lang="en-US"/>
              <a:t>Heading</a:t>
            </a:r>
          </a:p>
        </p:txBody>
      </p:sp>
      <p:sp>
        <p:nvSpPr>
          <p:cNvPr id="33" name="Oval 32">
            <a:extLst>
              <a:ext uri="{FF2B5EF4-FFF2-40B4-BE49-F238E27FC236}">
                <a16:creationId xmlns:a16="http://schemas.microsoft.com/office/drawing/2014/main" id="{7EB02BD7-70AD-D749-AB02-A773D9584280}"/>
              </a:ext>
            </a:extLst>
          </p:cNvPr>
          <p:cNvSpPr/>
          <p:nvPr/>
        </p:nvSpPr>
        <p:spPr>
          <a:xfrm>
            <a:off x="2089889" y="2141094"/>
            <a:ext cx="2664102" cy="266410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9D30D462-B88D-4645-A255-F2108DEBADF2}"/>
              </a:ext>
            </a:extLst>
          </p:cNvPr>
          <p:cNvSpPr/>
          <p:nvPr/>
        </p:nvSpPr>
        <p:spPr>
          <a:xfrm>
            <a:off x="4385115" y="2141094"/>
            <a:ext cx="2664102" cy="266410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9030B4BB-AEAA-B74F-9C0C-375C2CEE4D88}"/>
              </a:ext>
            </a:extLst>
          </p:cNvPr>
          <p:cNvSpPr/>
          <p:nvPr/>
        </p:nvSpPr>
        <p:spPr>
          <a:xfrm>
            <a:off x="6680341" y="2141094"/>
            <a:ext cx="2664102" cy="266410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29A6A2A1-61AE-EA42-82A0-137FB4195E3E}"/>
              </a:ext>
            </a:extLst>
          </p:cNvPr>
          <p:cNvSpPr/>
          <p:nvPr/>
        </p:nvSpPr>
        <p:spPr>
          <a:xfrm>
            <a:off x="8975567" y="2141094"/>
            <a:ext cx="2664102" cy="266410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A9116FB9-51EC-4D4B-AECA-B8C5CE39EA90}"/>
              </a:ext>
            </a:extLst>
          </p:cNvPr>
          <p:cNvSpPr/>
          <p:nvPr/>
        </p:nvSpPr>
        <p:spPr>
          <a:xfrm>
            <a:off x="2458765" y="1698686"/>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4DAB1F1D-D494-B64C-B788-EA224F69D000}"/>
              </a:ext>
            </a:extLst>
          </p:cNvPr>
          <p:cNvSpPr/>
          <p:nvPr/>
        </p:nvSpPr>
        <p:spPr>
          <a:xfrm>
            <a:off x="4753991" y="1698686"/>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EACA38CC-B881-B64C-986A-7396F7157B4A}"/>
              </a:ext>
            </a:extLst>
          </p:cNvPr>
          <p:cNvSpPr/>
          <p:nvPr userDrawn="1"/>
        </p:nvSpPr>
        <p:spPr>
          <a:xfrm>
            <a:off x="7049217" y="1698686"/>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1602613E-7EEE-C347-90CD-3FD01C4F925E}"/>
              </a:ext>
            </a:extLst>
          </p:cNvPr>
          <p:cNvSpPr/>
          <p:nvPr/>
        </p:nvSpPr>
        <p:spPr>
          <a:xfrm>
            <a:off x="9344443" y="1698686"/>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AE668048-3D1A-0944-9382-E43B157DF0C1}"/>
              </a:ext>
            </a:extLst>
          </p:cNvPr>
          <p:cNvSpPr/>
          <p:nvPr/>
        </p:nvSpPr>
        <p:spPr>
          <a:xfrm>
            <a:off x="2562014" y="1786976"/>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3D1DD726-B492-8E44-9918-192EF5BA2D3D}"/>
              </a:ext>
            </a:extLst>
          </p:cNvPr>
          <p:cNvSpPr/>
          <p:nvPr/>
        </p:nvSpPr>
        <p:spPr>
          <a:xfrm>
            <a:off x="4860745" y="180544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4626D483-2F4C-9149-AE75-A1DB204AF180}"/>
              </a:ext>
            </a:extLst>
          </p:cNvPr>
          <p:cNvSpPr/>
          <p:nvPr/>
        </p:nvSpPr>
        <p:spPr>
          <a:xfrm>
            <a:off x="7155971" y="1805439"/>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5CC52548-81E9-E848-ACC2-147DFAA24991}"/>
              </a:ext>
            </a:extLst>
          </p:cNvPr>
          <p:cNvSpPr/>
          <p:nvPr/>
        </p:nvSpPr>
        <p:spPr>
          <a:xfrm>
            <a:off x="9451197" y="1805439"/>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615F96DE-6B77-E34D-972D-58623A9BC87D}"/>
              </a:ext>
            </a:extLst>
          </p:cNvPr>
          <p:cNvSpPr/>
          <p:nvPr/>
        </p:nvSpPr>
        <p:spPr>
          <a:xfrm>
            <a:off x="3435379" y="4279578"/>
            <a:ext cx="879736" cy="87973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94673B41-433E-E44D-900C-5050C967F29E}"/>
              </a:ext>
            </a:extLst>
          </p:cNvPr>
          <p:cNvSpPr/>
          <p:nvPr/>
        </p:nvSpPr>
        <p:spPr>
          <a:xfrm>
            <a:off x="5798873" y="4279578"/>
            <a:ext cx="879736" cy="879735"/>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64773E4C-32A9-DB4E-BCDC-F968258A12B8}"/>
              </a:ext>
            </a:extLst>
          </p:cNvPr>
          <p:cNvSpPr/>
          <p:nvPr/>
        </p:nvSpPr>
        <p:spPr>
          <a:xfrm>
            <a:off x="8095831" y="4279578"/>
            <a:ext cx="879736" cy="87973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FF264980-2C35-3447-8873-1AA9114E2FDB}"/>
              </a:ext>
            </a:extLst>
          </p:cNvPr>
          <p:cNvSpPr/>
          <p:nvPr/>
        </p:nvSpPr>
        <p:spPr>
          <a:xfrm>
            <a:off x="10526240" y="4279578"/>
            <a:ext cx="879736" cy="879735"/>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 Placeholder 17">
            <a:extLst>
              <a:ext uri="{FF2B5EF4-FFF2-40B4-BE49-F238E27FC236}">
                <a16:creationId xmlns:a16="http://schemas.microsoft.com/office/drawing/2014/main" id="{6ADBD416-235E-8042-9F21-FF4E75B4608C}"/>
              </a:ext>
            </a:extLst>
          </p:cNvPr>
          <p:cNvSpPr>
            <a:spLocks noGrp="1"/>
          </p:cNvSpPr>
          <p:nvPr userDrawn="1">
            <p:ph type="body" sz="quarter" idx="34" hasCustomPrompt="1"/>
          </p:nvPr>
        </p:nvSpPr>
        <p:spPr>
          <a:xfrm>
            <a:off x="2747941" y="1946907"/>
            <a:ext cx="695250" cy="734798"/>
          </a:xfrm>
        </p:spPr>
        <p:txBody>
          <a:bodyPr/>
          <a:lstStyle>
            <a:lvl1pPr algn="ctr">
              <a:buNone/>
              <a:defRPr sz="48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1</a:t>
            </a:r>
            <a:endParaRPr lang="en-US"/>
          </a:p>
        </p:txBody>
      </p:sp>
      <p:sp>
        <p:nvSpPr>
          <p:cNvPr id="63" name="Text Placeholder 17">
            <a:extLst>
              <a:ext uri="{FF2B5EF4-FFF2-40B4-BE49-F238E27FC236}">
                <a16:creationId xmlns:a16="http://schemas.microsoft.com/office/drawing/2014/main" id="{2BBAC9AE-474F-0D44-9EBA-0537E6983137}"/>
              </a:ext>
            </a:extLst>
          </p:cNvPr>
          <p:cNvSpPr>
            <a:spLocks noGrp="1"/>
          </p:cNvSpPr>
          <p:nvPr userDrawn="1">
            <p:ph type="body" sz="quarter" idx="35" hasCustomPrompt="1"/>
          </p:nvPr>
        </p:nvSpPr>
        <p:spPr>
          <a:xfrm>
            <a:off x="5064548" y="1949503"/>
            <a:ext cx="695250" cy="734798"/>
          </a:xfrm>
        </p:spPr>
        <p:txBody>
          <a:bodyPr/>
          <a:lstStyle>
            <a:lvl1pPr algn="ctr">
              <a:buNone/>
              <a:defRPr sz="48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2</a:t>
            </a:r>
            <a:endParaRPr lang="en-US"/>
          </a:p>
        </p:txBody>
      </p:sp>
      <p:sp>
        <p:nvSpPr>
          <p:cNvPr id="64" name="Text Placeholder 17">
            <a:extLst>
              <a:ext uri="{FF2B5EF4-FFF2-40B4-BE49-F238E27FC236}">
                <a16:creationId xmlns:a16="http://schemas.microsoft.com/office/drawing/2014/main" id="{BF9CAB18-1D38-D644-A81F-70E5466D0389}"/>
              </a:ext>
            </a:extLst>
          </p:cNvPr>
          <p:cNvSpPr>
            <a:spLocks noGrp="1"/>
          </p:cNvSpPr>
          <p:nvPr userDrawn="1">
            <p:ph type="body" sz="quarter" idx="36" hasCustomPrompt="1"/>
          </p:nvPr>
        </p:nvSpPr>
        <p:spPr>
          <a:xfrm>
            <a:off x="7338393" y="1962861"/>
            <a:ext cx="695250" cy="734798"/>
          </a:xfrm>
        </p:spPr>
        <p:txBody>
          <a:bodyPr/>
          <a:lstStyle>
            <a:lvl1pPr algn="ctr">
              <a:buNone/>
              <a:defRPr sz="48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3</a:t>
            </a:r>
            <a:endParaRPr lang="en-US"/>
          </a:p>
        </p:txBody>
      </p:sp>
      <p:sp>
        <p:nvSpPr>
          <p:cNvPr id="65" name="Text Placeholder 17">
            <a:extLst>
              <a:ext uri="{FF2B5EF4-FFF2-40B4-BE49-F238E27FC236}">
                <a16:creationId xmlns:a16="http://schemas.microsoft.com/office/drawing/2014/main" id="{A8A502A8-834D-C94A-9859-BACB55444207}"/>
              </a:ext>
            </a:extLst>
          </p:cNvPr>
          <p:cNvSpPr>
            <a:spLocks noGrp="1"/>
          </p:cNvSpPr>
          <p:nvPr userDrawn="1">
            <p:ph type="body" sz="quarter" idx="37" hasCustomPrompt="1"/>
          </p:nvPr>
        </p:nvSpPr>
        <p:spPr>
          <a:xfrm>
            <a:off x="9655000" y="1965457"/>
            <a:ext cx="695250" cy="734798"/>
          </a:xfrm>
        </p:spPr>
        <p:txBody>
          <a:bodyPr/>
          <a:lstStyle>
            <a:lvl1pPr algn="ctr">
              <a:buNone/>
              <a:defRPr sz="48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4</a:t>
            </a:r>
            <a:endParaRPr lang="en-US"/>
          </a:p>
        </p:txBody>
      </p:sp>
      <p:sp>
        <p:nvSpPr>
          <p:cNvPr id="70" name="Text Placeholder 17">
            <a:extLst>
              <a:ext uri="{FF2B5EF4-FFF2-40B4-BE49-F238E27FC236}">
                <a16:creationId xmlns:a16="http://schemas.microsoft.com/office/drawing/2014/main" id="{084B4BE7-DD1C-1743-85E4-D3ED17FE67F2}"/>
              </a:ext>
            </a:extLst>
          </p:cNvPr>
          <p:cNvSpPr>
            <a:spLocks noGrp="1"/>
          </p:cNvSpPr>
          <p:nvPr userDrawn="1">
            <p:ph type="body" sz="quarter" idx="21" hasCustomPrompt="1"/>
          </p:nvPr>
        </p:nvSpPr>
        <p:spPr>
          <a:xfrm>
            <a:off x="2291885" y="313586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71" name="Text Placeholder 17">
            <a:extLst>
              <a:ext uri="{FF2B5EF4-FFF2-40B4-BE49-F238E27FC236}">
                <a16:creationId xmlns:a16="http://schemas.microsoft.com/office/drawing/2014/main" id="{5E862C59-ABDF-FB45-866F-C33FB45F9EE7}"/>
              </a:ext>
            </a:extLst>
          </p:cNvPr>
          <p:cNvSpPr>
            <a:spLocks noGrp="1"/>
          </p:cNvSpPr>
          <p:nvPr userDrawn="1">
            <p:ph type="body" sz="quarter" idx="38" hasCustomPrompt="1"/>
          </p:nvPr>
        </p:nvSpPr>
        <p:spPr>
          <a:xfrm>
            <a:off x="4623112" y="311706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72" name="Text Placeholder 17">
            <a:extLst>
              <a:ext uri="{FF2B5EF4-FFF2-40B4-BE49-F238E27FC236}">
                <a16:creationId xmlns:a16="http://schemas.microsoft.com/office/drawing/2014/main" id="{16252092-110B-DF41-BAA1-24D8CA1DA645}"/>
              </a:ext>
            </a:extLst>
          </p:cNvPr>
          <p:cNvSpPr>
            <a:spLocks noGrp="1"/>
          </p:cNvSpPr>
          <p:nvPr userDrawn="1">
            <p:ph type="body" sz="quarter" idx="39" hasCustomPrompt="1"/>
          </p:nvPr>
        </p:nvSpPr>
        <p:spPr>
          <a:xfrm>
            <a:off x="6878370" y="312153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73" name="Text Placeholder 17">
            <a:extLst>
              <a:ext uri="{FF2B5EF4-FFF2-40B4-BE49-F238E27FC236}">
                <a16:creationId xmlns:a16="http://schemas.microsoft.com/office/drawing/2014/main" id="{6BE3560E-17BA-CF47-9892-C7DA0E586994}"/>
              </a:ext>
            </a:extLst>
          </p:cNvPr>
          <p:cNvSpPr>
            <a:spLocks noGrp="1"/>
          </p:cNvSpPr>
          <p:nvPr userDrawn="1">
            <p:ph type="body" sz="quarter" idx="40" hasCustomPrompt="1"/>
          </p:nvPr>
        </p:nvSpPr>
        <p:spPr>
          <a:xfrm>
            <a:off x="9209597" y="310273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30" name="Rectangle 29">
            <a:extLst>
              <a:ext uri="{FF2B5EF4-FFF2-40B4-BE49-F238E27FC236}">
                <a16:creationId xmlns:a16="http://schemas.microsoft.com/office/drawing/2014/main" id="{438284D2-E808-5547-A136-6F12F3B63AA4}"/>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4E1CEB4C-C7AD-E241-A155-72A4E8847102}"/>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10490607" y="6490938"/>
            <a:ext cx="1300365" cy="144173"/>
          </a:xfrm>
          <a:prstGeom prst="rect">
            <a:avLst/>
          </a:prstGeom>
        </p:spPr>
      </p:pic>
    </p:spTree>
    <p:extLst>
      <p:ext uri="{BB962C8B-B14F-4D97-AF65-F5344CB8AC3E}">
        <p14:creationId xmlns:p14="http://schemas.microsoft.com/office/powerpoint/2010/main" val="939996808"/>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point icon graph">
    <p:spTree>
      <p:nvGrpSpPr>
        <p:cNvPr id="1" name=""/>
        <p:cNvGrpSpPr/>
        <p:nvPr/>
      </p:nvGrpSpPr>
      <p:grpSpPr>
        <a:xfrm>
          <a:off x="0" y="0"/>
          <a:ext cx="0" cy="0"/>
          <a:chOff x="0" y="0"/>
          <a:chExt cx="0" cy="0"/>
        </a:xfrm>
      </p:grpSpPr>
      <p:sp>
        <p:nvSpPr>
          <p:cNvPr id="49" name="Freeform 48">
            <a:extLst>
              <a:ext uri="{FF2B5EF4-FFF2-40B4-BE49-F238E27FC236}">
                <a16:creationId xmlns:a16="http://schemas.microsoft.com/office/drawing/2014/main" id="{C2DB8636-C798-AD47-8DC9-47814E3387DD}"/>
              </a:ext>
            </a:extLst>
          </p:cNvPr>
          <p:cNvSpPr/>
          <p:nvPr/>
        </p:nvSpPr>
        <p:spPr>
          <a:xfrm>
            <a:off x="4292836"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3"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b="0" i="0" u="none" strike="noStrike" kern="1200">
              <a:ln>
                <a:noFill/>
              </a:ln>
              <a:latin typeface="Arial" pitchFamily="18"/>
              <a:ea typeface="Arial Unicode MS" pitchFamily="2"/>
              <a:cs typeface="Arial Unicode MS" pitchFamily="2"/>
            </a:endParaRPr>
          </a:p>
        </p:txBody>
      </p:sp>
      <p:sp>
        <p:nvSpPr>
          <p:cNvPr id="50" name="Freeform 49">
            <a:extLst>
              <a:ext uri="{FF2B5EF4-FFF2-40B4-BE49-F238E27FC236}">
                <a16:creationId xmlns:a16="http://schemas.microsoft.com/office/drawing/2014/main" id="{A5ECD853-1DE4-6A49-83BF-BE872511E6E0}"/>
              </a:ext>
            </a:extLst>
          </p:cNvPr>
          <p:cNvSpPr/>
          <p:nvPr/>
        </p:nvSpPr>
        <p:spPr>
          <a:xfrm>
            <a:off x="3846806" y="2428576"/>
            <a:ext cx="323830" cy="326885"/>
          </a:xfrm>
          <a:custGeom>
            <a:avLst/>
            <a:gdLst/>
            <a:ahLst/>
            <a:cxnLst>
              <a:cxn ang="3cd4">
                <a:pos x="hc" y="t"/>
              </a:cxn>
              <a:cxn ang="cd2">
                <a:pos x="l" y="vc"/>
              </a:cxn>
              <a:cxn ang="cd4">
                <a:pos x="hc" y="b"/>
              </a:cxn>
              <a:cxn ang="0">
                <a:pos x="r" y="vc"/>
              </a:cxn>
            </a:cxnLst>
            <a:rect l="l" t="t" r="r" b="b"/>
            <a:pathLst>
              <a:path w="213" h="215">
                <a:moveTo>
                  <a:pt x="213" y="107"/>
                </a:moveTo>
                <a:cubicBezTo>
                  <a:pt x="213" y="166"/>
                  <a:pt x="166" y="215"/>
                  <a:pt x="106" y="215"/>
                </a:cubicBezTo>
                <a:cubicBezTo>
                  <a:pt x="48" y="215"/>
                  <a:pt x="0" y="166"/>
                  <a:pt x="0" y="107"/>
                </a:cubicBezTo>
                <a:cubicBezTo>
                  <a:pt x="0" y="48"/>
                  <a:pt x="48" y="0"/>
                  <a:pt x="106" y="0"/>
                </a:cubicBezTo>
                <a:cubicBezTo>
                  <a:pt x="166" y="0"/>
                  <a:pt x="213" y="48"/>
                  <a:pt x="213" y="10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b="0" i="0" u="none" strike="noStrike" kern="1200">
              <a:ln>
                <a:noFill/>
              </a:ln>
              <a:latin typeface="Arial" pitchFamily="18"/>
              <a:ea typeface="Arial Unicode MS" pitchFamily="2"/>
              <a:cs typeface="Arial Unicode MS" pitchFamily="2"/>
            </a:endParaRPr>
          </a:p>
        </p:txBody>
      </p:sp>
      <p:sp>
        <p:nvSpPr>
          <p:cNvPr id="51" name="Freeform 50">
            <a:extLst>
              <a:ext uri="{FF2B5EF4-FFF2-40B4-BE49-F238E27FC236}">
                <a16:creationId xmlns:a16="http://schemas.microsoft.com/office/drawing/2014/main" id="{1FB605EC-FC6D-3D40-A5B0-5C7A5B28222F}"/>
              </a:ext>
            </a:extLst>
          </p:cNvPr>
          <p:cNvSpPr/>
          <p:nvPr/>
        </p:nvSpPr>
        <p:spPr>
          <a:xfrm>
            <a:off x="3912488"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9" y="128"/>
                  <a:pt x="63" y="128"/>
                </a:cubicBezTo>
                <a:cubicBezTo>
                  <a:pt x="28" y="128"/>
                  <a:pt x="0" y="100"/>
                  <a:pt x="0" y="64"/>
                </a:cubicBezTo>
                <a:cubicBezTo>
                  <a:pt x="0" y="30"/>
                  <a:pt x="28" y="0"/>
                  <a:pt x="63" y="0"/>
                </a:cubicBezTo>
                <a:cubicBezTo>
                  <a:pt x="99"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b="0" i="0" u="none" strike="noStrike" kern="1200">
              <a:ln>
                <a:noFill/>
              </a:ln>
              <a:latin typeface="Arial" pitchFamily="18"/>
              <a:ea typeface="Arial Unicode MS" pitchFamily="2"/>
              <a:cs typeface="Arial Unicode MS" pitchFamily="2"/>
            </a:endParaRPr>
          </a:p>
        </p:txBody>
      </p:sp>
      <p:sp>
        <p:nvSpPr>
          <p:cNvPr id="52" name="Freeform 51">
            <a:extLst>
              <a:ext uri="{FF2B5EF4-FFF2-40B4-BE49-F238E27FC236}">
                <a16:creationId xmlns:a16="http://schemas.microsoft.com/office/drawing/2014/main" id="{813784D3-D312-744B-8BF6-8D3D764C1FF8}"/>
              </a:ext>
            </a:extLst>
          </p:cNvPr>
          <p:cNvSpPr/>
          <p:nvPr/>
        </p:nvSpPr>
        <p:spPr>
          <a:xfrm>
            <a:off x="3324401" y="800258"/>
            <a:ext cx="1370167" cy="1510697"/>
          </a:xfrm>
          <a:custGeom>
            <a:avLst/>
            <a:gdLst/>
            <a:ahLst/>
            <a:cxnLst>
              <a:cxn ang="3cd4">
                <a:pos x="hc" y="t"/>
              </a:cxn>
              <a:cxn ang="cd2">
                <a:pos x="l" y="vc"/>
              </a:cxn>
              <a:cxn ang="cd4">
                <a:pos x="hc" y="b"/>
              </a:cxn>
              <a:cxn ang="0">
                <a:pos x="r" y="vc"/>
              </a:cxn>
            </a:cxnLst>
            <a:rect l="l" t="t" r="r" b="b"/>
            <a:pathLst>
              <a:path w="898" h="990">
                <a:moveTo>
                  <a:pt x="898" y="447"/>
                </a:moveTo>
                <a:cubicBezTo>
                  <a:pt x="898" y="649"/>
                  <a:pt x="765" y="819"/>
                  <a:pt x="583" y="875"/>
                </a:cubicBezTo>
                <a:cubicBezTo>
                  <a:pt x="541" y="889"/>
                  <a:pt x="471" y="936"/>
                  <a:pt x="448" y="990"/>
                </a:cubicBezTo>
                <a:cubicBezTo>
                  <a:pt x="427" y="941"/>
                  <a:pt x="357" y="889"/>
                  <a:pt x="314" y="875"/>
                </a:cubicBezTo>
                <a:cubicBezTo>
                  <a:pt x="131" y="817"/>
                  <a:pt x="0" y="649"/>
                  <a:pt x="0" y="447"/>
                </a:cubicBezTo>
                <a:cubicBezTo>
                  <a:pt x="0" y="200"/>
                  <a:pt x="201" y="0"/>
                  <a:pt x="448" y="0"/>
                </a:cubicBezTo>
                <a:cubicBezTo>
                  <a:pt x="696" y="0"/>
                  <a:pt x="898" y="200"/>
                  <a:pt x="898" y="44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b="0" i="0" u="none" strike="noStrike" kern="1200">
              <a:ln>
                <a:noFill/>
              </a:ln>
              <a:latin typeface="Arial" pitchFamily="18"/>
              <a:ea typeface="Arial Unicode MS" pitchFamily="2"/>
              <a:cs typeface="Arial Unicode MS" pitchFamily="2"/>
            </a:endParaRPr>
          </a:p>
        </p:txBody>
      </p:sp>
      <p:sp>
        <p:nvSpPr>
          <p:cNvPr id="53" name="Freeform 52">
            <a:extLst>
              <a:ext uri="{FF2B5EF4-FFF2-40B4-BE49-F238E27FC236}">
                <a16:creationId xmlns:a16="http://schemas.microsoft.com/office/drawing/2014/main" id="{C952250C-2D0F-064B-B9BE-BB9EECA238E4}"/>
              </a:ext>
            </a:extLst>
          </p:cNvPr>
          <p:cNvSpPr/>
          <p:nvPr/>
        </p:nvSpPr>
        <p:spPr>
          <a:xfrm>
            <a:off x="6055570"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5" y="215"/>
                  <a:pt x="106" y="215"/>
                </a:cubicBezTo>
                <a:cubicBezTo>
                  <a:pt x="46" y="215"/>
                  <a:pt x="0" y="166"/>
                  <a:pt x="0" y="107"/>
                </a:cubicBezTo>
                <a:cubicBezTo>
                  <a:pt x="0" y="48"/>
                  <a:pt x="46" y="0"/>
                  <a:pt x="106" y="0"/>
                </a:cubicBezTo>
                <a:cubicBezTo>
                  <a:pt x="165" y="0"/>
                  <a:pt x="214" y="48"/>
                  <a:pt x="214" y="107"/>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b="0" i="0" u="none" strike="noStrike" kern="1200">
              <a:ln>
                <a:noFill/>
              </a:ln>
              <a:latin typeface="Arial" pitchFamily="18"/>
              <a:ea typeface="Arial Unicode MS" pitchFamily="2"/>
              <a:cs typeface="Arial Unicode MS" pitchFamily="2"/>
            </a:endParaRPr>
          </a:p>
        </p:txBody>
      </p:sp>
      <p:sp>
        <p:nvSpPr>
          <p:cNvPr id="54" name="Freeform 53">
            <a:extLst>
              <a:ext uri="{FF2B5EF4-FFF2-40B4-BE49-F238E27FC236}">
                <a16:creationId xmlns:a16="http://schemas.microsoft.com/office/drawing/2014/main" id="{1383608B-3ED7-074D-A0C2-469C4A907A53}"/>
              </a:ext>
            </a:extLst>
          </p:cNvPr>
          <p:cNvSpPr/>
          <p:nvPr/>
        </p:nvSpPr>
        <p:spPr>
          <a:xfrm>
            <a:off x="6119725" y="2494259"/>
            <a:ext cx="193993" cy="193992"/>
          </a:xfrm>
          <a:custGeom>
            <a:avLst/>
            <a:gdLst/>
            <a:ahLst/>
            <a:cxnLst>
              <a:cxn ang="3cd4">
                <a:pos x="hc" y="t"/>
              </a:cxn>
              <a:cxn ang="cd2">
                <a:pos x="l" y="vc"/>
              </a:cxn>
              <a:cxn ang="cd4">
                <a:pos x="hc" y="b"/>
              </a:cxn>
              <a:cxn ang="0">
                <a:pos x="r" y="vc"/>
              </a:cxn>
            </a:cxnLst>
            <a:rect l="l" t="t" r="r" b="b"/>
            <a:pathLst>
              <a:path w="128" h="128">
                <a:moveTo>
                  <a:pt x="128" y="64"/>
                </a:moveTo>
                <a:cubicBezTo>
                  <a:pt x="128" y="100"/>
                  <a:pt x="100" y="128"/>
                  <a:pt x="64" y="128"/>
                </a:cubicBezTo>
                <a:cubicBezTo>
                  <a:pt x="28" y="128"/>
                  <a:pt x="0" y="100"/>
                  <a:pt x="0" y="64"/>
                </a:cubicBezTo>
                <a:cubicBezTo>
                  <a:pt x="0" y="30"/>
                  <a:pt x="28" y="0"/>
                  <a:pt x="64" y="0"/>
                </a:cubicBezTo>
                <a:cubicBezTo>
                  <a:pt x="100" y="0"/>
                  <a:pt x="128" y="30"/>
                  <a:pt x="128"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b="0" i="0" u="none" strike="noStrike" kern="1200">
              <a:ln>
                <a:noFill/>
              </a:ln>
              <a:latin typeface="Arial" pitchFamily="18"/>
              <a:ea typeface="Arial Unicode MS" pitchFamily="2"/>
              <a:cs typeface="Arial Unicode MS" pitchFamily="2"/>
            </a:endParaRPr>
          </a:p>
        </p:txBody>
      </p:sp>
      <p:sp>
        <p:nvSpPr>
          <p:cNvPr id="55" name="Freeform 54">
            <a:extLst>
              <a:ext uri="{FF2B5EF4-FFF2-40B4-BE49-F238E27FC236}">
                <a16:creationId xmlns:a16="http://schemas.microsoft.com/office/drawing/2014/main" id="{49B34B02-D6BF-B143-85D1-021CEA346336}"/>
              </a:ext>
            </a:extLst>
          </p:cNvPr>
          <p:cNvSpPr/>
          <p:nvPr/>
        </p:nvSpPr>
        <p:spPr>
          <a:xfrm>
            <a:off x="5531638" y="2921959"/>
            <a:ext cx="1368640" cy="1512224"/>
          </a:xfrm>
          <a:custGeom>
            <a:avLst/>
            <a:gdLst/>
            <a:ahLst/>
            <a:cxnLst>
              <a:cxn ang="3cd4">
                <a:pos x="hc" y="t"/>
              </a:cxn>
              <a:cxn ang="cd2">
                <a:pos x="l" y="vc"/>
              </a:cxn>
              <a:cxn ang="cd4">
                <a:pos x="hc" y="b"/>
              </a:cxn>
              <a:cxn ang="0">
                <a:pos x="r" y="vc"/>
              </a:cxn>
            </a:cxnLst>
            <a:rect l="l" t="t" r="r" b="b"/>
            <a:pathLst>
              <a:path w="897" h="991">
                <a:moveTo>
                  <a:pt x="897" y="542"/>
                </a:moveTo>
                <a:cubicBezTo>
                  <a:pt x="897" y="341"/>
                  <a:pt x="766" y="172"/>
                  <a:pt x="584" y="114"/>
                </a:cubicBezTo>
                <a:cubicBezTo>
                  <a:pt x="541" y="101"/>
                  <a:pt x="471" y="54"/>
                  <a:pt x="449" y="0"/>
                </a:cubicBezTo>
                <a:cubicBezTo>
                  <a:pt x="426" y="50"/>
                  <a:pt x="357" y="101"/>
                  <a:pt x="315" y="114"/>
                </a:cubicBezTo>
                <a:cubicBezTo>
                  <a:pt x="132" y="172"/>
                  <a:pt x="0" y="342"/>
                  <a:pt x="0" y="542"/>
                </a:cubicBezTo>
                <a:cubicBezTo>
                  <a:pt x="0" y="789"/>
                  <a:pt x="202" y="991"/>
                  <a:pt x="449" y="991"/>
                </a:cubicBezTo>
                <a:cubicBezTo>
                  <a:pt x="697" y="991"/>
                  <a:pt x="897" y="789"/>
                  <a:pt x="897" y="542"/>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b="0" i="0" u="none" strike="noStrike" kern="1200">
              <a:ln>
                <a:noFill/>
              </a:ln>
              <a:latin typeface="Arial" pitchFamily="18"/>
              <a:ea typeface="Arial Unicode MS" pitchFamily="2"/>
              <a:cs typeface="Arial Unicode MS" pitchFamily="2"/>
            </a:endParaRPr>
          </a:p>
        </p:txBody>
      </p:sp>
      <p:sp>
        <p:nvSpPr>
          <p:cNvPr id="56" name="Freeform 55">
            <a:extLst>
              <a:ext uri="{FF2B5EF4-FFF2-40B4-BE49-F238E27FC236}">
                <a16:creationId xmlns:a16="http://schemas.microsoft.com/office/drawing/2014/main" id="{8BCF563E-9283-AC4E-8512-9E60AF0E8397}"/>
              </a:ext>
            </a:extLst>
          </p:cNvPr>
          <p:cNvSpPr/>
          <p:nvPr/>
        </p:nvSpPr>
        <p:spPr>
          <a:xfrm>
            <a:off x="6489380"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4"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b="0" i="0" u="none" strike="noStrike" kern="1200">
              <a:ln>
                <a:noFill/>
              </a:ln>
              <a:latin typeface="Arial" pitchFamily="18"/>
              <a:ea typeface="Arial Unicode MS" pitchFamily="2"/>
              <a:cs typeface="Arial Unicode MS" pitchFamily="2"/>
            </a:endParaRPr>
          </a:p>
        </p:txBody>
      </p:sp>
      <p:sp>
        <p:nvSpPr>
          <p:cNvPr id="57" name="Freeform 56">
            <a:extLst>
              <a:ext uri="{FF2B5EF4-FFF2-40B4-BE49-F238E27FC236}">
                <a16:creationId xmlns:a16="http://schemas.microsoft.com/office/drawing/2014/main" id="{017F71C7-97C2-574F-826D-B09EC5C3194C}"/>
              </a:ext>
            </a:extLst>
          </p:cNvPr>
          <p:cNvSpPr/>
          <p:nvPr/>
        </p:nvSpPr>
        <p:spPr>
          <a:xfrm>
            <a:off x="8249060" y="2428576"/>
            <a:ext cx="326885" cy="326885"/>
          </a:xfrm>
          <a:custGeom>
            <a:avLst/>
            <a:gdLst/>
            <a:ahLst/>
            <a:cxnLst>
              <a:cxn ang="3cd4">
                <a:pos x="hc" y="t"/>
              </a:cxn>
              <a:cxn ang="cd2">
                <a:pos x="l" y="vc"/>
              </a:cxn>
              <a:cxn ang="cd4">
                <a:pos x="hc" y="b"/>
              </a:cxn>
              <a:cxn ang="0">
                <a:pos x="r" y="vc"/>
              </a:cxn>
            </a:cxnLst>
            <a:rect l="l" t="t" r="r" b="b"/>
            <a:pathLst>
              <a:path w="215" h="215">
                <a:moveTo>
                  <a:pt x="215" y="107"/>
                </a:moveTo>
                <a:cubicBezTo>
                  <a:pt x="215" y="166"/>
                  <a:pt x="167" y="215"/>
                  <a:pt x="108" y="215"/>
                </a:cubicBezTo>
                <a:cubicBezTo>
                  <a:pt x="49" y="215"/>
                  <a:pt x="0" y="166"/>
                  <a:pt x="0" y="107"/>
                </a:cubicBezTo>
                <a:cubicBezTo>
                  <a:pt x="0" y="48"/>
                  <a:pt x="49" y="0"/>
                  <a:pt x="108" y="0"/>
                </a:cubicBezTo>
                <a:cubicBezTo>
                  <a:pt x="167" y="0"/>
                  <a:pt x="215" y="48"/>
                  <a:pt x="215" y="10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b="0" i="0" u="none" strike="noStrike" kern="1200">
              <a:ln>
                <a:noFill/>
              </a:ln>
              <a:latin typeface="Arial" pitchFamily="18"/>
              <a:ea typeface="Arial Unicode MS" pitchFamily="2"/>
              <a:cs typeface="Arial Unicode MS" pitchFamily="2"/>
            </a:endParaRPr>
          </a:p>
        </p:txBody>
      </p:sp>
      <p:sp>
        <p:nvSpPr>
          <p:cNvPr id="58" name="Freeform 57">
            <a:extLst>
              <a:ext uri="{FF2B5EF4-FFF2-40B4-BE49-F238E27FC236}">
                <a16:creationId xmlns:a16="http://schemas.microsoft.com/office/drawing/2014/main" id="{96F4A2A0-18C8-F044-A431-537EB66CDFB7}"/>
              </a:ext>
            </a:extLst>
          </p:cNvPr>
          <p:cNvSpPr/>
          <p:nvPr/>
        </p:nvSpPr>
        <p:spPr>
          <a:xfrm>
            <a:off x="8316270"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8" y="128"/>
                  <a:pt x="64" y="128"/>
                </a:cubicBezTo>
                <a:cubicBezTo>
                  <a:pt x="29" y="128"/>
                  <a:pt x="0" y="100"/>
                  <a:pt x="0" y="64"/>
                </a:cubicBezTo>
                <a:cubicBezTo>
                  <a:pt x="0" y="30"/>
                  <a:pt x="29" y="0"/>
                  <a:pt x="64" y="0"/>
                </a:cubicBezTo>
                <a:cubicBezTo>
                  <a:pt x="98"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b="0" i="0" u="none" strike="noStrike" kern="1200">
              <a:ln>
                <a:noFill/>
              </a:ln>
              <a:latin typeface="Arial" pitchFamily="18"/>
              <a:ea typeface="Arial Unicode MS" pitchFamily="2"/>
              <a:cs typeface="Arial Unicode MS" pitchFamily="2"/>
            </a:endParaRPr>
          </a:p>
        </p:txBody>
      </p:sp>
      <p:sp>
        <p:nvSpPr>
          <p:cNvPr id="59" name="Freeform 58">
            <a:extLst>
              <a:ext uri="{FF2B5EF4-FFF2-40B4-BE49-F238E27FC236}">
                <a16:creationId xmlns:a16="http://schemas.microsoft.com/office/drawing/2014/main" id="{4EE984EA-0E9E-E246-B144-9A6FBED36A0D}"/>
              </a:ext>
            </a:extLst>
          </p:cNvPr>
          <p:cNvSpPr/>
          <p:nvPr/>
        </p:nvSpPr>
        <p:spPr>
          <a:xfrm>
            <a:off x="7728183" y="800258"/>
            <a:ext cx="1367112" cy="1510697"/>
          </a:xfrm>
          <a:custGeom>
            <a:avLst/>
            <a:gdLst/>
            <a:ahLst/>
            <a:cxnLst>
              <a:cxn ang="3cd4">
                <a:pos x="hc" y="t"/>
              </a:cxn>
              <a:cxn ang="cd2">
                <a:pos x="l" y="vc"/>
              </a:cxn>
              <a:cxn ang="cd4">
                <a:pos x="hc" y="b"/>
              </a:cxn>
              <a:cxn ang="0">
                <a:pos x="r" y="vc"/>
              </a:cxn>
            </a:cxnLst>
            <a:rect l="l" t="t" r="r" b="b"/>
            <a:pathLst>
              <a:path w="896" h="990">
                <a:moveTo>
                  <a:pt x="896" y="447"/>
                </a:moveTo>
                <a:cubicBezTo>
                  <a:pt x="896" y="649"/>
                  <a:pt x="764" y="819"/>
                  <a:pt x="582" y="875"/>
                </a:cubicBezTo>
                <a:cubicBezTo>
                  <a:pt x="541" y="889"/>
                  <a:pt x="471" y="936"/>
                  <a:pt x="449" y="990"/>
                </a:cubicBezTo>
                <a:cubicBezTo>
                  <a:pt x="427" y="941"/>
                  <a:pt x="357" y="889"/>
                  <a:pt x="314" y="875"/>
                </a:cubicBezTo>
                <a:cubicBezTo>
                  <a:pt x="132" y="817"/>
                  <a:pt x="0" y="649"/>
                  <a:pt x="0" y="447"/>
                </a:cubicBezTo>
                <a:cubicBezTo>
                  <a:pt x="0" y="200"/>
                  <a:pt x="202" y="0"/>
                  <a:pt x="449" y="0"/>
                </a:cubicBezTo>
                <a:cubicBezTo>
                  <a:pt x="696" y="0"/>
                  <a:pt x="896" y="200"/>
                  <a:pt x="896" y="44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b="0" i="0" u="none" strike="noStrike" kern="1200">
              <a:ln>
                <a:noFill/>
              </a:ln>
              <a:latin typeface="Arial" pitchFamily="18"/>
              <a:ea typeface="Arial Unicode MS" pitchFamily="2"/>
              <a:cs typeface="Arial Unicode MS" pitchFamily="2"/>
            </a:endParaRPr>
          </a:p>
        </p:txBody>
      </p:sp>
      <p:sp>
        <p:nvSpPr>
          <p:cNvPr id="60" name="Freeform 59">
            <a:extLst>
              <a:ext uri="{FF2B5EF4-FFF2-40B4-BE49-F238E27FC236}">
                <a16:creationId xmlns:a16="http://schemas.microsoft.com/office/drawing/2014/main" id="{33B7BA85-0535-9D4E-9ABA-CAF119D02F9C}"/>
              </a:ext>
            </a:extLst>
          </p:cNvPr>
          <p:cNvSpPr/>
          <p:nvPr/>
        </p:nvSpPr>
        <p:spPr>
          <a:xfrm>
            <a:off x="8684398" y="2475929"/>
            <a:ext cx="1661920" cy="233707"/>
          </a:xfrm>
          <a:custGeom>
            <a:avLst/>
            <a:gdLst/>
            <a:ahLst/>
            <a:cxnLst>
              <a:cxn ang="3cd4">
                <a:pos x="hc" y="t"/>
              </a:cxn>
              <a:cxn ang="cd2">
                <a:pos x="l" y="vc"/>
              </a:cxn>
              <a:cxn ang="cd4">
                <a:pos x="hc" y="b"/>
              </a:cxn>
              <a:cxn ang="0">
                <a:pos x="r" y="vc"/>
              </a:cxn>
            </a:cxnLst>
            <a:rect l="l" t="t" r="r" b="b"/>
            <a:pathLst>
              <a:path w="1089" h="154">
                <a:moveTo>
                  <a:pt x="1067" y="76"/>
                </a:moveTo>
                <a:cubicBezTo>
                  <a:pt x="1067" y="49"/>
                  <a:pt x="1074" y="23"/>
                  <a:pt x="1088" y="0"/>
                </a:cubicBezTo>
                <a:lnTo>
                  <a:pt x="2" y="0"/>
                </a:lnTo>
                <a:cubicBezTo>
                  <a:pt x="16" y="23"/>
                  <a:pt x="23" y="49"/>
                  <a:pt x="23" y="76"/>
                </a:cubicBezTo>
                <a:cubicBezTo>
                  <a:pt x="23" y="106"/>
                  <a:pt x="14" y="131"/>
                  <a:pt x="0" y="154"/>
                </a:cubicBezTo>
                <a:lnTo>
                  <a:pt x="1089" y="154"/>
                </a:lnTo>
                <a:cubicBezTo>
                  <a:pt x="1074" y="131"/>
                  <a:pt x="1067" y="106"/>
                  <a:pt x="1067" y="76"/>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b="0" i="0" u="none" strike="noStrike" kern="1200">
              <a:ln>
                <a:noFill/>
              </a:ln>
              <a:latin typeface="Arial" pitchFamily="18"/>
              <a:ea typeface="Arial Unicode MS" pitchFamily="2"/>
              <a:cs typeface="Arial Unicode MS" pitchFamily="2"/>
            </a:endParaRPr>
          </a:p>
        </p:txBody>
      </p:sp>
      <p:sp>
        <p:nvSpPr>
          <p:cNvPr id="62" name="Freeform 61">
            <a:extLst>
              <a:ext uri="{FF2B5EF4-FFF2-40B4-BE49-F238E27FC236}">
                <a16:creationId xmlns:a16="http://schemas.microsoft.com/office/drawing/2014/main" id="{02BE76FA-A18A-5C43-8289-F22F35416D17}"/>
              </a:ext>
            </a:extLst>
          </p:cNvPr>
          <p:cNvSpPr/>
          <p:nvPr/>
        </p:nvSpPr>
        <p:spPr>
          <a:xfrm>
            <a:off x="10445605"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7" y="215"/>
                  <a:pt x="108" y="215"/>
                </a:cubicBezTo>
                <a:cubicBezTo>
                  <a:pt x="49" y="215"/>
                  <a:pt x="0" y="166"/>
                  <a:pt x="0" y="107"/>
                </a:cubicBezTo>
                <a:cubicBezTo>
                  <a:pt x="0" y="48"/>
                  <a:pt x="49" y="0"/>
                  <a:pt x="108" y="0"/>
                </a:cubicBezTo>
                <a:cubicBezTo>
                  <a:pt x="167" y="0"/>
                  <a:pt x="214" y="48"/>
                  <a:pt x="214" y="107"/>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b="0" i="0" u="none" strike="noStrike" kern="1200">
              <a:ln>
                <a:noFill/>
              </a:ln>
              <a:latin typeface="Arial" pitchFamily="18"/>
              <a:ea typeface="Arial Unicode MS" pitchFamily="2"/>
              <a:cs typeface="Arial Unicode MS" pitchFamily="2"/>
            </a:endParaRPr>
          </a:p>
        </p:txBody>
      </p:sp>
      <p:sp>
        <p:nvSpPr>
          <p:cNvPr id="66" name="Freeform 65">
            <a:extLst>
              <a:ext uri="{FF2B5EF4-FFF2-40B4-BE49-F238E27FC236}">
                <a16:creationId xmlns:a16="http://schemas.microsoft.com/office/drawing/2014/main" id="{30B312E8-A919-B644-AE39-4333DF830601}"/>
              </a:ext>
            </a:extLst>
          </p:cNvPr>
          <p:cNvSpPr/>
          <p:nvPr/>
        </p:nvSpPr>
        <p:spPr>
          <a:xfrm>
            <a:off x="10512815" y="2494259"/>
            <a:ext cx="190937" cy="193992"/>
          </a:xfrm>
          <a:custGeom>
            <a:avLst/>
            <a:gdLst/>
            <a:ahLst/>
            <a:cxnLst>
              <a:cxn ang="3cd4">
                <a:pos x="hc" y="t"/>
              </a:cxn>
              <a:cxn ang="cd2">
                <a:pos x="l" y="vc"/>
              </a:cxn>
              <a:cxn ang="cd4">
                <a:pos x="hc" y="b"/>
              </a:cxn>
              <a:cxn ang="0">
                <a:pos x="r" y="vc"/>
              </a:cxn>
            </a:cxnLst>
            <a:rect l="l" t="t" r="r" b="b"/>
            <a:pathLst>
              <a:path w="125" h="128">
                <a:moveTo>
                  <a:pt x="126" y="64"/>
                </a:moveTo>
                <a:cubicBezTo>
                  <a:pt x="126" y="100"/>
                  <a:pt x="98" y="128"/>
                  <a:pt x="64" y="128"/>
                </a:cubicBezTo>
                <a:cubicBezTo>
                  <a:pt x="28" y="128"/>
                  <a:pt x="0" y="100"/>
                  <a:pt x="0" y="64"/>
                </a:cubicBezTo>
                <a:cubicBezTo>
                  <a:pt x="0" y="30"/>
                  <a:pt x="28" y="0"/>
                  <a:pt x="64" y="0"/>
                </a:cubicBezTo>
                <a:cubicBezTo>
                  <a:pt x="98" y="0"/>
                  <a:pt x="126" y="30"/>
                  <a:pt x="126"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b="0" i="0" u="none" strike="noStrike" kern="1200">
              <a:ln>
                <a:noFill/>
              </a:ln>
              <a:latin typeface="Arial" pitchFamily="18"/>
              <a:ea typeface="Arial Unicode MS" pitchFamily="2"/>
              <a:cs typeface="Arial Unicode MS" pitchFamily="2"/>
            </a:endParaRPr>
          </a:p>
        </p:txBody>
      </p:sp>
      <p:sp>
        <p:nvSpPr>
          <p:cNvPr id="67" name="Freeform 66">
            <a:extLst>
              <a:ext uri="{FF2B5EF4-FFF2-40B4-BE49-F238E27FC236}">
                <a16:creationId xmlns:a16="http://schemas.microsoft.com/office/drawing/2014/main" id="{F46B9467-BABF-064B-910D-2C704D814251}"/>
              </a:ext>
            </a:extLst>
          </p:cNvPr>
          <p:cNvSpPr/>
          <p:nvPr/>
        </p:nvSpPr>
        <p:spPr>
          <a:xfrm>
            <a:off x="9924727" y="2921959"/>
            <a:ext cx="1367112" cy="1512224"/>
          </a:xfrm>
          <a:custGeom>
            <a:avLst/>
            <a:gdLst/>
            <a:ahLst/>
            <a:cxnLst>
              <a:cxn ang="3cd4">
                <a:pos x="hc" y="t"/>
              </a:cxn>
              <a:cxn ang="cd2">
                <a:pos x="l" y="vc"/>
              </a:cxn>
              <a:cxn ang="cd4">
                <a:pos x="hc" y="b"/>
              </a:cxn>
              <a:cxn ang="0">
                <a:pos x="r" y="vc"/>
              </a:cxn>
            </a:cxnLst>
            <a:rect l="l" t="t" r="r" b="b"/>
            <a:pathLst>
              <a:path w="896" h="991">
                <a:moveTo>
                  <a:pt x="896" y="542"/>
                </a:moveTo>
                <a:cubicBezTo>
                  <a:pt x="896" y="341"/>
                  <a:pt x="764" y="172"/>
                  <a:pt x="582" y="114"/>
                </a:cubicBezTo>
                <a:cubicBezTo>
                  <a:pt x="541" y="101"/>
                  <a:pt x="471" y="54"/>
                  <a:pt x="449" y="0"/>
                </a:cubicBezTo>
                <a:cubicBezTo>
                  <a:pt x="427" y="50"/>
                  <a:pt x="355" y="101"/>
                  <a:pt x="314" y="114"/>
                </a:cubicBezTo>
                <a:cubicBezTo>
                  <a:pt x="132" y="172"/>
                  <a:pt x="0" y="342"/>
                  <a:pt x="0" y="542"/>
                </a:cubicBezTo>
                <a:cubicBezTo>
                  <a:pt x="0" y="789"/>
                  <a:pt x="200" y="991"/>
                  <a:pt x="449" y="991"/>
                </a:cubicBezTo>
                <a:cubicBezTo>
                  <a:pt x="696" y="991"/>
                  <a:pt x="896" y="789"/>
                  <a:pt x="896" y="542"/>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ct val="0"/>
              </a:spcBef>
              <a:spcAft>
                <a:spcPct val="0"/>
              </a:spcAft>
              <a:buNone/>
            </a:pPr>
            <a:endParaRPr lang="en-US" sz="1800" b="0" i="0" u="none" strike="noStrike" kern="1200">
              <a:ln>
                <a:noFill/>
              </a:ln>
              <a:latin typeface="Arial" pitchFamily="18"/>
              <a:ea typeface="Arial Unicode MS" pitchFamily="2"/>
              <a:cs typeface="Arial Unicode MS" pitchFamily="2"/>
            </a:endParaRPr>
          </a:p>
        </p:txBody>
      </p:sp>
      <p:sp>
        <p:nvSpPr>
          <p:cNvPr id="78" name="TextBox 77">
            <a:extLst>
              <a:ext uri="{FF2B5EF4-FFF2-40B4-BE49-F238E27FC236}">
                <a16:creationId xmlns:a16="http://schemas.microsoft.com/office/drawing/2014/main" id="{04634976-744C-254F-BE6F-6EB202B92360}"/>
              </a:ext>
            </a:extLst>
          </p:cNvPr>
          <p:cNvSpPr txBox="1"/>
          <p:nvPr/>
        </p:nvSpPr>
        <p:spPr>
          <a:xfrm>
            <a:off x="5691808" y="1322650"/>
            <a:ext cx="1045245" cy="286073"/>
          </a:xfrm>
          <a:prstGeom prst="rect">
            <a:avLst/>
          </a:prstGeom>
          <a:noFill/>
        </p:spPr>
        <p:txBody>
          <a:bodyPr wrap="none" rtlCol="0">
            <a:spAutoFit/>
          </a:bodyPr>
          <a:lstStyle/>
          <a:p>
            <a:pPr algn="ctr"/>
            <a:r>
              <a:rPr lang="en-US">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0" name="TextBox 79">
            <a:extLst>
              <a:ext uri="{FF2B5EF4-FFF2-40B4-BE49-F238E27FC236}">
                <a16:creationId xmlns:a16="http://schemas.microsoft.com/office/drawing/2014/main" id="{B0E5118A-8174-6649-9B3B-D77A8707F876}"/>
              </a:ext>
            </a:extLst>
          </p:cNvPr>
          <p:cNvSpPr txBox="1"/>
          <p:nvPr/>
        </p:nvSpPr>
        <p:spPr>
          <a:xfrm>
            <a:off x="9795863" y="1322650"/>
            <a:ext cx="1638589" cy="461665"/>
          </a:xfrm>
          <a:prstGeom prst="rect">
            <a:avLst/>
          </a:prstGeom>
          <a:noFill/>
        </p:spPr>
        <p:txBody>
          <a:bodyPr wrap="none" rtlCol="0">
            <a:spAutoFit/>
          </a:bodyPr>
          <a:lstStyle/>
          <a:p>
            <a:pPr algn="ctr"/>
            <a:r>
              <a:rPr lang="en-US" sz="240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4" name="TextBox 83">
            <a:extLst>
              <a:ext uri="{FF2B5EF4-FFF2-40B4-BE49-F238E27FC236}">
                <a16:creationId xmlns:a16="http://schemas.microsoft.com/office/drawing/2014/main" id="{93C43E96-4B36-3748-B67A-4817918F0204}"/>
              </a:ext>
            </a:extLst>
          </p:cNvPr>
          <p:cNvSpPr txBox="1"/>
          <p:nvPr/>
        </p:nvSpPr>
        <p:spPr>
          <a:xfrm>
            <a:off x="7895149" y="3013347"/>
            <a:ext cx="1045245" cy="286073"/>
          </a:xfrm>
          <a:prstGeom prst="rect">
            <a:avLst/>
          </a:prstGeom>
          <a:noFill/>
        </p:spPr>
        <p:txBody>
          <a:bodyPr wrap="none" rtlCol="0">
            <a:spAutoFit/>
          </a:bodyPr>
          <a:lstStyle/>
          <a:p>
            <a:pPr algn="ctr"/>
            <a:r>
              <a:rPr lang="en-US">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98" name="Text Placeholder 17">
            <a:extLst>
              <a:ext uri="{FF2B5EF4-FFF2-40B4-BE49-F238E27FC236}">
                <a16:creationId xmlns:a16="http://schemas.microsoft.com/office/drawing/2014/main" id="{3DED761C-20FA-594A-9976-CFD8D1D38242}"/>
              </a:ext>
            </a:extLst>
          </p:cNvPr>
          <p:cNvSpPr>
            <a:spLocks noGrp="1"/>
          </p:cNvSpPr>
          <p:nvPr>
            <p:ph type="body" sz="quarter" idx="31" hasCustomPrompt="1"/>
          </p:nvPr>
        </p:nvSpPr>
        <p:spPr>
          <a:xfrm>
            <a:off x="2833955" y="2984923"/>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99" name="Text Placeholder 17">
            <a:extLst>
              <a:ext uri="{FF2B5EF4-FFF2-40B4-BE49-F238E27FC236}">
                <a16:creationId xmlns:a16="http://schemas.microsoft.com/office/drawing/2014/main" id="{ADC51583-6324-9C45-9B98-7374A9499F17}"/>
              </a:ext>
            </a:extLst>
          </p:cNvPr>
          <p:cNvSpPr>
            <a:spLocks noGrp="1"/>
          </p:cNvSpPr>
          <p:nvPr>
            <p:ph type="body" sz="quarter" idx="32" hasCustomPrompt="1"/>
          </p:nvPr>
        </p:nvSpPr>
        <p:spPr>
          <a:xfrm>
            <a:off x="7261647" y="2951026"/>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100" name="Text Placeholder 17">
            <a:extLst>
              <a:ext uri="{FF2B5EF4-FFF2-40B4-BE49-F238E27FC236}">
                <a16:creationId xmlns:a16="http://schemas.microsoft.com/office/drawing/2014/main" id="{5D6484B6-6A23-DA4C-AFB8-4A3877BAEB9C}"/>
              </a:ext>
            </a:extLst>
          </p:cNvPr>
          <p:cNvSpPr>
            <a:spLocks noGrp="1"/>
          </p:cNvSpPr>
          <p:nvPr>
            <p:ph type="body" sz="quarter" idx="33" hasCustomPrompt="1"/>
          </p:nvPr>
        </p:nvSpPr>
        <p:spPr>
          <a:xfrm>
            <a:off x="5051398" y="1028522"/>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101" name="Text Placeholder 17">
            <a:extLst>
              <a:ext uri="{FF2B5EF4-FFF2-40B4-BE49-F238E27FC236}">
                <a16:creationId xmlns:a16="http://schemas.microsoft.com/office/drawing/2014/main" id="{17E014FD-573A-CD4A-8E06-A12C82D41C31}"/>
              </a:ext>
            </a:extLst>
          </p:cNvPr>
          <p:cNvSpPr>
            <a:spLocks noGrp="1"/>
          </p:cNvSpPr>
          <p:nvPr>
            <p:ph type="body" sz="quarter" idx="34" hasCustomPrompt="1"/>
          </p:nvPr>
        </p:nvSpPr>
        <p:spPr>
          <a:xfrm>
            <a:off x="9377489" y="994625"/>
            <a:ext cx="2253709"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105" name="Freeform 104">
            <a:extLst>
              <a:ext uri="{FF2B5EF4-FFF2-40B4-BE49-F238E27FC236}">
                <a16:creationId xmlns:a16="http://schemas.microsoft.com/office/drawing/2014/main" id="{337311E9-3EFE-D343-B68E-E469AF748125}"/>
              </a:ext>
            </a:extLst>
          </p:cNvPr>
          <p:cNvSpPr/>
          <p:nvPr userDrawn="1"/>
        </p:nvSpPr>
        <p:spPr>
          <a:xfrm>
            <a:off x="0" y="2489789"/>
            <a:ext cx="3733642" cy="233707"/>
          </a:xfrm>
          <a:custGeom>
            <a:avLst/>
            <a:gdLst>
              <a:gd name="connsiteX0" fmla="*/ 0 w 3733642"/>
              <a:gd name="connsiteY0" fmla="*/ 0 h 233707"/>
              <a:gd name="connsiteX1" fmla="*/ 2074776 w 3733642"/>
              <a:gd name="connsiteY1" fmla="*/ 0 h 233707"/>
              <a:gd name="connsiteX2" fmla="*/ 2492280 w 3733642"/>
              <a:gd name="connsiteY2" fmla="*/ 0 h 233707"/>
              <a:gd name="connsiteX3" fmla="*/ 3732116 w 3733642"/>
              <a:gd name="connsiteY3" fmla="*/ 0 h 233707"/>
              <a:gd name="connsiteX4" fmla="*/ 3700068 w 3733642"/>
              <a:gd name="connsiteY4" fmla="*/ 115336 h 233707"/>
              <a:gd name="connsiteX5" fmla="*/ 3733642 w 3733642"/>
              <a:gd name="connsiteY5" fmla="*/ 233707 h 233707"/>
              <a:gd name="connsiteX6" fmla="*/ 2494674 w 3733642"/>
              <a:gd name="connsiteY6" fmla="*/ 233707 h 233707"/>
              <a:gd name="connsiteX7" fmla="*/ 2073250 w 3733642"/>
              <a:gd name="connsiteY7" fmla="*/ 233707 h 233707"/>
              <a:gd name="connsiteX8" fmla="*/ 0 w 3733642"/>
              <a:gd name="connsiteY8" fmla="*/ 233707 h 23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3641" h="233706">
                <a:moveTo>
                  <a:pt x="0" y="0"/>
                </a:moveTo>
                <a:lnTo>
                  <a:pt x="2074776" y="0"/>
                </a:lnTo>
                <a:lnTo>
                  <a:pt x="2492280" y="0"/>
                </a:lnTo>
                <a:lnTo>
                  <a:pt x="3732116" y="0"/>
                </a:lnTo>
                <a:cubicBezTo>
                  <a:pt x="3710751" y="34904"/>
                  <a:pt x="3700068" y="74361"/>
                  <a:pt x="3700068" y="115336"/>
                </a:cubicBezTo>
                <a:cubicBezTo>
                  <a:pt x="3700068" y="160863"/>
                  <a:pt x="3713803" y="198803"/>
                  <a:pt x="3733642" y="233707"/>
                </a:cubicBezTo>
                <a:lnTo>
                  <a:pt x="2494674" y="233707"/>
                </a:lnTo>
                <a:lnTo>
                  <a:pt x="2073250" y="233707"/>
                </a:lnTo>
                <a:lnTo>
                  <a:pt x="0" y="233707"/>
                </a:lnTo>
                <a:close/>
              </a:path>
            </a:pathLst>
          </a:custGeom>
          <a:solidFill>
            <a:srgbClr val="7F1C58"/>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ct val="0"/>
              </a:spcBef>
              <a:spcAft>
                <a:spcPct val="0"/>
              </a:spcAft>
              <a:buNone/>
            </a:pPr>
            <a:endParaRPr lang="en-US" sz="1800" b="0" i="0" u="none" strike="noStrike" kern="1200">
              <a:ln>
                <a:noFill/>
              </a:ln>
              <a:latin typeface="Arial" pitchFamily="18"/>
              <a:ea typeface="Arial Unicode MS" pitchFamily="2"/>
              <a:cs typeface="Arial Unicode MS" pitchFamily="2"/>
            </a:endParaRPr>
          </a:p>
        </p:txBody>
      </p:sp>
      <p:sp>
        <p:nvSpPr>
          <p:cNvPr id="27" name="Rectangle 26">
            <a:extLst>
              <a:ext uri="{FF2B5EF4-FFF2-40B4-BE49-F238E27FC236}">
                <a16:creationId xmlns:a16="http://schemas.microsoft.com/office/drawing/2014/main" id="{7A76DD1E-987B-AD47-A6C9-247EDD013618}"/>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28" name="Picture 27" descr="Logo&#10;&#10;Description automatically generated">
            <a:extLst>
              <a:ext uri="{FF2B5EF4-FFF2-40B4-BE49-F238E27FC236}">
                <a16:creationId xmlns:a16="http://schemas.microsoft.com/office/drawing/2014/main" id="{370386F4-A99E-724A-9D3C-C0299560A160}"/>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10490607" y="6490938"/>
            <a:ext cx="1300365" cy="144173"/>
          </a:xfrm>
          <a:prstGeom prst="rect">
            <a:avLst/>
          </a:prstGeom>
        </p:spPr>
      </p:pic>
    </p:spTree>
    <p:extLst>
      <p:ext uri="{BB962C8B-B14F-4D97-AF65-F5344CB8AC3E}">
        <p14:creationId xmlns:p14="http://schemas.microsoft.com/office/powerpoint/2010/main" val="2202688939"/>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8D471C-0C8F-0146-83F3-CAF71642C847}"/>
              </a:ext>
            </a:extLst>
          </p:cNvPr>
          <p:cNvSpPr/>
          <p:nvPr userDrawn="1"/>
        </p:nvSpPr>
        <p:spPr>
          <a:xfrm flipV="1">
            <a:off x="513686" y="-2"/>
            <a:ext cx="6872766" cy="6857999"/>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ontserrat Light" charset="0"/>
            </a:endParaRPr>
          </a:p>
        </p:txBody>
      </p:sp>
      <p:sp>
        <p:nvSpPr>
          <p:cNvPr id="39" name="Text Placeholder 17">
            <a:extLst>
              <a:ext uri="{FF2B5EF4-FFF2-40B4-BE49-F238E27FC236}">
                <a16:creationId xmlns:a16="http://schemas.microsoft.com/office/drawing/2014/main" id="{CA4154B1-9F57-7145-879A-8EB247136C2A}"/>
              </a:ext>
            </a:extLst>
          </p:cNvPr>
          <p:cNvSpPr>
            <a:spLocks noGrp="1"/>
          </p:cNvSpPr>
          <p:nvPr>
            <p:ph type="body" sz="quarter" idx="25" hasCustomPrompt="1"/>
          </p:nvPr>
        </p:nvSpPr>
        <p:spPr>
          <a:xfrm>
            <a:off x="1332038" y="3296364"/>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ub-heading</a:t>
            </a:r>
            <a:endParaRPr lang="en-US"/>
          </a:p>
        </p:txBody>
      </p:sp>
      <p:sp>
        <p:nvSpPr>
          <p:cNvPr id="40" name="Text Placeholder 17">
            <a:extLst>
              <a:ext uri="{FF2B5EF4-FFF2-40B4-BE49-F238E27FC236}">
                <a16:creationId xmlns:a16="http://schemas.microsoft.com/office/drawing/2014/main" id="{2FA64BD3-F9F4-3640-81F8-B395DA4BE505}"/>
              </a:ext>
            </a:extLst>
          </p:cNvPr>
          <p:cNvSpPr>
            <a:spLocks noGrp="1"/>
          </p:cNvSpPr>
          <p:nvPr>
            <p:ph type="body" sz="quarter" idx="26" hasCustomPrompt="1"/>
          </p:nvPr>
        </p:nvSpPr>
        <p:spPr>
          <a:xfrm>
            <a:off x="1332038" y="3919323"/>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ub-heading</a:t>
            </a:r>
            <a:endParaRPr lang="en-US"/>
          </a:p>
        </p:txBody>
      </p:sp>
      <p:sp>
        <p:nvSpPr>
          <p:cNvPr id="41" name="Text Placeholder 17">
            <a:extLst>
              <a:ext uri="{FF2B5EF4-FFF2-40B4-BE49-F238E27FC236}">
                <a16:creationId xmlns:a16="http://schemas.microsoft.com/office/drawing/2014/main" id="{428D571D-4380-A147-A90D-48A4C9CE0B59}"/>
              </a:ext>
            </a:extLst>
          </p:cNvPr>
          <p:cNvSpPr>
            <a:spLocks noGrp="1"/>
          </p:cNvSpPr>
          <p:nvPr>
            <p:ph type="body" sz="quarter" idx="27" hasCustomPrompt="1"/>
          </p:nvPr>
        </p:nvSpPr>
        <p:spPr>
          <a:xfrm>
            <a:off x="1340202" y="4562886"/>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Sub-heading</a:t>
            </a:r>
            <a:endParaRPr lang="en-US"/>
          </a:p>
        </p:txBody>
      </p:sp>
      <p:sp>
        <p:nvSpPr>
          <p:cNvPr id="49" name="Rectangle 48">
            <a:extLst>
              <a:ext uri="{FF2B5EF4-FFF2-40B4-BE49-F238E27FC236}">
                <a16:creationId xmlns:a16="http://schemas.microsoft.com/office/drawing/2014/main" id="{818B98B7-0B2D-7049-BE12-5F81F550DCFB}"/>
              </a:ext>
            </a:extLst>
          </p:cNvPr>
          <p:cNvSpPr/>
          <p:nvPr userDrawn="1"/>
        </p:nvSpPr>
        <p:spPr>
          <a:xfrm flipV="1">
            <a:off x="371133" y="5724018"/>
            <a:ext cx="4094282" cy="777330"/>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a:latin typeface="Montserrat Light" charset="0"/>
            </a:endParaRPr>
          </a:p>
        </p:txBody>
      </p:sp>
      <p:sp>
        <p:nvSpPr>
          <p:cNvPr id="50" name="Text Placeholder 23">
            <a:extLst>
              <a:ext uri="{FF2B5EF4-FFF2-40B4-BE49-F238E27FC236}">
                <a16:creationId xmlns:a16="http://schemas.microsoft.com/office/drawing/2014/main" id="{A18A7C8E-C35F-574A-9250-5698E37CE501}"/>
              </a:ext>
            </a:extLst>
          </p:cNvPr>
          <p:cNvSpPr>
            <a:spLocks noGrp="1"/>
          </p:cNvSpPr>
          <p:nvPr>
            <p:ph type="body" sz="quarter" idx="28" hasCustomPrompt="1"/>
          </p:nvPr>
        </p:nvSpPr>
        <p:spPr>
          <a:xfrm>
            <a:off x="567326" y="5747113"/>
            <a:ext cx="2425353" cy="731140"/>
          </a:xfrm>
        </p:spPr>
        <p:txBody>
          <a:bodyPr anchor="ctr">
            <a:normAutofit/>
          </a:bodyPr>
          <a:lstStyle>
            <a:lvl1pPr marL="0" indent="0" algn="l">
              <a:buNone/>
              <a:defRPr sz="2800" baseline="0">
                <a:solidFill>
                  <a:schemeClr val="bg1"/>
                </a:solidFill>
                <a:latin typeface="+mn-lt"/>
              </a:defRPr>
            </a:lvl1pPr>
          </a:lstStyle>
          <a:p>
            <a:pPr lvl="0"/>
            <a:r>
              <a:rPr lang="en-US" err="1"/>
              <a:t>www.secure.eu</a:t>
            </a:r>
            <a:endParaRPr lang="en-US"/>
          </a:p>
        </p:txBody>
      </p:sp>
      <p:sp>
        <p:nvSpPr>
          <p:cNvPr id="15" name="Text Placeholder 23">
            <a:extLst>
              <a:ext uri="{FF2B5EF4-FFF2-40B4-BE49-F238E27FC236}">
                <a16:creationId xmlns:a16="http://schemas.microsoft.com/office/drawing/2014/main" id="{F84B8951-7C9D-9343-B525-1359E5DBCF52}"/>
              </a:ext>
            </a:extLst>
          </p:cNvPr>
          <p:cNvSpPr>
            <a:spLocks noGrp="1"/>
          </p:cNvSpPr>
          <p:nvPr>
            <p:ph type="body" sz="quarter" idx="19" hasCustomPrompt="1"/>
          </p:nvPr>
        </p:nvSpPr>
        <p:spPr>
          <a:xfrm>
            <a:off x="1269930" y="1396872"/>
            <a:ext cx="3195486" cy="731140"/>
          </a:xfrm>
        </p:spPr>
        <p:txBody>
          <a:bodyPr anchor="ctr">
            <a:normAutofit/>
          </a:bodyPr>
          <a:lstStyle>
            <a:lvl1pPr marL="0" indent="0" algn="l">
              <a:buNone/>
              <a:defRPr sz="2800" baseline="0">
                <a:solidFill>
                  <a:schemeClr val="bg1"/>
                </a:solidFill>
                <a:latin typeface="+mn-lt"/>
              </a:defRPr>
            </a:lvl1pPr>
          </a:lstStyle>
          <a:p>
            <a:pPr lvl="0"/>
            <a:r>
              <a:rPr lang="en-US"/>
              <a:t>Any Questions?</a:t>
            </a:r>
          </a:p>
        </p:txBody>
      </p:sp>
      <p:sp>
        <p:nvSpPr>
          <p:cNvPr id="16" name="Text Placeholder 23">
            <a:extLst>
              <a:ext uri="{FF2B5EF4-FFF2-40B4-BE49-F238E27FC236}">
                <a16:creationId xmlns:a16="http://schemas.microsoft.com/office/drawing/2014/main" id="{C736A845-E210-8B41-86F2-2399C32F4922}"/>
              </a:ext>
            </a:extLst>
          </p:cNvPr>
          <p:cNvSpPr>
            <a:spLocks noGrp="1"/>
          </p:cNvSpPr>
          <p:nvPr>
            <p:ph type="body" sz="quarter" idx="20" hasCustomPrompt="1"/>
          </p:nvPr>
        </p:nvSpPr>
        <p:spPr>
          <a:xfrm>
            <a:off x="1269930" y="510737"/>
            <a:ext cx="3195485" cy="837258"/>
          </a:xfrm>
        </p:spPr>
        <p:txBody>
          <a:bodyPr anchor="ctr">
            <a:normAutofit/>
          </a:bodyPr>
          <a:lstStyle>
            <a:lvl1pPr marL="0" indent="0" algn="l">
              <a:buNone/>
              <a:defRPr sz="5000" b="1" baseline="0">
                <a:solidFill>
                  <a:srgbClr val="F16924"/>
                </a:solidFill>
                <a:latin typeface="+mn-lt"/>
              </a:defRPr>
            </a:lvl1pPr>
          </a:lstStyle>
          <a:p>
            <a:pPr lvl="0"/>
            <a:r>
              <a:rPr lang="en-US"/>
              <a:t>Thank You</a:t>
            </a:r>
          </a:p>
        </p:txBody>
      </p:sp>
      <p:pic>
        <p:nvPicPr>
          <p:cNvPr id="20" name="Picture 19" descr="Icon&#10;&#10;Description automatically generated">
            <a:extLst>
              <a:ext uri="{FF2B5EF4-FFF2-40B4-BE49-F238E27FC236}">
                <a16:creationId xmlns:a16="http://schemas.microsoft.com/office/drawing/2014/main" id="{5EEB26E1-71B5-2844-85F3-152C393D122D}"/>
              </a:ext>
            </a:extLst>
          </p:cNvPr>
          <p:cNvPicPr/>
          <p:nvPr userDrawn="1"/>
        </p:nvPicPr>
        <p:blipFill>
          <a:blip r:embed="rId2">
            <a:extLst>
              <a:ext uri="{28A0092B-C50C-407E-A947-70E740481C1C}">
                <a14:useLocalDpi xmlns:a14="http://schemas.microsoft.com/office/drawing/2010/main"/>
              </a:ext>
            </a:extLst>
          </a:blip>
          <a:srcRect l="-5634" t="8478" r="38806" b="9640"/>
          <a:stretch>
            <a:fillRect/>
          </a:stretch>
        </p:blipFill>
        <p:spPr>
          <a:xfrm>
            <a:off x="2766729" y="68820"/>
            <a:ext cx="6056868" cy="6817011"/>
          </a:xfrm>
          <a:prstGeom prst="rect">
            <a:avLst/>
          </a:prstGeom>
        </p:spPr>
      </p:pic>
      <p:grpSp>
        <p:nvGrpSpPr>
          <p:cNvPr id="22" name="Group 21">
            <a:extLst>
              <a:ext uri="{FF2B5EF4-FFF2-40B4-BE49-F238E27FC236}">
                <a16:creationId xmlns:a16="http://schemas.microsoft.com/office/drawing/2014/main" id="{0A2D618D-BFF0-D647-A63C-67B5EFE2275A}"/>
              </a:ext>
            </a:extLst>
          </p:cNvPr>
          <p:cNvGrpSpPr/>
          <p:nvPr userDrawn="1"/>
        </p:nvGrpSpPr>
        <p:grpSpPr>
          <a:xfrm>
            <a:off x="9246505" y="5773010"/>
            <a:ext cx="2735993" cy="679345"/>
            <a:chOff x="0" y="0"/>
            <a:chExt cx="2301694" cy="571500"/>
          </a:xfrm>
        </p:grpSpPr>
        <p:sp>
          <p:nvSpPr>
            <p:cNvPr id="23" name="Rectangle 22">
              <a:extLst>
                <a:ext uri="{FF2B5EF4-FFF2-40B4-BE49-F238E27FC236}">
                  <a16:creationId xmlns:a16="http://schemas.microsoft.com/office/drawing/2014/main" id="{0AD4EC1D-50EE-7343-A5F9-2FDC354C015B}"/>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4" name="Picture 23">
              <a:extLst>
                <a:ext uri="{FF2B5EF4-FFF2-40B4-BE49-F238E27FC236}">
                  <a16:creationId xmlns:a16="http://schemas.microsoft.com/office/drawing/2014/main" id="{DFE99017-514D-8644-B8A2-53292AD975E8}"/>
                </a:ext>
              </a:extLst>
            </p:cNvPr>
            <p:cNvPicPr>
              <a:picLocks noChangeAspect="1"/>
            </p:cNvPicPr>
            <p:nvPr/>
          </p:nvPicPr>
          <p:blipFill>
            <a:blip r:embed="rId3">
              <a:extLst>
                <a:ext uri="{28A0092B-C50C-407E-A947-70E740481C1C}">
                  <a14:useLocalDpi xmlns:a14="http://schemas.microsoft.com/office/drawing/2010/main"/>
                </a:ext>
              </a:extLst>
            </a:blip>
            <a:srcRect r="44449"/>
            <a:stretch>
              <a:fillRect/>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5" name="Picture 24" descr="Logo&#10;&#10;Description automatically generated">
            <a:extLst>
              <a:ext uri="{FF2B5EF4-FFF2-40B4-BE49-F238E27FC236}">
                <a16:creationId xmlns:a16="http://schemas.microsoft.com/office/drawing/2014/main" id="{8DFD7000-E928-0F4D-9EE1-350654B4F32C}"/>
              </a:ext>
            </a:extLst>
          </p:cNvPr>
          <p:cNvPicPr/>
          <p:nvPr userDrawn="1"/>
        </p:nvPicPr>
        <p:blipFill>
          <a:blip r:embed="rId4">
            <a:extLst>
              <a:ext uri="{28A0092B-C50C-407E-A947-70E740481C1C}">
                <a14:useLocalDpi xmlns:a14="http://schemas.microsoft.com/office/drawing/2010/main"/>
              </a:ext>
            </a:extLst>
          </a:blip>
          <a:stretch>
            <a:fillRect/>
          </a:stretch>
        </p:blipFill>
        <p:spPr>
          <a:xfrm>
            <a:off x="8336063" y="416024"/>
            <a:ext cx="3343990" cy="1711988"/>
          </a:xfrm>
          <a:prstGeom prst="rect">
            <a:avLst/>
          </a:prstGeom>
        </p:spPr>
      </p:pic>
    </p:spTree>
    <p:extLst>
      <p:ext uri="{BB962C8B-B14F-4D97-AF65-F5344CB8AC3E}">
        <p14:creationId xmlns:p14="http://schemas.microsoft.com/office/powerpoint/2010/main" val="2290091708"/>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EEE40F-C46E-CB4F-B81C-0FF051ACB56C}"/>
              </a:ext>
            </a:extLst>
          </p:cNvPr>
          <p:cNvSpPr/>
          <p:nvPr userDrawn="1"/>
        </p:nvSpPr>
        <p:spPr>
          <a:xfrm>
            <a:off x="4123" y="2578879"/>
            <a:ext cx="12187877" cy="301737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a:solidFill>
                  <a:srgbClr val="FFFFFF"/>
                </a:solidFill>
                <a:effectLst/>
                <a:ea typeface="Calibri" panose="020F0502020204030204" pitchFamily="34" charset="0"/>
                <a:cs typeface="Times New Roman" panose="02020603050405020304" pitchFamily="18" charset="0"/>
              </a:rPr>
              <a:t> </a:t>
            </a:r>
            <a:endParaRPr lang="en-IE" sz="100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a:solidFill>
                  <a:srgbClr val="FFFFFF"/>
                </a:solidFill>
                <a:effectLst/>
                <a:ea typeface="Calibri" panose="020F0502020204030204" pitchFamily="34" charset="0"/>
                <a:cs typeface="Times New Roman" panose="02020603050405020304" pitchFamily="18" charset="0"/>
              </a:rPr>
              <a:t> </a:t>
            </a:r>
            <a:endParaRPr lang="en-IE" sz="100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a:solidFill>
                  <a:srgbClr val="FFFFFF"/>
                </a:solidFill>
                <a:effectLst/>
                <a:ea typeface="Calibri" panose="020F0502020204030204" pitchFamily="34" charset="0"/>
                <a:cs typeface="Times New Roman" panose="02020603050405020304" pitchFamily="18" charset="0"/>
              </a:rPr>
              <a:t> </a:t>
            </a:r>
            <a:endParaRPr lang="en-IE" sz="100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a:solidFill>
                  <a:srgbClr val="FFFFFF"/>
                </a:solidFill>
                <a:effectLst/>
                <a:ea typeface="Calibri" panose="020F0502020204030204" pitchFamily="34" charset="0"/>
                <a:cs typeface="Times New Roman" panose="02020603050405020304" pitchFamily="18" charset="0"/>
              </a:rPr>
              <a:t> </a:t>
            </a:r>
            <a:endParaRPr lang="en-IE" sz="100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a:solidFill>
                  <a:srgbClr val="FFFFFF"/>
                </a:solidFill>
                <a:effectLst/>
                <a:ea typeface="Calibri" panose="020F0502020204030204" pitchFamily="34" charset="0"/>
                <a:cs typeface="Times New Roman" panose="02020603050405020304" pitchFamily="18" charset="0"/>
              </a:rPr>
              <a:t> </a:t>
            </a:r>
            <a:endParaRPr lang="en-IE" sz="100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a:solidFill>
                  <a:srgbClr val="FFFFFF"/>
                </a:solidFill>
                <a:effectLst/>
                <a:ea typeface="Calibri" panose="020F0502020204030204" pitchFamily="34" charset="0"/>
                <a:cs typeface="Times New Roman" panose="02020603050405020304" pitchFamily="18" charset="0"/>
              </a:rPr>
              <a:t> </a:t>
            </a:r>
            <a:endParaRPr lang="en-IE" sz="1000">
              <a:solidFill>
                <a:srgbClr val="7F7F7F"/>
              </a:solidFill>
              <a:effectLst/>
              <a:ea typeface="Calibri" panose="020F0502020204030204" pitchFamily="34" charset="0"/>
              <a:cs typeface="Times New Roman" panose="02020603050405020304" pitchFamily="18" charset="0"/>
            </a:endParaRPr>
          </a:p>
        </p:txBody>
      </p:sp>
      <p:sp>
        <p:nvSpPr>
          <p:cNvPr id="13" name="Text Placeholder 23">
            <a:extLst>
              <a:ext uri="{FF2B5EF4-FFF2-40B4-BE49-F238E27FC236}">
                <a16:creationId xmlns:a16="http://schemas.microsoft.com/office/drawing/2014/main" id="{A1E95CA9-83EC-F34D-A49B-33A8C4FAF9FF}"/>
              </a:ext>
            </a:extLst>
          </p:cNvPr>
          <p:cNvSpPr>
            <a:spLocks noGrp="1"/>
          </p:cNvSpPr>
          <p:nvPr>
            <p:ph type="body" sz="quarter" idx="15" hasCustomPrompt="1"/>
          </p:nvPr>
        </p:nvSpPr>
        <p:spPr>
          <a:xfrm>
            <a:off x="778986" y="4248810"/>
            <a:ext cx="5278651" cy="697353"/>
          </a:xfrm>
        </p:spPr>
        <p:txBody>
          <a:bodyPr anchor="b">
            <a:noAutofit/>
          </a:bodyPr>
          <a:lstStyle>
            <a:lvl1pPr marL="0" indent="0" algn="l">
              <a:buNone/>
              <a:defRPr sz="5400" b="1" baseline="0">
                <a:solidFill>
                  <a:schemeClr val="bg1"/>
                </a:solidFill>
                <a:latin typeface="+mn-lt"/>
              </a:defRPr>
            </a:lvl1pPr>
          </a:lstStyle>
          <a:p>
            <a:pPr lvl="0"/>
            <a:r>
              <a:rPr lang="en-US"/>
              <a:t>POWERPIONT</a:t>
            </a:r>
          </a:p>
        </p:txBody>
      </p:sp>
      <p:sp>
        <p:nvSpPr>
          <p:cNvPr id="14" name="Text Placeholder 23">
            <a:extLst>
              <a:ext uri="{FF2B5EF4-FFF2-40B4-BE49-F238E27FC236}">
                <a16:creationId xmlns:a16="http://schemas.microsoft.com/office/drawing/2014/main" id="{360251AF-B8B8-4240-A631-F35ADF8DEC23}"/>
              </a:ext>
            </a:extLst>
          </p:cNvPr>
          <p:cNvSpPr>
            <a:spLocks noGrp="1"/>
          </p:cNvSpPr>
          <p:nvPr>
            <p:ph type="body" sz="quarter" idx="16" hasCustomPrompt="1"/>
          </p:nvPr>
        </p:nvSpPr>
        <p:spPr>
          <a:xfrm>
            <a:off x="778987" y="3229416"/>
            <a:ext cx="5278651" cy="697353"/>
          </a:xfrm>
        </p:spPr>
        <p:txBody>
          <a:bodyPr anchor="b">
            <a:normAutofit/>
          </a:bodyPr>
          <a:lstStyle>
            <a:lvl1pPr marL="0" indent="0" algn="l">
              <a:buNone/>
              <a:defRPr sz="3600" b="0" i="0">
                <a:solidFill>
                  <a:schemeClr val="bg1"/>
                </a:solidFill>
                <a:latin typeface="+mn-lt"/>
              </a:defRPr>
            </a:lvl1pPr>
          </a:lstStyle>
          <a:p>
            <a:pPr lvl="0"/>
            <a:r>
              <a:rPr lang="en-US"/>
              <a:t>Cover Design 1</a:t>
            </a:r>
          </a:p>
        </p:txBody>
      </p:sp>
      <p:grpSp>
        <p:nvGrpSpPr>
          <p:cNvPr id="15" name="Group 14">
            <a:extLst>
              <a:ext uri="{FF2B5EF4-FFF2-40B4-BE49-F238E27FC236}">
                <a16:creationId xmlns:a16="http://schemas.microsoft.com/office/drawing/2014/main" id="{6B19ACD3-270D-F149-9B8D-A452C5A7080B}"/>
              </a:ext>
            </a:extLst>
          </p:cNvPr>
          <p:cNvGrpSpPr/>
          <p:nvPr userDrawn="1"/>
        </p:nvGrpSpPr>
        <p:grpSpPr>
          <a:xfrm>
            <a:off x="551257" y="5868451"/>
            <a:ext cx="2735993" cy="679345"/>
            <a:chOff x="0" y="0"/>
            <a:chExt cx="2301694" cy="571500"/>
          </a:xfrm>
        </p:grpSpPr>
        <p:sp>
          <p:nvSpPr>
            <p:cNvPr id="16" name="Rectangle 15">
              <a:extLst>
                <a:ext uri="{FF2B5EF4-FFF2-40B4-BE49-F238E27FC236}">
                  <a16:creationId xmlns:a16="http://schemas.microsoft.com/office/drawing/2014/main" id="{5DEEA99F-D23F-6A4E-93A2-4B04553909A4}"/>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7" name="Picture 16">
              <a:extLst>
                <a:ext uri="{FF2B5EF4-FFF2-40B4-BE49-F238E27FC236}">
                  <a16:creationId xmlns:a16="http://schemas.microsoft.com/office/drawing/2014/main" id="{42F1A516-FC4E-2E43-86A7-025339A3E0F3}"/>
                </a:ext>
              </a:extLst>
            </p:cNvPr>
            <p:cNvPicPr>
              <a:picLocks noChangeAspect="1"/>
            </p:cNvPicPr>
            <p:nvPr/>
          </p:nvPicPr>
          <p:blipFill>
            <a:blip r:embed="rId2">
              <a:extLst>
                <a:ext uri="{28A0092B-C50C-407E-A947-70E740481C1C}">
                  <a14:useLocalDpi xmlns:a14="http://schemas.microsoft.com/office/drawing/2010/main"/>
                </a:ext>
              </a:extLst>
            </a:blip>
            <a:srcRect r="44449"/>
            <a:stretch>
              <a:fillRect/>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4" name="Picture Placeholder 3">
            <a:extLst>
              <a:ext uri="{FF2B5EF4-FFF2-40B4-BE49-F238E27FC236}">
                <a16:creationId xmlns:a16="http://schemas.microsoft.com/office/drawing/2014/main" id="{C73D3263-48BF-A442-9520-3D9695E54CED}"/>
              </a:ext>
            </a:extLst>
          </p:cNvPr>
          <p:cNvSpPr>
            <a:spLocks noGrp="1"/>
          </p:cNvSpPr>
          <p:nvPr>
            <p:ph type="pic" sz="quarter" idx="17"/>
          </p:nvPr>
        </p:nvSpPr>
        <p:spPr>
          <a:xfrm>
            <a:off x="6571280" y="0"/>
            <a:ext cx="5620719" cy="6858000"/>
          </a:xfrm>
        </p:spPr>
        <p:txBody>
          <a:bodyPr/>
          <a:lstStyle/>
          <a:p>
            <a:endParaRPr lang="en-US"/>
          </a:p>
        </p:txBody>
      </p:sp>
      <p:pic>
        <p:nvPicPr>
          <p:cNvPr id="11" name="Picture 10" descr="Logo&#10;&#10;Description automatically generated">
            <a:extLst>
              <a:ext uri="{FF2B5EF4-FFF2-40B4-BE49-F238E27FC236}">
                <a16:creationId xmlns:a16="http://schemas.microsoft.com/office/drawing/2014/main" id="{89B15627-EA51-8F44-B958-CD6B8808ECA9}"/>
              </a:ext>
            </a:extLst>
          </p:cNvPr>
          <p:cNvPicPr/>
          <p:nvPr userDrawn="1"/>
        </p:nvPicPr>
        <p:blipFill>
          <a:blip r:embed="rId3">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Tree>
    <p:extLst>
      <p:ext uri="{BB962C8B-B14F-4D97-AF65-F5344CB8AC3E}">
        <p14:creationId xmlns:p14="http://schemas.microsoft.com/office/powerpoint/2010/main" val="1273118567"/>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8DF3840-EDCD-4B47-B492-D9F24116159A}"/>
              </a:ext>
            </a:extLst>
          </p:cNvPr>
          <p:cNvSpPr/>
          <p:nvPr userDrawn="1"/>
        </p:nvSpPr>
        <p:spPr>
          <a:xfrm flipV="1">
            <a:off x="511072" y="-2"/>
            <a:ext cx="5240006" cy="6892757"/>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Montserrat Light" charset="0"/>
            </a:endParaRPr>
          </a:p>
        </p:txBody>
      </p:sp>
      <p:sp>
        <p:nvSpPr>
          <p:cNvPr id="16" name="Text Placeholder 17">
            <a:extLst>
              <a:ext uri="{FF2B5EF4-FFF2-40B4-BE49-F238E27FC236}">
                <a16:creationId xmlns:a16="http://schemas.microsoft.com/office/drawing/2014/main" id="{8EC99E19-5C6F-0E42-9D44-703CC975D6EF}"/>
              </a:ext>
            </a:extLst>
          </p:cNvPr>
          <p:cNvSpPr>
            <a:spLocks noGrp="1"/>
          </p:cNvSpPr>
          <p:nvPr>
            <p:ph type="body" sz="quarter" idx="18" hasCustomPrompt="1"/>
          </p:nvPr>
        </p:nvSpPr>
        <p:spPr>
          <a:xfrm>
            <a:off x="956478" y="1899687"/>
            <a:ext cx="4306395" cy="3280643"/>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a:t>Click to type…</a:t>
            </a:r>
            <a:endParaRPr lang="en-US"/>
          </a:p>
        </p:txBody>
      </p:sp>
      <p:sp>
        <p:nvSpPr>
          <p:cNvPr id="17" name="Text Placeholder 23">
            <a:extLst>
              <a:ext uri="{FF2B5EF4-FFF2-40B4-BE49-F238E27FC236}">
                <a16:creationId xmlns:a16="http://schemas.microsoft.com/office/drawing/2014/main" id="{5BC66613-CDA2-A74A-9395-2463EF11F2BF}"/>
              </a:ext>
            </a:extLst>
          </p:cNvPr>
          <p:cNvSpPr>
            <a:spLocks noGrp="1"/>
          </p:cNvSpPr>
          <p:nvPr>
            <p:ph type="body" sz="quarter" idx="16" hasCustomPrompt="1"/>
          </p:nvPr>
        </p:nvSpPr>
        <p:spPr>
          <a:xfrm>
            <a:off x="918629" y="628636"/>
            <a:ext cx="4378451" cy="603631"/>
          </a:xfrm>
        </p:spPr>
        <p:txBody>
          <a:bodyPr>
            <a:normAutofit/>
          </a:bodyPr>
          <a:lstStyle>
            <a:lvl1pPr marL="0" indent="0" algn="l">
              <a:buNone/>
              <a:defRPr sz="3600" b="0" i="0">
                <a:solidFill>
                  <a:schemeClr val="bg1"/>
                </a:solidFill>
                <a:latin typeface="+mn-lt"/>
              </a:defRPr>
            </a:lvl1pPr>
          </a:lstStyle>
          <a:p>
            <a:pPr lvl="0"/>
            <a:r>
              <a:rPr lang="en-US"/>
              <a:t>Overview Slide</a:t>
            </a:r>
          </a:p>
        </p:txBody>
      </p:sp>
      <p:sp>
        <p:nvSpPr>
          <p:cNvPr id="21" name="Text Placeholder 25">
            <a:extLst>
              <a:ext uri="{FF2B5EF4-FFF2-40B4-BE49-F238E27FC236}">
                <a16:creationId xmlns:a16="http://schemas.microsoft.com/office/drawing/2014/main" id="{5A1E8056-B0BB-444E-9F56-12D2DD4B8542}"/>
              </a:ext>
            </a:extLst>
          </p:cNvPr>
          <p:cNvSpPr>
            <a:spLocks noGrp="1"/>
          </p:cNvSpPr>
          <p:nvPr>
            <p:ph type="body" sz="quarter" idx="14" hasCustomPrompt="1"/>
          </p:nvPr>
        </p:nvSpPr>
        <p:spPr>
          <a:xfrm>
            <a:off x="6940248" y="60153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Main Body Text</a:t>
            </a:r>
          </a:p>
        </p:txBody>
      </p:sp>
      <p:sp>
        <p:nvSpPr>
          <p:cNvPr id="36" name="Text Placeholder 25">
            <a:extLst>
              <a:ext uri="{FF2B5EF4-FFF2-40B4-BE49-F238E27FC236}">
                <a16:creationId xmlns:a16="http://schemas.microsoft.com/office/drawing/2014/main" id="{F2455212-2D5D-E648-802A-B9EB354595FE}"/>
              </a:ext>
            </a:extLst>
          </p:cNvPr>
          <p:cNvSpPr>
            <a:spLocks noGrp="1"/>
          </p:cNvSpPr>
          <p:nvPr>
            <p:ph type="body" sz="quarter" idx="20" hasCustomPrompt="1"/>
          </p:nvPr>
        </p:nvSpPr>
        <p:spPr>
          <a:xfrm>
            <a:off x="6940248" y="167616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Main Body Text</a:t>
            </a:r>
          </a:p>
        </p:txBody>
      </p:sp>
      <p:sp>
        <p:nvSpPr>
          <p:cNvPr id="40" name="Text Placeholder 25">
            <a:extLst>
              <a:ext uri="{FF2B5EF4-FFF2-40B4-BE49-F238E27FC236}">
                <a16:creationId xmlns:a16="http://schemas.microsoft.com/office/drawing/2014/main" id="{3EBAF954-82F2-CC42-82E9-A19064755653}"/>
              </a:ext>
            </a:extLst>
          </p:cNvPr>
          <p:cNvSpPr>
            <a:spLocks noGrp="1"/>
          </p:cNvSpPr>
          <p:nvPr>
            <p:ph type="body" sz="quarter" idx="22" hasCustomPrompt="1"/>
          </p:nvPr>
        </p:nvSpPr>
        <p:spPr>
          <a:xfrm>
            <a:off x="6940248" y="273592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Main Body Text</a:t>
            </a:r>
          </a:p>
        </p:txBody>
      </p:sp>
      <p:sp>
        <p:nvSpPr>
          <p:cNvPr id="44" name="Text Placeholder 25">
            <a:extLst>
              <a:ext uri="{FF2B5EF4-FFF2-40B4-BE49-F238E27FC236}">
                <a16:creationId xmlns:a16="http://schemas.microsoft.com/office/drawing/2014/main" id="{5A47AF7F-E736-2640-98D0-99CBD669AFBF}"/>
              </a:ext>
            </a:extLst>
          </p:cNvPr>
          <p:cNvSpPr>
            <a:spLocks noGrp="1"/>
          </p:cNvSpPr>
          <p:nvPr>
            <p:ph type="body" sz="quarter" idx="24" hasCustomPrompt="1"/>
          </p:nvPr>
        </p:nvSpPr>
        <p:spPr>
          <a:xfrm>
            <a:off x="6926393" y="379411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Main Body Text</a:t>
            </a:r>
          </a:p>
        </p:txBody>
      </p:sp>
      <p:sp>
        <p:nvSpPr>
          <p:cNvPr id="48" name="Text Placeholder 25">
            <a:extLst>
              <a:ext uri="{FF2B5EF4-FFF2-40B4-BE49-F238E27FC236}">
                <a16:creationId xmlns:a16="http://schemas.microsoft.com/office/drawing/2014/main" id="{41215D43-08A5-AA4E-8D46-F8BEBABD637B}"/>
              </a:ext>
            </a:extLst>
          </p:cNvPr>
          <p:cNvSpPr>
            <a:spLocks noGrp="1"/>
          </p:cNvSpPr>
          <p:nvPr>
            <p:ph type="body" sz="quarter" idx="26" hasCustomPrompt="1"/>
          </p:nvPr>
        </p:nvSpPr>
        <p:spPr>
          <a:xfrm>
            <a:off x="6940248" y="4871413"/>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Main Body Text</a:t>
            </a:r>
          </a:p>
        </p:txBody>
      </p:sp>
      <p:sp>
        <p:nvSpPr>
          <p:cNvPr id="27" name="Text Placeholder 25">
            <a:extLst>
              <a:ext uri="{FF2B5EF4-FFF2-40B4-BE49-F238E27FC236}">
                <a16:creationId xmlns:a16="http://schemas.microsoft.com/office/drawing/2014/main" id="{CEA47DC5-0C78-A74E-A7A9-CD3ED853F3AB}"/>
              </a:ext>
            </a:extLst>
          </p:cNvPr>
          <p:cNvSpPr>
            <a:spLocks noGrp="1"/>
          </p:cNvSpPr>
          <p:nvPr>
            <p:ph type="body" sz="quarter" idx="15" hasCustomPrompt="1"/>
          </p:nvPr>
        </p:nvSpPr>
        <p:spPr>
          <a:xfrm>
            <a:off x="6210339" y="65873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1</a:t>
            </a:r>
          </a:p>
        </p:txBody>
      </p:sp>
      <p:sp>
        <p:nvSpPr>
          <p:cNvPr id="28" name="Text Placeholder 25">
            <a:extLst>
              <a:ext uri="{FF2B5EF4-FFF2-40B4-BE49-F238E27FC236}">
                <a16:creationId xmlns:a16="http://schemas.microsoft.com/office/drawing/2014/main" id="{AA8E11CA-9DA4-0249-B606-2B7FFE2BA82C}"/>
              </a:ext>
            </a:extLst>
          </p:cNvPr>
          <p:cNvSpPr>
            <a:spLocks noGrp="1"/>
          </p:cNvSpPr>
          <p:nvPr>
            <p:ph type="body" sz="quarter" idx="19" hasCustomPrompt="1"/>
          </p:nvPr>
        </p:nvSpPr>
        <p:spPr>
          <a:xfrm>
            <a:off x="6210339" y="173335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2</a:t>
            </a:r>
          </a:p>
        </p:txBody>
      </p:sp>
      <p:sp>
        <p:nvSpPr>
          <p:cNvPr id="29" name="Text Placeholder 25">
            <a:extLst>
              <a:ext uri="{FF2B5EF4-FFF2-40B4-BE49-F238E27FC236}">
                <a16:creationId xmlns:a16="http://schemas.microsoft.com/office/drawing/2014/main" id="{AE120B59-D85B-514D-97D0-27A154FE39AC}"/>
              </a:ext>
            </a:extLst>
          </p:cNvPr>
          <p:cNvSpPr>
            <a:spLocks noGrp="1"/>
          </p:cNvSpPr>
          <p:nvPr>
            <p:ph type="body" sz="quarter" idx="21" hasCustomPrompt="1"/>
          </p:nvPr>
        </p:nvSpPr>
        <p:spPr>
          <a:xfrm>
            <a:off x="6210339" y="279312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3</a:t>
            </a:r>
          </a:p>
        </p:txBody>
      </p:sp>
      <p:sp>
        <p:nvSpPr>
          <p:cNvPr id="30" name="Text Placeholder 25">
            <a:extLst>
              <a:ext uri="{FF2B5EF4-FFF2-40B4-BE49-F238E27FC236}">
                <a16:creationId xmlns:a16="http://schemas.microsoft.com/office/drawing/2014/main" id="{0D41AA05-EA2C-EF40-9AF1-7D82150DCEDA}"/>
              </a:ext>
            </a:extLst>
          </p:cNvPr>
          <p:cNvSpPr>
            <a:spLocks noGrp="1"/>
          </p:cNvSpPr>
          <p:nvPr>
            <p:ph type="body" sz="quarter" idx="23" hasCustomPrompt="1"/>
          </p:nvPr>
        </p:nvSpPr>
        <p:spPr>
          <a:xfrm>
            <a:off x="6196484" y="385130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4</a:t>
            </a:r>
          </a:p>
        </p:txBody>
      </p:sp>
      <p:sp>
        <p:nvSpPr>
          <p:cNvPr id="32" name="Text Placeholder 25">
            <a:extLst>
              <a:ext uri="{FF2B5EF4-FFF2-40B4-BE49-F238E27FC236}">
                <a16:creationId xmlns:a16="http://schemas.microsoft.com/office/drawing/2014/main" id="{EE047BD5-1129-9340-8F15-98064CD2202E}"/>
              </a:ext>
            </a:extLst>
          </p:cNvPr>
          <p:cNvSpPr>
            <a:spLocks noGrp="1"/>
          </p:cNvSpPr>
          <p:nvPr>
            <p:ph type="body" sz="quarter" idx="25" hasCustomPrompt="1"/>
          </p:nvPr>
        </p:nvSpPr>
        <p:spPr>
          <a:xfrm>
            <a:off x="6210339" y="4928608"/>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a:t>5</a:t>
            </a:r>
          </a:p>
        </p:txBody>
      </p:sp>
      <p:sp>
        <p:nvSpPr>
          <p:cNvPr id="49" name="Rectangle 48">
            <a:extLst>
              <a:ext uri="{FF2B5EF4-FFF2-40B4-BE49-F238E27FC236}">
                <a16:creationId xmlns:a16="http://schemas.microsoft.com/office/drawing/2014/main" id="{EFF71558-928C-3D40-B48E-F1D3A220489E}"/>
              </a:ext>
            </a:extLst>
          </p:cNvPr>
          <p:cNvSpPr/>
          <p:nvPr userDrawn="1"/>
        </p:nvSpPr>
        <p:spPr>
          <a:xfrm>
            <a:off x="6940247" y="6106331"/>
            <a:ext cx="4754536" cy="484748"/>
          </a:xfrm>
          <a:prstGeom prst="rect">
            <a:avLst/>
          </a:prstGeom>
        </p:spPr>
        <p:txBody>
          <a:bodyPr wrap="square">
            <a:spAutoFit/>
          </a:bodyPr>
          <a:lstStyle/>
          <a:p>
            <a:pPr algn="just">
              <a:tabLst>
                <a:tab pos="2865755" algn="ctr"/>
                <a:tab pos="5731510" algn="r"/>
              </a:tabLst>
            </a:pPr>
            <a:r>
              <a:rPr lang="en-US" sz="850">
                <a:solidFill>
                  <a:srgbClr val="595959"/>
                </a:solidFill>
                <a:effectLst/>
                <a:latin typeface="+mn-lt"/>
                <a:ea typeface="Times New Roman" panose="02020603050405020304" pitchFamily="18" charset="0"/>
                <a:cs typeface="Poppins" pitchFamily="2" charset="77"/>
              </a:rPr>
              <a:t>This programme has been funded with support from the European Commission. The author is solely responsible for this publication (communication)</a:t>
            </a:r>
            <a:r>
              <a:rPr lang="en-IE" sz="850">
                <a:solidFill>
                  <a:srgbClr val="595959"/>
                </a:solidFill>
                <a:effectLst/>
                <a:latin typeface="+mn-lt"/>
                <a:ea typeface="Calibri" panose="020F0502020204030204" pitchFamily="34" charset="0"/>
                <a:cs typeface="Poppins" pitchFamily="2" charset="77"/>
              </a:rPr>
              <a:t>  </a:t>
            </a:r>
            <a:r>
              <a:rPr lang="en-US" sz="850">
                <a:solidFill>
                  <a:srgbClr val="595959"/>
                </a:solidFill>
                <a:effectLst/>
                <a:latin typeface="+mn-lt"/>
                <a:ea typeface="Times New Roman" panose="02020603050405020304" pitchFamily="18" charset="0"/>
                <a:cs typeface="Poppins" pitchFamily="2" charset="77"/>
              </a:rPr>
              <a:t>and the Commission accepts no responsibility for any use that may be made of the information contained therein </a:t>
            </a:r>
            <a:endParaRPr lang="en-IE" sz="850">
              <a:solidFill>
                <a:srgbClr val="595959"/>
              </a:solidFill>
              <a:effectLst/>
              <a:latin typeface="+mn-lt"/>
              <a:ea typeface="Calibri" panose="020F0502020204030204" pitchFamily="34" charset="0"/>
              <a:cs typeface="Poppins" pitchFamily="2" charset="77"/>
            </a:endParaRPr>
          </a:p>
        </p:txBody>
      </p:sp>
    </p:spTree>
    <p:extLst>
      <p:ext uri="{BB962C8B-B14F-4D97-AF65-F5344CB8AC3E}">
        <p14:creationId xmlns:p14="http://schemas.microsoft.com/office/powerpoint/2010/main" val="2476502748"/>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 Purp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EAF48B3-E7B5-7641-833B-378C695D566F}"/>
              </a:ext>
            </a:extLst>
          </p:cNvPr>
          <p:cNvSpPr/>
          <p:nvPr userDrawn="1"/>
        </p:nvSpPr>
        <p:spPr>
          <a:xfrm>
            <a:off x="241300" y="367062"/>
            <a:ext cx="11696700" cy="569531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23">
            <a:extLst>
              <a:ext uri="{FF2B5EF4-FFF2-40B4-BE49-F238E27FC236}">
                <a16:creationId xmlns:a16="http://schemas.microsoft.com/office/drawing/2014/main" id="{F41CDBC0-08A5-F448-AC04-E4772440B4A9}"/>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a:t>”</a:t>
            </a:r>
          </a:p>
        </p:txBody>
      </p:sp>
      <p:sp>
        <p:nvSpPr>
          <p:cNvPr id="12" name="Text Placeholder 23">
            <a:extLst>
              <a:ext uri="{FF2B5EF4-FFF2-40B4-BE49-F238E27FC236}">
                <a16:creationId xmlns:a16="http://schemas.microsoft.com/office/drawing/2014/main" id="{8F9FAF20-AC16-CB44-ADCA-1C0885F1D045}"/>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a:t>Quote Slide</a:t>
            </a:r>
          </a:p>
        </p:txBody>
      </p:sp>
      <p:sp>
        <p:nvSpPr>
          <p:cNvPr id="13" name="Text Placeholder 23">
            <a:extLst>
              <a:ext uri="{FF2B5EF4-FFF2-40B4-BE49-F238E27FC236}">
                <a16:creationId xmlns:a16="http://schemas.microsoft.com/office/drawing/2014/main" id="{3AA3C8DA-9E0D-7B43-AC87-D758512C0F6E}"/>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a:t>“</a:t>
            </a:r>
          </a:p>
        </p:txBody>
      </p:sp>
      <p:sp>
        <p:nvSpPr>
          <p:cNvPr id="14" name="Picture Placeholder 2">
            <a:extLst>
              <a:ext uri="{FF2B5EF4-FFF2-40B4-BE49-F238E27FC236}">
                <a16:creationId xmlns:a16="http://schemas.microsoft.com/office/drawing/2014/main" id="{EEFE5111-747B-724F-8393-4A43AB5BE01B}"/>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a:p>
          <a:p>
            <a:endParaRPr lang="en-US"/>
          </a:p>
          <a:p>
            <a:endParaRPr lang="en-US"/>
          </a:p>
          <a:p>
            <a:r>
              <a:rPr lang="en-US"/>
              <a:t>Click  to add photo</a:t>
            </a:r>
          </a:p>
        </p:txBody>
      </p:sp>
      <p:sp>
        <p:nvSpPr>
          <p:cNvPr id="18" name="Rectangle 17">
            <a:extLst>
              <a:ext uri="{FF2B5EF4-FFF2-40B4-BE49-F238E27FC236}">
                <a16:creationId xmlns:a16="http://schemas.microsoft.com/office/drawing/2014/main" id="{0695EC4B-D743-3448-9111-F9F16A524067}"/>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9" name="Picture 8" descr="Logo&#10;&#10;Description automatically generated">
            <a:extLst>
              <a:ext uri="{FF2B5EF4-FFF2-40B4-BE49-F238E27FC236}">
                <a16:creationId xmlns:a16="http://schemas.microsoft.com/office/drawing/2014/main" id="{5CCBA5CE-075C-C643-9254-44EDE46A7504}"/>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10490607" y="6490938"/>
            <a:ext cx="1300365" cy="144173"/>
          </a:xfrm>
          <a:prstGeom prst="rect">
            <a:avLst/>
          </a:prstGeom>
        </p:spPr>
      </p:pic>
    </p:spTree>
    <p:extLst>
      <p:ext uri="{BB962C8B-B14F-4D97-AF65-F5344CB8AC3E}">
        <p14:creationId xmlns:p14="http://schemas.microsoft.com/office/powerpoint/2010/main" val="649323712"/>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FDAF665-EE03-6044-9639-71664DFD3DE2}"/>
              </a:ext>
            </a:extLst>
          </p:cNvPr>
          <p:cNvSpPr/>
          <p:nvPr userDrawn="1"/>
        </p:nvSpPr>
        <p:spPr>
          <a:xfrm>
            <a:off x="241300" y="367062"/>
            <a:ext cx="11696700" cy="569531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23">
            <a:extLst>
              <a:ext uri="{FF2B5EF4-FFF2-40B4-BE49-F238E27FC236}">
                <a16:creationId xmlns:a16="http://schemas.microsoft.com/office/drawing/2014/main" id="{8EC4C1ED-7EA2-6C4A-94C7-CF47B5F8A4F7}"/>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a:t>”</a:t>
            </a:r>
          </a:p>
        </p:txBody>
      </p:sp>
      <p:sp>
        <p:nvSpPr>
          <p:cNvPr id="13" name="Text Placeholder 23">
            <a:extLst>
              <a:ext uri="{FF2B5EF4-FFF2-40B4-BE49-F238E27FC236}">
                <a16:creationId xmlns:a16="http://schemas.microsoft.com/office/drawing/2014/main" id="{CFDEFC83-4E7F-0B42-8CBB-BB2773CE2E52}"/>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a:t>Quote Slide</a:t>
            </a:r>
          </a:p>
        </p:txBody>
      </p:sp>
      <p:sp>
        <p:nvSpPr>
          <p:cNvPr id="14" name="Text Placeholder 23">
            <a:extLst>
              <a:ext uri="{FF2B5EF4-FFF2-40B4-BE49-F238E27FC236}">
                <a16:creationId xmlns:a16="http://schemas.microsoft.com/office/drawing/2014/main" id="{DBACDF2D-9408-0F4A-80FE-F136BB5FB971}"/>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a:t>“</a:t>
            </a:r>
          </a:p>
        </p:txBody>
      </p:sp>
      <p:sp>
        <p:nvSpPr>
          <p:cNvPr id="15" name="Picture Placeholder 2">
            <a:extLst>
              <a:ext uri="{FF2B5EF4-FFF2-40B4-BE49-F238E27FC236}">
                <a16:creationId xmlns:a16="http://schemas.microsoft.com/office/drawing/2014/main" id="{6E9E00B5-321C-4A4C-A2E9-01807253008D}"/>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a:p>
          <a:p>
            <a:endParaRPr lang="en-US"/>
          </a:p>
          <a:p>
            <a:endParaRPr lang="en-US"/>
          </a:p>
          <a:p>
            <a:r>
              <a:rPr lang="en-US"/>
              <a:t>Click  to add photo</a:t>
            </a:r>
          </a:p>
        </p:txBody>
      </p:sp>
      <p:sp>
        <p:nvSpPr>
          <p:cNvPr id="16" name="Rectangle 15">
            <a:extLst>
              <a:ext uri="{FF2B5EF4-FFF2-40B4-BE49-F238E27FC236}">
                <a16:creationId xmlns:a16="http://schemas.microsoft.com/office/drawing/2014/main" id="{DE777C89-ECEE-0B4D-B282-1EC1FFF23F2E}"/>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1EC68814-2725-5648-9CBE-5ACB929B5B6F}"/>
              </a:ext>
            </a:extLst>
          </p:cNvPr>
          <p:cNvPicPr/>
          <p:nvPr userDrawn="1"/>
        </p:nvPicPr>
        <p:blipFill>
          <a:blip r:embed="rId2">
            <a:extLst>
              <a:ext uri="{28A0092B-C50C-407E-A947-70E740481C1C}">
                <a14:useLocalDpi xmlns:a14="http://schemas.microsoft.com/office/drawing/2010/main"/>
              </a:ext>
            </a:extLst>
          </a:blip>
          <a:srcRect l="26042" t="83613" r="-755" b="207"/>
          <a:stretch>
            <a:fillRect/>
          </a:stretch>
        </p:blipFill>
        <p:spPr>
          <a:xfrm>
            <a:off x="10490607" y="6490938"/>
            <a:ext cx="1300365" cy="144173"/>
          </a:xfrm>
          <a:prstGeom prst="rect">
            <a:avLst/>
          </a:prstGeom>
        </p:spPr>
      </p:pic>
    </p:spTree>
    <p:extLst>
      <p:ext uri="{BB962C8B-B14F-4D97-AF65-F5344CB8AC3E}">
        <p14:creationId xmlns:p14="http://schemas.microsoft.com/office/powerpoint/2010/main" val="4920945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D5A2AA6-883F-854A-8546-F99F3B503C78}"/>
              </a:ext>
            </a:extLst>
          </p:cNvPr>
          <p:cNvSpPr/>
          <p:nvPr userDrawn="1"/>
        </p:nvSpPr>
        <p:spPr>
          <a:xfrm>
            <a:off x="0" y="863792"/>
            <a:ext cx="12192000" cy="480858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23">
            <a:extLst>
              <a:ext uri="{FF2B5EF4-FFF2-40B4-BE49-F238E27FC236}">
                <a16:creationId xmlns:a16="http://schemas.microsoft.com/office/drawing/2014/main" id="{3864A3C8-D9B2-6D4F-8AF6-446AA2B02124}"/>
              </a:ext>
            </a:extLst>
          </p:cNvPr>
          <p:cNvSpPr>
            <a:spLocks noGrp="1"/>
          </p:cNvSpPr>
          <p:nvPr>
            <p:ph type="body" sz="quarter" idx="16" hasCustomPrompt="1"/>
          </p:nvPr>
        </p:nvSpPr>
        <p:spPr>
          <a:xfrm>
            <a:off x="2149154" y="1379071"/>
            <a:ext cx="4235894" cy="582221"/>
          </a:xfrm>
        </p:spPr>
        <p:txBody>
          <a:bodyPr>
            <a:normAutofit/>
          </a:bodyPr>
          <a:lstStyle>
            <a:lvl1pPr marL="0" indent="0" algn="l">
              <a:buNone/>
              <a:defRPr sz="4800" b="0" i="0">
                <a:solidFill>
                  <a:schemeClr val="bg1"/>
                </a:solidFill>
                <a:latin typeface="+mn-lt"/>
              </a:defRPr>
            </a:lvl1pPr>
          </a:lstStyle>
          <a:p>
            <a:pPr lvl="0"/>
            <a:r>
              <a:rPr lang="en-US"/>
              <a:t>Divider</a:t>
            </a:r>
          </a:p>
        </p:txBody>
      </p:sp>
      <p:sp>
        <p:nvSpPr>
          <p:cNvPr id="11" name="Text Placeholder 23">
            <a:extLst>
              <a:ext uri="{FF2B5EF4-FFF2-40B4-BE49-F238E27FC236}">
                <a16:creationId xmlns:a16="http://schemas.microsoft.com/office/drawing/2014/main" id="{85D7608D-36AC-F749-962E-A70668D2E0DE}"/>
              </a:ext>
            </a:extLst>
          </p:cNvPr>
          <p:cNvSpPr>
            <a:spLocks noGrp="1"/>
          </p:cNvSpPr>
          <p:nvPr>
            <p:ph type="body" sz="quarter" idx="17" hasCustomPrompt="1"/>
          </p:nvPr>
        </p:nvSpPr>
        <p:spPr>
          <a:xfrm>
            <a:off x="1" y="1087961"/>
            <a:ext cx="1609154" cy="582220"/>
          </a:xfrm>
        </p:spPr>
        <p:txBody>
          <a:bodyPr>
            <a:noAutofit/>
          </a:bodyPr>
          <a:lstStyle>
            <a:lvl1pPr marL="0" indent="0" algn="r">
              <a:buNone/>
              <a:defRPr sz="8800" b="0" i="0">
                <a:solidFill>
                  <a:schemeClr val="bg1"/>
                </a:solidFill>
                <a:latin typeface="+mn-lt"/>
              </a:defRPr>
            </a:lvl1pPr>
          </a:lstStyle>
          <a:p>
            <a:pPr lvl="0"/>
            <a:r>
              <a:rPr lang="en-US"/>
              <a:t>01</a:t>
            </a:r>
          </a:p>
        </p:txBody>
      </p:sp>
      <p:sp>
        <p:nvSpPr>
          <p:cNvPr id="12" name="Rectangle 11">
            <a:extLst>
              <a:ext uri="{FF2B5EF4-FFF2-40B4-BE49-F238E27FC236}">
                <a16:creationId xmlns:a16="http://schemas.microsoft.com/office/drawing/2014/main" id="{1A50FDCB-F35B-6E4C-894D-A4695AE5E749}"/>
              </a:ext>
            </a:extLst>
          </p:cNvPr>
          <p:cNvSpPr/>
          <p:nvPr userDrawn="1"/>
        </p:nvSpPr>
        <p:spPr>
          <a:xfrm rot="5400000" flipV="1">
            <a:off x="1159154" y="1545828"/>
            <a:ext cx="144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sp>
        <p:nvSpPr>
          <p:cNvPr id="21" name="Rectangle 20">
            <a:extLst>
              <a:ext uri="{FF2B5EF4-FFF2-40B4-BE49-F238E27FC236}">
                <a16:creationId xmlns:a16="http://schemas.microsoft.com/office/drawing/2014/main" id="{F846D437-A8B0-7F48-B709-560A8DE58A6A}"/>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9" name="Picture 8" descr="Icon&#10;&#10;Description automatically generated">
            <a:extLst>
              <a:ext uri="{FF2B5EF4-FFF2-40B4-BE49-F238E27FC236}">
                <a16:creationId xmlns:a16="http://schemas.microsoft.com/office/drawing/2014/main" id="{2B00F7C6-7124-174D-BBD2-6E777596E854}"/>
              </a:ext>
            </a:extLst>
          </p:cNvPr>
          <p:cNvPicPr/>
          <p:nvPr userDrawn="1"/>
        </p:nvPicPr>
        <p:blipFill>
          <a:blip r:embed="rId2">
            <a:extLst>
              <a:ext uri="{28A0092B-C50C-407E-A947-70E740481C1C}">
                <a14:useLocalDpi xmlns:a14="http://schemas.microsoft.com/office/drawing/2010/main"/>
              </a:ext>
            </a:extLst>
          </a:blip>
          <a:srcRect l="6291" t="19337" r="13258" b="10881"/>
          <a:stretch>
            <a:fillRect/>
          </a:stretch>
        </p:blipFill>
        <p:spPr>
          <a:xfrm>
            <a:off x="5866785" y="863793"/>
            <a:ext cx="6035215" cy="4808588"/>
          </a:xfrm>
          <a:prstGeom prst="rect">
            <a:avLst/>
          </a:prstGeom>
        </p:spPr>
      </p:pic>
      <p:pic>
        <p:nvPicPr>
          <p:cNvPr id="14" name="Picture 13" descr="Logo&#10;&#10;Description automatically generated">
            <a:extLst>
              <a:ext uri="{FF2B5EF4-FFF2-40B4-BE49-F238E27FC236}">
                <a16:creationId xmlns:a16="http://schemas.microsoft.com/office/drawing/2014/main" id="{8382540D-A0C4-894D-9851-E0E36268305F}"/>
              </a:ext>
            </a:extLst>
          </p:cNvPr>
          <p:cNvPicPr/>
          <p:nvPr userDrawn="1"/>
        </p:nvPicPr>
        <p:blipFill>
          <a:blip r:embed="rId3">
            <a:extLst>
              <a:ext uri="{28A0092B-C50C-407E-A947-70E740481C1C}">
                <a14:useLocalDpi xmlns:a14="http://schemas.microsoft.com/office/drawing/2010/main"/>
              </a:ext>
            </a:extLst>
          </a:blip>
          <a:srcRect l="26042" t="83613" r="-755" b="207"/>
          <a:stretch>
            <a:fillRect/>
          </a:stretch>
        </p:blipFill>
        <p:spPr>
          <a:xfrm>
            <a:off x="506695" y="6583579"/>
            <a:ext cx="1300365" cy="144173"/>
          </a:xfrm>
          <a:prstGeom prst="rect">
            <a:avLst/>
          </a:prstGeom>
        </p:spPr>
      </p:pic>
    </p:spTree>
    <p:extLst>
      <p:ext uri="{BB962C8B-B14F-4D97-AF65-F5344CB8AC3E}">
        <p14:creationId xmlns:p14="http://schemas.microsoft.com/office/powerpoint/2010/main" val="220412145"/>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79342ED-9DF4-064D-8213-3A81D137086C}"/>
              </a:ext>
            </a:extLst>
          </p:cNvPr>
          <p:cNvSpPr/>
          <p:nvPr userDrawn="1"/>
        </p:nvSpPr>
        <p:spPr>
          <a:xfrm>
            <a:off x="0" y="863792"/>
            <a:ext cx="12192000" cy="480858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 Placeholder 23">
            <a:extLst>
              <a:ext uri="{FF2B5EF4-FFF2-40B4-BE49-F238E27FC236}">
                <a16:creationId xmlns:a16="http://schemas.microsoft.com/office/drawing/2014/main" id="{12BAB650-108E-0942-978D-774C8074DE2B}"/>
              </a:ext>
            </a:extLst>
          </p:cNvPr>
          <p:cNvSpPr>
            <a:spLocks noGrp="1"/>
          </p:cNvSpPr>
          <p:nvPr>
            <p:ph type="body" sz="quarter" idx="16" hasCustomPrompt="1"/>
          </p:nvPr>
        </p:nvSpPr>
        <p:spPr>
          <a:xfrm>
            <a:off x="2149154" y="1379071"/>
            <a:ext cx="4235894" cy="582221"/>
          </a:xfrm>
        </p:spPr>
        <p:txBody>
          <a:bodyPr>
            <a:normAutofit/>
          </a:bodyPr>
          <a:lstStyle>
            <a:lvl1pPr marL="0" indent="0" algn="l">
              <a:buNone/>
              <a:defRPr sz="4800" b="0" i="0">
                <a:solidFill>
                  <a:schemeClr val="bg1"/>
                </a:solidFill>
                <a:latin typeface="+mn-lt"/>
              </a:defRPr>
            </a:lvl1pPr>
          </a:lstStyle>
          <a:p>
            <a:pPr lvl="0"/>
            <a:r>
              <a:rPr lang="en-US"/>
              <a:t>Divider</a:t>
            </a:r>
          </a:p>
        </p:txBody>
      </p:sp>
      <p:sp>
        <p:nvSpPr>
          <p:cNvPr id="15" name="Text Placeholder 23">
            <a:extLst>
              <a:ext uri="{FF2B5EF4-FFF2-40B4-BE49-F238E27FC236}">
                <a16:creationId xmlns:a16="http://schemas.microsoft.com/office/drawing/2014/main" id="{448A984E-CA05-DD42-B714-15E0FE47A2D3}"/>
              </a:ext>
            </a:extLst>
          </p:cNvPr>
          <p:cNvSpPr>
            <a:spLocks noGrp="1"/>
          </p:cNvSpPr>
          <p:nvPr>
            <p:ph type="body" sz="quarter" idx="17" hasCustomPrompt="1"/>
          </p:nvPr>
        </p:nvSpPr>
        <p:spPr>
          <a:xfrm>
            <a:off x="704603" y="1379072"/>
            <a:ext cx="904551" cy="582221"/>
          </a:xfrm>
        </p:spPr>
        <p:txBody>
          <a:bodyPr>
            <a:normAutofit/>
          </a:bodyPr>
          <a:lstStyle>
            <a:lvl1pPr marL="0" indent="0" algn="l">
              <a:buNone/>
              <a:defRPr sz="4800" b="0" i="0">
                <a:solidFill>
                  <a:schemeClr val="bg1"/>
                </a:solidFill>
                <a:latin typeface="+mn-lt"/>
              </a:defRPr>
            </a:lvl1pPr>
          </a:lstStyle>
          <a:p>
            <a:pPr lvl="0"/>
            <a:r>
              <a:rPr lang="en-US"/>
              <a:t>01</a:t>
            </a:r>
          </a:p>
        </p:txBody>
      </p:sp>
      <p:sp>
        <p:nvSpPr>
          <p:cNvPr id="17" name="Rectangle 16">
            <a:extLst>
              <a:ext uri="{FF2B5EF4-FFF2-40B4-BE49-F238E27FC236}">
                <a16:creationId xmlns:a16="http://schemas.microsoft.com/office/drawing/2014/main" id="{C1D862D4-F913-4F4B-932F-CEC309A3EB60}"/>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pic>
        <p:nvPicPr>
          <p:cNvPr id="18" name="Picture 17" descr="Icon&#10;&#10;Description automatically generated">
            <a:extLst>
              <a:ext uri="{FF2B5EF4-FFF2-40B4-BE49-F238E27FC236}">
                <a16:creationId xmlns:a16="http://schemas.microsoft.com/office/drawing/2014/main" id="{D525F11B-4DF0-7441-AB7E-37829DE6C436}"/>
              </a:ext>
            </a:extLst>
          </p:cNvPr>
          <p:cNvPicPr/>
          <p:nvPr userDrawn="1"/>
        </p:nvPicPr>
        <p:blipFill>
          <a:blip r:embed="rId2">
            <a:extLst>
              <a:ext uri="{28A0092B-C50C-407E-A947-70E740481C1C}">
                <a14:useLocalDpi xmlns:a14="http://schemas.microsoft.com/office/drawing/2010/main"/>
              </a:ext>
            </a:extLst>
          </a:blip>
          <a:srcRect l="6291" t="19337" r="13258" b="10881"/>
          <a:stretch>
            <a:fillRect/>
          </a:stretch>
        </p:blipFill>
        <p:spPr>
          <a:xfrm>
            <a:off x="5866785" y="863793"/>
            <a:ext cx="6035215" cy="4808588"/>
          </a:xfrm>
          <a:prstGeom prst="rect">
            <a:avLst/>
          </a:prstGeom>
        </p:spPr>
      </p:pic>
      <p:pic>
        <p:nvPicPr>
          <p:cNvPr id="19" name="Picture 18" descr="Logo&#10;&#10;Description automatically generated">
            <a:extLst>
              <a:ext uri="{FF2B5EF4-FFF2-40B4-BE49-F238E27FC236}">
                <a16:creationId xmlns:a16="http://schemas.microsoft.com/office/drawing/2014/main" id="{B7BBE6B0-F76A-C541-8417-4278538578B7}"/>
              </a:ext>
            </a:extLst>
          </p:cNvPr>
          <p:cNvPicPr/>
          <p:nvPr userDrawn="1"/>
        </p:nvPicPr>
        <p:blipFill>
          <a:blip r:embed="rId3">
            <a:extLst>
              <a:ext uri="{28A0092B-C50C-407E-A947-70E740481C1C}">
                <a14:useLocalDpi xmlns:a14="http://schemas.microsoft.com/office/drawing/2010/main"/>
              </a:ext>
            </a:extLst>
          </a:blip>
          <a:srcRect l="26042" t="83613" r="-755" b="207"/>
          <a:stretch>
            <a:fillRect/>
          </a:stretch>
        </p:blipFill>
        <p:spPr>
          <a:xfrm>
            <a:off x="506695" y="6583579"/>
            <a:ext cx="1300365" cy="144173"/>
          </a:xfrm>
          <a:prstGeom prst="rect">
            <a:avLst/>
          </a:prstGeom>
        </p:spPr>
      </p:pic>
    </p:spTree>
    <p:extLst>
      <p:ext uri="{BB962C8B-B14F-4D97-AF65-F5344CB8AC3E}">
        <p14:creationId xmlns:p14="http://schemas.microsoft.com/office/powerpoint/2010/main" val="3533940472"/>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F337BB-9F57-1B43-913A-21BC65FFB7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Haga clic para editar el estilo del título principal</a:t>
            </a:r>
            <a:endParaRPr lang="en-US"/>
          </a:p>
        </p:txBody>
      </p:sp>
      <p:sp>
        <p:nvSpPr>
          <p:cNvPr id="3" name="Text Placeholder 2">
            <a:extLst>
              <a:ext uri="{FF2B5EF4-FFF2-40B4-BE49-F238E27FC236}">
                <a16:creationId xmlns:a16="http://schemas.microsoft.com/office/drawing/2014/main" id="{70557024-83C6-E440-928C-6196DF32B1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Haga clic para editar los estilos de texto maestro</a:t>
            </a:r>
          </a:p>
          <a:p>
            <a:pPr lvl="1"/>
            <a:r>
              <a:rPr lang="en-GB"/>
              <a:t>Segundo nivel</a:t>
            </a:r>
          </a:p>
          <a:p>
            <a:pPr lvl="2"/>
            <a:r>
              <a:rPr lang="en-GB"/>
              <a:t>Tercer nivel</a:t>
            </a:r>
          </a:p>
          <a:p>
            <a:pPr lvl="3"/>
            <a:r>
              <a:rPr lang="en-GB"/>
              <a:t>Cuarto nivel</a:t>
            </a:r>
          </a:p>
          <a:p>
            <a:pPr lvl="4"/>
            <a:r>
              <a:rPr lang="en-GB"/>
              <a:t>Quinto nivel</a:t>
            </a:r>
            <a:endParaRPr lang="en-US"/>
          </a:p>
        </p:txBody>
      </p:sp>
      <p:sp>
        <p:nvSpPr>
          <p:cNvPr id="4" name="Date Placeholder 3">
            <a:extLst>
              <a:ext uri="{FF2B5EF4-FFF2-40B4-BE49-F238E27FC236}">
                <a16:creationId xmlns:a16="http://schemas.microsoft.com/office/drawing/2014/main" id="{6124A238-6532-A840-B650-EB91262EE67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7FD578-4D8C-F94D-9569-CDE05732EEA7}" type="datetimeFigureOut">
              <a:rPr lang="en-US" smtClean="0"/>
              <a:t>11/7/2022</a:t>
            </a:fld>
            <a:endParaRPr lang="en-US"/>
          </a:p>
        </p:txBody>
      </p:sp>
      <p:sp>
        <p:nvSpPr>
          <p:cNvPr id="5" name="Footer Placeholder 4">
            <a:extLst>
              <a:ext uri="{FF2B5EF4-FFF2-40B4-BE49-F238E27FC236}">
                <a16:creationId xmlns:a16="http://schemas.microsoft.com/office/drawing/2014/main" id="{2229FE06-AD7A-EE46-8712-1181F535E6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6DBF10-9497-BF4E-8AAE-86407B9184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760C49-C21F-C349-B509-93C281143DFD}" type="slidenum">
              <a:rPr lang="en-US" smtClean="0"/>
              <a:t>‹Nº›</a:t>
            </a:fld>
            <a:endParaRPr lang="en-US"/>
          </a:p>
        </p:txBody>
      </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30" r:id="rId4"/>
    <p:sldLayoutId id="2147483842" r:id="rId5"/>
    <p:sldLayoutId id="2147483840" r:id="rId6"/>
    <p:sldLayoutId id="2147483841" r:id="rId7"/>
    <p:sldLayoutId id="2147483861" r:id="rId8"/>
    <p:sldLayoutId id="2147483862" r:id="rId9"/>
    <p:sldLayoutId id="2147483863" r:id="rId10"/>
    <p:sldLayoutId id="2147483835" r:id="rId11"/>
    <p:sldLayoutId id="2147483836" r:id="rId12"/>
    <p:sldLayoutId id="2147483831" r:id="rId13"/>
    <p:sldLayoutId id="2147483846" r:id="rId14"/>
    <p:sldLayoutId id="2147483873" r:id="rId15"/>
    <p:sldLayoutId id="2147483834" r:id="rId16"/>
    <p:sldLayoutId id="2147483845" r:id="rId17"/>
    <p:sldLayoutId id="2147483869" r:id="rId18"/>
    <p:sldLayoutId id="2147483866" r:id="rId19"/>
    <p:sldLayoutId id="2147483833" r:id="rId20"/>
    <p:sldLayoutId id="2147483847" r:id="rId21"/>
    <p:sldLayoutId id="2147483871" r:id="rId22"/>
    <p:sldLayoutId id="2147483875" r:id="rId23"/>
    <p:sldLayoutId id="2147483837" r:id="rId24"/>
    <p:sldLayoutId id="2147483838" r:id="rId25"/>
    <p:sldLayoutId id="2147483844" r:id="rId26"/>
    <p:sldLayoutId id="2147483848" r:id="rId27"/>
    <p:sldLayoutId id="2147483849" r:id="rId28"/>
    <p:sldLayoutId id="2147483851" r:id="rId29"/>
    <p:sldLayoutId id="2147483854" r:id="rId30"/>
    <p:sldLayoutId id="2147483855" r:id="rId31"/>
    <p:sldLayoutId id="2147483856" r:id="rId32"/>
    <p:sldLayoutId id="2147483857" r:id="rId33"/>
    <p:sldLayoutId id="2147483864" r:id="rId34"/>
    <p:sldLayoutId id="2147483852" r:id="rId35"/>
    <p:sldLayoutId id="2147483858" r:id="rId36"/>
    <p:sldLayoutId id="2147483859" r:id="rId37"/>
    <p:sldLayoutId id="2147483860" r:id="rId38"/>
    <p:sldLayoutId id="2147483874" r:id="rId39"/>
  </p:sldLayoutIdLst>
  <p:transition/>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hyperlink" Target="https://en.wikipedia.org/wiki/Death_of_a_Salesman" TargetMode="External"/><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www.webfx.com/blog/marketing/how-5-big-brands-came-back-from-the-brink-of-failure/" TargetMode="Externa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hyperlink" Target="https://www.businessfinland.fi/en/whats-new/news/2021/sustainable-is-resilient--how-to-prepare--for-crisis-and-grow-sustainably" TargetMode="External"/><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rathmullanrestaurants.com/" TargetMode="External"/><Relationship Id="rId1" Type="http://schemas.openxmlformats.org/officeDocument/2006/relationships/slideLayout" Target="../slideLayouts/slideLayout19.xml"/><Relationship Id="rId5" Type="http://schemas.openxmlformats.org/officeDocument/2006/relationships/image" Target="../media/image15.jpeg"/><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4.png"/><Relationship Id="rId1" Type="http://schemas.openxmlformats.org/officeDocument/2006/relationships/slideLayout" Target="../slideLayouts/slideLayout19.xml"/><Relationship Id="rId4" Type="http://schemas.openxmlformats.org/officeDocument/2006/relationships/image" Target="../media/image15.jpeg"/></Relationships>
</file>

<file path=ppt/slides/_rels/slide23.xml.rels><?xml version="1.0" encoding="UTF-8" standalone="yes"?>
<Relationships xmlns="http://schemas.openxmlformats.org/package/2006/relationships"><Relationship Id="rId3" Type="http://schemas.openxmlformats.org/officeDocument/2006/relationships/hyperlink" Target="https://turnaround.org/about/tma-awards" TargetMode="External"/><Relationship Id="rId2" Type="http://schemas.openxmlformats.org/officeDocument/2006/relationships/hyperlink" Target="https://www.nuevapescanova.com/" TargetMode="External"/><Relationship Id="rId1" Type="http://schemas.openxmlformats.org/officeDocument/2006/relationships/slideLayout" Target="../slideLayouts/slideLayout19.xml"/><Relationship Id="rId5" Type="http://schemas.openxmlformats.org/officeDocument/2006/relationships/image" Target="../media/image16.png"/><Relationship Id="rId4" Type="http://schemas.openxmlformats.org/officeDocument/2006/relationships/hyperlink" Target="https://en.wikipedia.org/wiki/Pescanova" TargetMode="External"/></Relationships>
</file>

<file path=ppt/slides/_rels/slide24.xml.rels><?xml version="1.0" encoding="UTF-8" standalone="yes"?>
<Relationships xmlns="http://schemas.openxmlformats.org/package/2006/relationships"><Relationship Id="rId3" Type="http://schemas.openxmlformats.org/officeDocument/2006/relationships/hyperlink" Target="https://www.amazon.co.uk/Antifragile-Things-that-Gain-Disorder/dp/0141038225" TargetMode="External"/><Relationship Id="rId2" Type="http://schemas.openxmlformats.org/officeDocument/2006/relationships/image" Target="../media/image12.png"/><Relationship Id="rId1" Type="http://schemas.openxmlformats.org/officeDocument/2006/relationships/slideLayout" Target="../slideLayouts/slideLayout19.xml"/><Relationship Id="rId4" Type="http://schemas.openxmlformats.org/officeDocument/2006/relationships/image" Target="../media/image1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8.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8.emf"/><Relationship Id="rId5" Type="http://schemas.openxmlformats.org/officeDocument/2006/relationships/oleObject" Target="../embeddings/oleObject2.bin"/><Relationship Id="rId4" Type="http://schemas.openxmlformats.org/officeDocument/2006/relationships/notesSlide" Target="../notesSlides/notesSlide6.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2.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18.emf"/><Relationship Id="rId5" Type="http://schemas.openxmlformats.org/officeDocument/2006/relationships/oleObject" Target="../embeddings/oleObject3.bin"/><Relationship Id="rId4" Type="http://schemas.openxmlformats.org/officeDocument/2006/relationships/notesSlide" Target="../notesSlides/notesSlide7.xml"/></Relationships>
</file>

<file path=ppt/slides/_rels/slide3.xml.rels><?xml version="1.0" encoding="UTF-8" standalone="yes"?>
<Relationships xmlns="http://schemas.openxmlformats.org/package/2006/relationships"><Relationship Id="rId2" Type="http://schemas.openxmlformats.org/officeDocument/2006/relationships/hyperlink" Target="https://www.smecrisistoolkit.eu/framework-en/" TargetMode="External"/><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12.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8.emf"/><Relationship Id="rId5" Type="http://schemas.openxmlformats.org/officeDocument/2006/relationships/oleObject" Target="../embeddings/oleObject4.bin"/><Relationship Id="rId4" Type="http://schemas.openxmlformats.org/officeDocument/2006/relationships/notesSlide" Target="../notesSlides/notesSlide8.xml"/></Relationships>
</file>

<file path=ppt/slides/_rels/slide31.xml.rels><?xml version="1.0" encoding="UTF-8" standalone="yes"?>
<Relationships xmlns="http://schemas.openxmlformats.org/package/2006/relationships"><Relationship Id="rId3" Type="http://schemas.openxmlformats.org/officeDocument/2006/relationships/hyperlink" Target="https://www.sciencedirect.com/science/article/pii/S2352673421000603" TargetMode="External"/><Relationship Id="rId2" Type="http://schemas.openxmlformats.org/officeDocument/2006/relationships/image" Target="../media/image12.png"/><Relationship Id="rId1" Type="http://schemas.openxmlformats.org/officeDocument/2006/relationships/slideLayout" Target="../slideLayouts/slideLayout19.xml"/><Relationship Id="rId4" Type="http://schemas.openxmlformats.org/officeDocument/2006/relationships/image" Target="../media/image19.jpeg"/></Relationships>
</file>

<file path=ppt/slides/_rels/slide3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Layout" Target="../slideLayouts/slideLayout19.xml"/><Relationship Id="rId1" Type="http://schemas.openxmlformats.org/officeDocument/2006/relationships/video" Target="https://www.youtube.com/embed/0m1hyBI6Q3c?feature=oembed"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2.png"/><Relationship Id="rId1" Type="http://schemas.openxmlformats.org/officeDocument/2006/relationships/slideLayout" Target="../slideLayouts/slideLayout19.xml"/><Relationship Id="rId4" Type="http://schemas.openxmlformats.org/officeDocument/2006/relationships/image" Target="../media/image22.svg"/></Relationships>
</file>

<file path=ppt/slides/_rels/slide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3" Type="http://schemas.openxmlformats.org/officeDocument/2006/relationships/hyperlink" Target="https://blog.bcm-institute.org/crisis-management/crisis-stages-pre-crisis" TargetMode="External"/><Relationship Id="rId2" Type="http://schemas.openxmlformats.org/officeDocument/2006/relationships/hyperlink" Target="https://en.wikipedia.org/wiki/Heuristic" TargetMode="External"/><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2" Type="http://schemas.openxmlformats.org/officeDocument/2006/relationships/hyperlink" Target="https://blog.bcm-institute.org/crisis-management/crisis-stages-pre-crisis" TargetMode="External"/><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0.xml.rels><?xml version="1.0" encoding="UTF-8" standalone="yes"?>
<Relationships xmlns="http://schemas.openxmlformats.org/package/2006/relationships"><Relationship Id="rId3" Type="http://schemas.openxmlformats.org/officeDocument/2006/relationships/hyperlink" Target="https://www.skylarkstairs.com/" TargetMode="External"/><Relationship Id="rId2" Type="http://schemas.openxmlformats.org/officeDocument/2006/relationships/hyperlink" Target="https://www.independent.ie/storyplus/overcoming-brexit-how-this-small-business-turned-a-crisis-into-an-opportunity-37597464.html" TargetMode="External"/><Relationship Id="rId1" Type="http://schemas.openxmlformats.org/officeDocument/2006/relationships/slideLayout" Target="../slideLayouts/slideLayout19.xml"/><Relationship Id="rId6" Type="http://schemas.openxmlformats.org/officeDocument/2006/relationships/image" Target="../media/image23.png"/><Relationship Id="rId5" Type="http://schemas.openxmlformats.org/officeDocument/2006/relationships/hyperlink" Target="https://www.leanbusinessireland.ie/funding-supports-overview/are-you-a-local-enterprise-office-client/lean-for-micro/#:~:text=The%20LEO%20Lean%20for%20Micro%20business%20programme%20helps,and%20improvements%20in%20capability%20and%20capacity%20to%20deliver" TargetMode="External"/><Relationship Id="rId4" Type="http://schemas.openxmlformats.org/officeDocument/2006/relationships/hyperlink" Target="https://www.localenterprise.ie/Galway/" TargetMode="External"/></Relationships>
</file>

<file path=ppt/slides/_rels/slide5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www.independent.ie/storyplus/overcoming-brexit-how-this-small-business-turned-a-crisis-into-an-opportunity-37597464.html" TargetMode="External"/><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3.xml.rels><?xml version="1.0" encoding="UTF-8" standalone="yes"?>
<Relationships xmlns="http://schemas.openxmlformats.org/package/2006/relationships"><Relationship Id="rId3" Type="http://schemas.openxmlformats.org/officeDocument/2006/relationships/hyperlink" Target="https://twitter.com/SECure_Project" TargetMode="External"/><Relationship Id="rId2" Type="http://schemas.openxmlformats.org/officeDocument/2006/relationships/hyperlink" Target="https://www.facebook.com/SECure.ErasmusProject" TargetMode="External"/><Relationship Id="rId1" Type="http://schemas.openxmlformats.org/officeDocument/2006/relationships/slideLayout" Target="../slideLayouts/slideLayout39.xml"/><Relationship Id="rId4" Type="http://schemas.openxmlformats.org/officeDocument/2006/relationships/hyperlink" Target="https://www.linkedin.com/company/secure-project/"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hyperlink" Target="https://mohurley.blogspot.com/2017/04/ferryland-iceberg.html" TargetMode="External"/><Relationship Id="rId2" Type="http://schemas.openxmlformats.org/officeDocument/2006/relationships/image" Target="../media/image11.jpe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EE31D6-3015-BF40-A01F-F259544C7E1A}"/>
              </a:ext>
            </a:extLst>
          </p:cNvPr>
          <p:cNvSpPr>
            <a:spLocks noGrp="1"/>
          </p:cNvSpPr>
          <p:nvPr>
            <p:ph type="body" sz="quarter" idx="16"/>
          </p:nvPr>
        </p:nvSpPr>
        <p:spPr>
          <a:xfrm>
            <a:off x="735749" y="2786223"/>
            <a:ext cx="6026832" cy="2403642"/>
          </a:xfrm>
        </p:spPr>
        <p:txBody>
          <a:bodyPr anchor="t">
            <a:normAutofit/>
          </a:bodyPr>
          <a:lstStyle/>
          <a:p>
            <a:r>
              <a:rPr lang="en-US" sz="4000" b="1"/>
              <a:t>MÓDULO 1</a:t>
            </a:r>
            <a:endParaRPr lang="en-US" sz="4000" b="1">
              <a:effectLst/>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descr="Icon&#10;&#10;Description automatically generated">
            <a:extLst>
              <a:ext uri="{FF2B5EF4-FFF2-40B4-BE49-F238E27FC236}">
                <a16:creationId xmlns:a16="http://schemas.microsoft.com/office/drawing/2014/main" id="{34DF4380-9FA9-C942-95CE-8E68EE0BAE52}"/>
              </a:ext>
            </a:extLst>
          </p:cNvPr>
          <p:cNvPicPr/>
          <p:nvPr/>
        </p:nvPicPr>
        <p:blipFill>
          <a:blip r:embed="rId2">
            <a:extLst>
              <a:ext uri="{28A0092B-C50C-407E-A947-70E740481C1C}">
                <a14:useLocalDpi xmlns:a14="http://schemas.microsoft.com/office/drawing/2010/main"/>
              </a:ext>
            </a:extLst>
          </a:blip>
          <a:srcRect l="-11025" t="-318" r="25497" b="15717"/>
          <a:stretch>
            <a:fillRect/>
          </a:stretch>
        </p:blipFill>
        <p:spPr>
          <a:xfrm>
            <a:off x="7770233" y="2840234"/>
            <a:ext cx="4421766" cy="4017766"/>
          </a:xfrm>
          <a:prstGeom prst="rect">
            <a:avLst/>
          </a:prstGeom>
        </p:spPr>
      </p:pic>
      <p:pic>
        <p:nvPicPr>
          <p:cNvPr id="7" name="Picture Placeholder 6" descr="Stopwatch">
            <a:extLst>
              <a:ext uri="{FF2B5EF4-FFF2-40B4-BE49-F238E27FC236}">
                <a16:creationId xmlns:a16="http://schemas.microsoft.com/office/drawing/2014/main" id="{B153D999-4808-4695-B1F8-A7087627975A}"/>
              </a:ext>
            </a:extLst>
          </p:cNvPr>
          <p:cNvPicPr>
            <a:picLocks noGrp="1" noChangeAspect="1"/>
          </p:cNvPicPr>
          <p:nvPr>
            <p:ph type="pic" sz="quarter" idx="17"/>
          </p:nvPr>
        </p:nvPicPr>
        <p:blipFill>
          <a:blip r:embed="rId3">
            <a:extLst>
              <a:ext uri="{28A0092B-C50C-407E-A947-70E740481C1C}">
                <a14:useLocalDpi xmlns:a14="http://schemas.microsoft.com/office/drawing/2010/main"/>
              </a:ext>
            </a:extLst>
          </a:blip>
          <a:srcRect l="25926" r="25926"/>
          <a:stretch>
            <a:fillRect/>
          </a:stretch>
        </p:blipFill>
        <p:spPr/>
      </p:pic>
      <p:sp>
        <p:nvSpPr>
          <p:cNvPr id="9" name="TextBox 8">
            <a:extLst>
              <a:ext uri="{FF2B5EF4-FFF2-40B4-BE49-F238E27FC236}">
                <a16:creationId xmlns:a16="http://schemas.microsoft.com/office/drawing/2014/main" id="{E47E8D49-C9B4-9A47-D4E3-45D5EB4A7C46}"/>
              </a:ext>
            </a:extLst>
          </p:cNvPr>
          <p:cNvSpPr txBox="1"/>
          <p:nvPr/>
        </p:nvSpPr>
        <p:spPr>
          <a:xfrm>
            <a:off x="6571280" y="0"/>
            <a:ext cx="5741222" cy="954107"/>
          </a:xfrm>
          <a:prstGeom prst="rect">
            <a:avLst/>
          </a:prstGeom>
          <a:noFill/>
        </p:spPr>
        <p:txBody>
          <a:bodyPr wrap="square">
            <a:spAutoFit/>
          </a:bodyPr>
          <a:lstStyle/>
          <a:p>
            <a:r>
              <a:rPr lang="en-GB" sz="2800">
                <a:solidFill>
                  <a:schemeClr val="bg1"/>
                </a:solidFill>
                <a:highlight>
                  <a:srgbClr val="F16924"/>
                </a:highlight>
              </a:rPr>
              <a:t>PAQUETE DE FORMACIÓN DE CURRICULUM Y VET DE SEGURIDAD </a:t>
            </a:r>
          </a:p>
        </p:txBody>
      </p:sp>
      <p:sp>
        <p:nvSpPr>
          <p:cNvPr id="2" name="Rectangle 1">
            <a:extLst>
              <a:ext uri="{FF2B5EF4-FFF2-40B4-BE49-F238E27FC236}">
                <a16:creationId xmlns:a16="http://schemas.microsoft.com/office/drawing/2014/main" id="{D5358F07-AB48-6218-7D5A-E2CF2178774E}"/>
              </a:ext>
            </a:extLst>
          </p:cNvPr>
          <p:cNvSpPr/>
          <p:nvPr/>
        </p:nvSpPr>
        <p:spPr>
          <a:xfrm>
            <a:off x="735749" y="3572308"/>
            <a:ext cx="288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4" name="Text Placeholder 2">
            <a:extLst>
              <a:ext uri="{FF2B5EF4-FFF2-40B4-BE49-F238E27FC236}">
                <a16:creationId xmlns:a16="http://schemas.microsoft.com/office/drawing/2014/main" id="{EF51B361-828C-FA55-D7BA-CCADDD8C730A}"/>
              </a:ext>
            </a:extLst>
          </p:cNvPr>
          <p:cNvSpPr txBox="1"/>
          <p:nvPr/>
        </p:nvSpPr>
        <p:spPr>
          <a:xfrm>
            <a:off x="735749" y="3807303"/>
            <a:ext cx="4884972" cy="1315888"/>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000">
                <a:latin typeface="Calibri" panose="020F0502020204030204" pitchFamily="34" charset="0"/>
                <a:ea typeface="Calibri" panose="020F0502020204030204" pitchFamily="34" charset="0"/>
                <a:cs typeface="Calibri" panose="020F0502020204030204" pitchFamily="34" charset="0"/>
              </a:rPr>
              <a:t>Los fundamentos de la crisis temprana de las PYME </a:t>
            </a:r>
          </a:p>
        </p:txBody>
      </p:sp>
    </p:spTree>
    <p:extLst>
      <p:ext uri="{BB962C8B-B14F-4D97-AF65-F5344CB8AC3E}">
        <p14:creationId xmlns:p14="http://schemas.microsoft.com/office/powerpoint/2010/main" val="1495015586"/>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4678EC-8A3F-3741-8E47-AE94DA479C25}"/>
              </a:ext>
            </a:extLst>
          </p:cNvPr>
          <p:cNvSpPr>
            <a:spLocks noGrp="1"/>
          </p:cNvSpPr>
          <p:nvPr>
            <p:ph type="body" sz="quarter" idx="16"/>
          </p:nvPr>
        </p:nvSpPr>
        <p:spPr>
          <a:xfrm>
            <a:off x="2195933" y="1225201"/>
            <a:ext cx="4474068" cy="3423588"/>
          </a:xfrm>
        </p:spPr>
        <p:txBody>
          <a:bodyPr>
            <a:normAutofit/>
          </a:bodyPr>
          <a:lstStyle/>
          <a:p>
            <a:r>
              <a:rPr lang="en-US" sz="4000"/>
              <a:t>EL PROCESO VITAL DE RECONOCIMIENTO</a:t>
            </a:r>
          </a:p>
          <a:p>
            <a:endParaRPr lang="en-US" sz="4000" b="1"/>
          </a:p>
          <a:p>
            <a:r>
              <a:rPr lang="en-US" sz="2800"/>
              <a:t>Establecer las 5 etapas claras para reconocer una crisis</a:t>
            </a:r>
          </a:p>
        </p:txBody>
      </p:sp>
      <p:sp>
        <p:nvSpPr>
          <p:cNvPr id="7" name="Text Placeholder 6">
            <a:extLst>
              <a:ext uri="{FF2B5EF4-FFF2-40B4-BE49-F238E27FC236}">
                <a16:creationId xmlns:a16="http://schemas.microsoft.com/office/drawing/2014/main" id="{9655EF32-77B1-5309-9EFB-00CB3D384D88}"/>
              </a:ext>
            </a:extLst>
          </p:cNvPr>
          <p:cNvSpPr>
            <a:spLocks noGrp="1"/>
          </p:cNvSpPr>
          <p:nvPr>
            <p:ph type="body" sz="quarter" idx="17"/>
          </p:nvPr>
        </p:nvSpPr>
        <p:spPr/>
        <p:txBody>
          <a:bodyPr/>
          <a:lstStyle/>
          <a:p>
            <a:r>
              <a:rPr lang="en-US"/>
              <a:t>02</a:t>
            </a:r>
          </a:p>
        </p:txBody>
      </p:sp>
    </p:spTree>
    <p:extLst>
      <p:ext uri="{BB962C8B-B14F-4D97-AF65-F5344CB8AC3E}">
        <p14:creationId xmlns:p14="http://schemas.microsoft.com/office/powerpoint/2010/main" val="1075312071"/>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A6A4AFB-C570-C170-E84C-84C8021C024E}"/>
              </a:ext>
            </a:extLst>
          </p:cNvPr>
          <p:cNvSpPr/>
          <p:nvPr/>
        </p:nvSpPr>
        <p:spPr>
          <a:xfrm>
            <a:off x="1" y="0"/>
            <a:ext cx="367753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1" name="Group 18204">
            <a:extLst>
              <a:ext uri="{FF2B5EF4-FFF2-40B4-BE49-F238E27FC236}">
                <a16:creationId xmlns:a16="http://schemas.microsoft.com/office/drawing/2014/main" id="{FF8C09B4-1A13-4F3B-924F-463BA83AA442}"/>
              </a:ext>
            </a:extLst>
          </p:cNvPr>
          <p:cNvGrpSpPr/>
          <p:nvPr/>
        </p:nvGrpSpPr>
        <p:grpSpPr>
          <a:xfrm>
            <a:off x="4071394" y="3046833"/>
            <a:ext cx="1415796" cy="1577513"/>
            <a:chOff x="0" y="0"/>
            <a:chExt cx="1905957" cy="2123662"/>
          </a:xfrm>
        </p:grpSpPr>
        <p:sp>
          <p:nvSpPr>
            <p:cNvPr id="42" name="Shape 18202">
              <a:extLst>
                <a:ext uri="{FF2B5EF4-FFF2-40B4-BE49-F238E27FC236}">
                  <a16:creationId xmlns:a16="http://schemas.microsoft.com/office/drawing/2014/main" id="{402A1EEB-AAC1-4829-9E23-90384FBB8B71}"/>
                </a:ext>
              </a:extLst>
            </p:cNvPr>
            <p:cNvSpPr/>
            <p:nvPr/>
          </p:nvSpPr>
          <p:spPr>
            <a:xfrm>
              <a:off x="328241" y="0"/>
              <a:ext cx="1577716" cy="1779686"/>
            </a:xfrm>
            <a:custGeom>
              <a:avLst/>
              <a:gdLst/>
              <a:ahLst/>
              <a:cxnLst>
                <a:cxn ang="0">
                  <a:pos x="wd2" y="hd2"/>
                </a:cxn>
                <a:cxn ang="5400000">
                  <a:pos x="wd2" y="hd2"/>
                </a:cxn>
                <a:cxn ang="10800000">
                  <a:pos x="wd2" y="hd2"/>
                </a:cxn>
                <a:cxn ang="16200000">
                  <a:pos x="wd2" y="hd2"/>
                </a:cxn>
              </a:cxnLst>
              <a:rect l="0" t="0" r="r" b="b"/>
              <a:pathLst>
                <a:path w="21600" h="21600" extrusionOk="0">
                  <a:moveTo>
                    <a:pt x="21600" y="12822"/>
                  </a:moveTo>
                  <a:lnTo>
                    <a:pt x="21600" y="12821"/>
                  </a:lnTo>
                  <a:cubicBezTo>
                    <a:pt x="19269" y="11104"/>
                    <a:pt x="17179" y="9389"/>
                    <a:pt x="15381" y="7465"/>
                  </a:cubicBezTo>
                  <a:cubicBezTo>
                    <a:pt x="13583" y="5541"/>
                    <a:pt x="12078" y="3408"/>
                    <a:pt x="10919" y="854"/>
                  </a:cubicBezTo>
                  <a:lnTo>
                    <a:pt x="10528" y="0"/>
                  </a:lnTo>
                  <a:lnTo>
                    <a:pt x="0" y="3691"/>
                  </a:lnTo>
                  <a:cubicBezTo>
                    <a:pt x="892" y="7209"/>
                    <a:pt x="2613" y="10536"/>
                    <a:pt x="5035" y="13559"/>
                  </a:cubicBezTo>
                  <a:cubicBezTo>
                    <a:pt x="7457" y="16582"/>
                    <a:pt x="10580" y="19300"/>
                    <a:pt x="14274" y="21600"/>
                  </a:cubicBezTo>
                  <a:lnTo>
                    <a:pt x="14274" y="21600"/>
                  </a:lnTo>
                  <a:lnTo>
                    <a:pt x="21600" y="12822"/>
                  </a:lnTo>
                  <a:close/>
                </a:path>
              </a:pathLst>
            </a:custGeom>
            <a:solidFill>
              <a:schemeClr val="accent1"/>
            </a:solidFill>
            <a:ln w="12700" cap="flat">
              <a:noFill/>
              <a:miter lim="400000"/>
            </a:ln>
            <a:effectLst/>
          </p:spPr>
          <p:txBody>
            <a:bodyPr wrap="square" lIns="20097" tIns="20097" rIns="20097" bIns="20097" numCol="1" anchor="ctr">
              <a:noAutofit/>
            </a:bodyPr>
            <a:lstStyle/>
            <a:p>
              <a:endParaRPr lang="en-GB" sz="1899">
                <a:latin typeface="+mj-lt"/>
              </a:endParaRPr>
            </a:p>
          </p:txBody>
        </p:sp>
        <p:sp>
          <p:nvSpPr>
            <p:cNvPr id="43" name="Shape 18203">
              <a:extLst>
                <a:ext uri="{FF2B5EF4-FFF2-40B4-BE49-F238E27FC236}">
                  <a16:creationId xmlns:a16="http://schemas.microsoft.com/office/drawing/2014/main" id="{9808AE67-3948-4593-93BB-E282CED72ED9}"/>
                </a:ext>
              </a:extLst>
            </p:cNvPr>
            <p:cNvSpPr/>
            <p:nvPr/>
          </p:nvSpPr>
          <p:spPr>
            <a:xfrm>
              <a:off x="0" y="306927"/>
              <a:ext cx="1375861" cy="1816735"/>
            </a:xfrm>
            <a:custGeom>
              <a:avLst/>
              <a:gdLst/>
              <a:ahLst/>
              <a:cxnLst>
                <a:cxn ang="0">
                  <a:pos x="wd2" y="hd2"/>
                </a:cxn>
                <a:cxn ang="5400000">
                  <a:pos x="wd2" y="hd2"/>
                </a:cxn>
                <a:cxn ang="10800000">
                  <a:pos x="wd2" y="hd2"/>
                </a:cxn>
                <a:cxn ang="16200000">
                  <a:pos x="wd2" y="hd2"/>
                </a:cxn>
              </a:cxnLst>
              <a:rect l="0" t="0" r="r" b="b"/>
              <a:pathLst>
                <a:path w="21600" h="21600" extrusionOk="0">
                  <a:moveTo>
                    <a:pt x="5232" y="0"/>
                  </a:moveTo>
                  <a:lnTo>
                    <a:pt x="0" y="3163"/>
                  </a:lnTo>
                  <a:cubicBezTo>
                    <a:pt x="941" y="6673"/>
                    <a:pt x="3115" y="10106"/>
                    <a:pt x="6134" y="13250"/>
                  </a:cubicBezTo>
                  <a:cubicBezTo>
                    <a:pt x="9153" y="16393"/>
                    <a:pt x="13018" y="19248"/>
                    <a:pt x="17342" y="21600"/>
                  </a:cubicBezTo>
                  <a:lnTo>
                    <a:pt x="21600" y="17544"/>
                  </a:lnTo>
                  <a:cubicBezTo>
                    <a:pt x="17364" y="15291"/>
                    <a:pt x="13783" y="12628"/>
                    <a:pt x="11006" y="9667"/>
                  </a:cubicBezTo>
                  <a:cubicBezTo>
                    <a:pt x="8228" y="6705"/>
                    <a:pt x="6254" y="3446"/>
                    <a:pt x="5232" y="0"/>
                  </a:cubicBezTo>
                  <a:close/>
                </a:path>
              </a:pathLst>
            </a:custGeom>
            <a:solidFill>
              <a:schemeClr val="accent1">
                <a:lumMod val="75000"/>
              </a:schemeClr>
            </a:solidFill>
            <a:ln w="12700" cap="flat">
              <a:noFill/>
              <a:miter lim="400000"/>
            </a:ln>
            <a:effectLst/>
          </p:spPr>
          <p:txBody>
            <a:bodyPr wrap="square" lIns="20097" tIns="20097" rIns="20097" bIns="20097" numCol="1" anchor="ctr">
              <a:noAutofit/>
            </a:bodyPr>
            <a:lstStyle/>
            <a:p>
              <a:endParaRPr lang="en-GB" sz="1899">
                <a:latin typeface="+mj-lt"/>
              </a:endParaRPr>
            </a:p>
          </p:txBody>
        </p:sp>
      </p:grpSp>
      <p:grpSp>
        <p:nvGrpSpPr>
          <p:cNvPr id="44" name="Group 18207">
            <a:extLst>
              <a:ext uri="{FF2B5EF4-FFF2-40B4-BE49-F238E27FC236}">
                <a16:creationId xmlns:a16="http://schemas.microsoft.com/office/drawing/2014/main" id="{E92CBC1A-290B-45BD-96C1-D085186966BB}"/>
              </a:ext>
            </a:extLst>
          </p:cNvPr>
          <p:cNvGrpSpPr/>
          <p:nvPr/>
        </p:nvGrpSpPr>
        <p:grpSpPr>
          <a:xfrm>
            <a:off x="7997950" y="2248854"/>
            <a:ext cx="1733782" cy="2063284"/>
            <a:chOff x="0" y="0"/>
            <a:chExt cx="2334032" cy="2777611"/>
          </a:xfrm>
        </p:grpSpPr>
        <p:sp>
          <p:nvSpPr>
            <p:cNvPr id="45" name="Shape 18205">
              <a:extLst>
                <a:ext uri="{FF2B5EF4-FFF2-40B4-BE49-F238E27FC236}">
                  <a16:creationId xmlns:a16="http://schemas.microsoft.com/office/drawing/2014/main" id="{D22808D3-81CA-4112-9421-DACD48318E5A}"/>
                </a:ext>
              </a:extLst>
            </p:cNvPr>
            <p:cNvSpPr/>
            <p:nvPr/>
          </p:nvSpPr>
          <p:spPr>
            <a:xfrm>
              <a:off x="848419" y="4076"/>
              <a:ext cx="1485613" cy="2773535"/>
            </a:xfrm>
            <a:custGeom>
              <a:avLst/>
              <a:gdLst/>
              <a:ahLst/>
              <a:cxnLst>
                <a:cxn ang="0">
                  <a:pos x="wd2" y="hd2"/>
                </a:cxn>
                <a:cxn ang="5400000">
                  <a:pos x="wd2" y="hd2"/>
                </a:cxn>
                <a:cxn ang="10800000">
                  <a:pos x="wd2" y="hd2"/>
                </a:cxn>
                <a:cxn ang="16200000">
                  <a:pos x="wd2" y="hd2"/>
                </a:cxn>
              </a:cxnLst>
              <a:rect l="0" t="0" r="r" b="b"/>
              <a:pathLst>
                <a:path w="21600" h="21600" extrusionOk="0">
                  <a:moveTo>
                    <a:pt x="18632" y="0"/>
                  </a:moveTo>
                  <a:cubicBezTo>
                    <a:pt x="18632" y="0"/>
                    <a:pt x="18291" y="2003"/>
                    <a:pt x="17742" y="5289"/>
                  </a:cubicBezTo>
                  <a:cubicBezTo>
                    <a:pt x="17193" y="8575"/>
                    <a:pt x="16436" y="13144"/>
                    <a:pt x="15603" y="18276"/>
                  </a:cubicBezTo>
                  <a:cubicBezTo>
                    <a:pt x="15560" y="18266"/>
                    <a:pt x="13695" y="17825"/>
                    <a:pt x="11816" y="17405"/>
                  </a:cubicBezTo>
                  <a:cubicBezTo>
                    <a:pt x="9906" y="16979"/>
                    <a:pt x="7982" y="16574"/>
                    <a:pt x="7964" y="16570"/>
                  </a:cubicBezTo>
                  <a:lnTo>
                    <a:pt x="6121" y="16135"/>
                  </a:lnTo>
                  <a:cubicBezTo>
                    <a:pt x="5317" y="16844"/>
                    <a:pt x="4405" y="17526"/>
                    <a:pt x="3388" y="18179"/>
                  </a:cubicBezTo>
                  <a:cubicBezTo>
                    <a:pt x="2362" y="18838"/>
                    <a:pt x="1231" y="19467"/>
                    <a:pt x="0" y="20065"/>
                  </a:cubicBezTo>
                  <a:lnTo>
                    <a:pt x="4199" y="21600"/>
                  </a:lnTo>
                  <a:cubicBezTo>
                    <a:pt x="5910" y="20696"/>
                    <a:pt x="7247" y="19860"/>
                    <a:pt x="8255" y="19164"/>
                  </a:cubicBezTo>
                  <a:cubicBezTo>
                    <a:pt x="9263" y="18468"/>
                    <a:pt x="9941" y="17911"/>
                    <a:pt x="10335" y="17566"/>
                  </a:cubicBezTo>
                  <a:lnTo>
                    <a:pt x="19686" y="19629"/>
                  </a:lnTo>
                  <a:lnTo>
                    <a:pt x="19702" y="19633"/>
                  </a:lnTo>
                  <a:lnTo>
                    <a:pt x="19702" y="19629"/>
                  </a:lnTo>
                  <a:lnTo>
                    <a:pt x="21600" y="1120"/>
                  </a:lnTo>
                  <a:lnTo>
                    <a:pt x="18632" y="0"/>
                  </a:lnTo>
                  <a:close/>
                </a:path>
              </a:pathLst>
            </a:custGeom>
            <a:solidFill>
              <a:srgbClr val="B41F7A"/>
            </a:solidFill>
            <a:ln w="12700" cap="flat">
              <a:noFill/>
              <a:miter lim="400000"/>
            </a:ln>
            <a:effectLst/>
          </p:spPr>
          <p:txBody>
            <a:bodyPr wrap="square" lIns="20097" tIns="20097" rIns="20097" bIns="20097" numCol="1" anchor="ctr">
              <a:noAutofit/>
            </a:bodyPr>
            <a:lstStyle/>
            <a:p>
              <a:endParaRPr lang="en-GB" sz="1899">
                <a:latin typeface="+mj-lt"/>
              </a:endParaRPr>
            </a:p>
          </p:txBody>
        </p:sp>
        <p:sp>
          <p:nvSpPr>
            <p:cNvPr id="46" name="Shape 18206">
              <a:extLst>
                <a:ext uri="{FF2B5EF4-FFF2-40B4-BE49-F238E27FC236}">
                  <a16:creationId xmlns:a16="http://schemas.microsoft.com/office/drawing/2014/main" id="{03CFE8EF-C66A-4C29-BBC5-B1C6C574B6E8}"/>
                </a:ext>
              </a:extLst>
            </p:cNvPr>
            <p:cNvSpPr/>
            <p:nvPr/>
          </p:nvSpPr>
          <p:spPr>
            <a:xfrm>
              <a:off x="0" y="0"/>
              <a:ext cx="2131456" cy="258480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6503" y="3372"/>
                    <a:pt x="11103" y="6685"/>
                    <a:pt x="6977" y="9155"/>
                  </a:cubicBezTo>
                  <a:cubicBezTo>
                    <a:pt x="2851" y="11625"/>
                    <a:pt x="0" y="13252"/>
                    <a:pt x="0" y="13252"/>
                  </a:cubicBezTo>
                  <a:lnTo>
                    <a:pt x="3564" y="14397"/>
                  </a:lnTo>
                  <a:cubicBezTo>
                    <a:pt x="3078" y="14910"/>
                    <a:pt x="2566" y="15405"/>
                    <a:pt x="2031" y="15880"/>
                  </a:cubicBezTo>
                  <a:cubicBezTo>
                    <a:pt x="1495" y="16356"/>
                    <a:pt x="935" y="16811"/>
                    <a:pt x="352" y="17246"/>
                  </a:cubicBezTo>
                  <a:lnTo>
                    <a:pt x="8598" y="21600"/>
                  </a:lnTo>
                  <a:cubicBezTo>
                    <a:pt x="9435" y="20956"/>
                    <a:pt x="10209" y="20280"/>
                    <a:pt x="10914" y="19576"/>
                  </a:cubicBezTo>
                  <a:cubicBezTo>
                    <a:pt x="11619" y="18872"/>
                    <a:pt x="12256" y="18139"/>
                    <a:pt x="12818" y="17382"/>
                  </a:cubicBezTo>
                  <a:lnTo>
                    <a:pt x="19489" y="19610"/>
                  </a:lnTo>
                  <a:cubicBezTo>
                    <a:pt x="20069" y="14104"/>
                    <a:pt x="20597" y="9201"/>
                    <a:pt x="20980" y="5675"/>
                  </a:cubicBezTo>
                  <a:cubicBezTo>
                    <a:pt x="21362" y="2149"/>
                    <a:pt x="21600" y="0"/>
                    <a:pt x="21600" y="0"/>
                  </a:cubicBezTo>
                  <a:close/>
                </a:path>
              </a:pathLst>
            </a:custGeom>
            <a:solidFill>
              <a:srgbClr val="B41F7A">
                <a:alpha val="86275"/>
              </a:srgbClr>
            </a:solidFill>
            <a:ln w="12700" cap="flat">
              <a:noFill/>
              <a:miter lim="400000"/>
            </a:ln>
            <a:effectLst/>
          </p:spPr>
          <p:txBody>
            <a:bodyPr wrap="square" lIns="20097" tIns="20097" rIns="20097" bIns="20097" numCol="1" anchor="ctr">
              <a:noAutofit/>
            </a:bodyPr>
            <a:lstStyle/>
            <a:p>
              <a:endParaRPr lang="en-GB" sz="1899">
                <a:latin typeface="+mj-lt"/>
              </a:endParaRPr>
            </a:p>
          </p:txBody>
        </p:sp>
      </p:grpSp>
      <p:grpSp>
        <p:nvGrpSpPr>
          <p:cNvPr id="47" name="Group 18211">
            <a:extLst>
              <a:ext uri="{FF2B5EF4-FFF2-40B4-BE49-F238E27FC236}">
                <a16:creationId xmlns:a16="http://schemas.microsoft.com/office/drawing/2014/main" id="{B5E4A9CE-CB94-45DF-BBBB-E4A466F65EC0}"/>
              </a:ext>
            </a:extLst>
          </p:cNvPr>
          <p:cNvGrpSpPr/>
          <p:nvPr/>
        </p:nvGrpSpPr>
        <p:grpSpPr>
          <a:xfrm>
            <a:off x="5008700" y="3939807"/>
            <a:ext cx="1347128" cy="1161728"/>
            <a:chOff x="0" y="0"/>
            <a:chExt cx="1813514" cy="1563927"/>
          </a:xfrm>
        </p:grpSpPr>
        <p:sp>
          <p:nvSpPr>
            <p:cNvPr id="48" name="Shape 18208">
              <a:extLst>
                <a:ext uri="{FF2B5EF4-FFF2-40B4-BE49-F238E27FC236}">
                  <a16:creationId xmlns:a16="http://schemas.microsoft.com/office/drawing/2014/main" id="{62A206F8-1A21-4ACB-9720-35E3E0FD9F51}"/>
                </a:ext>
              </a:extLst>
            </p:cNvPr>
            <p:cNvSpPr/>
            <p:nvPr/>
          </p:nvSpPr>
          <p:spPr>
            <a:xfrm>
              <a:off x="0" y="2198"/>
              <a:ext cx="819939" cy="1027088"/>
            </a:xfrm>
            <a:custGeom>
              <a:avLst/>
              <a:gdLst/>
              <a:ahLst/>
              <a:cxnLst>
                <a:cxn ang="0">
                  <a:pos x="wd2" y="hd2"/>
                </a:cxn>
                <a:cxn ang="5400000">
                  <a:pos x="wd2" y="hd2"/>
                </a:cxn>
                <a:cxn ang="10800000">
                  <a:pos x="wd2" y="hd2"/>
                </a:cxn>
                <a:cxn ang="16200000">
                  <a:pos x="wd2" y="hd2"/>
                </a:cxn>
              </a:cxnLst>
              <a:rect l="0" t="0" r="r" b="b"/>
              <a:pathLst>
                <a:path w="21600" h="21600" extrusionOk="0">
                  <a:moveTo>
                    <a:pt x="9050" y="14869"/>
                  </a:moveTo>
                  <a:lnTo>
                    <a:pt x="21600" y="0"/>
                  </a:lnTo>
                  <a:lnTo>
                    <a:pt x="17299" y="1941"/>
                  </a:lnTo>
                  <a:lnTo>
                    <a:pt x="0" y="21600"/>
                  </a:lnTo>
                  <a:lnTo>
                    <a:pt x="9047" y="14893"/>
                  </a:lnTo>
                  <a:lnTo>
                    <a:pt x="9050" y="14869"/>
                  </a:lnTo>
                  <a:close/>
                </a:path>
              </a:pathLst>
            </a:custGeom>
            <a:solidFill>
              <a:srgbClr val="651A47"/>
            </a:solidFill>
            <a:ln w="12700" cap="flat">
              <a:noFill/>
              <a:miter lim="400000"/>
            </a:ln>
            <a:effectLst/>
          </p:spPr>
          <p:txBody>
            <a:bodyPr wrap="square" lIns="20097" tIns="20097" rIns="20097" bIns="20097" numCol="1" anchor="ctr">
              <a:noAutofit/>
            </a:bodyPr>
            <a:lstStyle/>
            <a:p>
              <a:pPr>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lang="en-GB" sz="1583">
                <a:latin typeface="+mj-lt"/>
                <a:ea typeface="Lato Light" panose="020F0502020204030203" pitchFamily="34" charset="0"/>
                <a:cs typeface="Lato Light" panose="020F0502020204030203" pitchFamily="34" charset="0"/>
              </a:endParaRPr>
            </a:p>
          </p:txBody>
        </p:sp>
        <p:sp>
          <p:nvSpPr>
            <p:cNvPr id="49" name="Shape 18209">
              <a:extLst>
                <a:ext uri="{FF2B5EF4-FFF2-40B4-BE49-F238E27FC236}">
                  <a16:creationId xmlns:a16="http://schemas.microsoft.com/office/drawing/2014/main" id="{DA5853D9-2CCA-4CF1-875A-BDDEB01DAAD3}"/>
                </a:ext>
              </a:extLst>
            </p:cNvPr>
            <p:cNvSpPr/>
            <p:nvPr/>
          </p:nvSpPr>
          <p:spPr>
            <a:xfrm>
              <a:off x="0" y="707637"/>
              <a:ext cx="1804795" cy="856290"/>
            </a:xfrm>
            <a:custGeom>
              <a:avLst/>
              <a:gdLst/>
              <a:ahLst/>
              <a:cxnLst>
                <a:cxn ang="0">
                  <a:pos x="wd2" y="hd2"/>
                </a:cxn>
                <a:cxn ang="5400000">
                  <a:pos x="wd2" y="hd2"/>
                </a:cxn>
                <a:cxn ang="10800000">
                  <a:pos x="wd2" y="hd2"/>
                </a:cxn>
                <a:cxn ang="16200000">
                  <a:pos x="wd2" y="hd2"/>
                </a:cxn>
              </a:cxnLst>
              <a:rect l="0" t="0" r="r" b="b"/>
              <a:pathLst>
                <a:path w="21600" h="21600" extrusionOk="0">
                  <a:moveTo>
                    <a:pt x="3957" y="0"/>
                  </a:moveTo>
                  <a:lnTo>
                    <a:pt x="0" y="7965"/>
                  </a:lnTo>
                  <a:cubicBezTo>
                    <a:pt x="2801" y="11506"/>
                    <a:pt x="5927" y="14488"/>
                    <a:pt x="9335" y="16798"/>
                  </a:cubicBezTo>
                  <a:cubicBezTo>
                    <a:pt x="12743" y="19108"/>
                    <a:pt x="16433" y="20746"/>
                    <a:pt x="20362" y="21600"/>
                  </a:cubicBezTo>
                  <a:lnTo>
                    <a:pt x="21600" y="12137"/>
                  </a:lnTo>
                  <a:cubicBezTo>
                    <a:pt x="18288" y="11316"/>
                    <a:pt x="15130" y="9835"/>
                    <a:pt x="12174" y="7783"/>
                  </a:cubicBezTo>
                  <a:cubicBezTo>
                    <a:pt x="9217" y="5730"/>
                    <a:pt x="6463" y="3107"/>
                    <a:pt x="3957" y="0"/>
                  </a:cubicBezTo>
                  <a:close/>
                </a:path>
              </a:pathLst>
            </a:custGeom>
            <a:solidFill>
              <a:srgbClr val="651A47"/>
            </a:solidFill>
            <a:ln w="12700" cap="flat">
              <a:noFill/>
              <a:miter lim="400000"/>
            </a:ln>
            <a:effectLst/>
          </p:spPr>
          <p:txBody>
            <a:bodyPr wrap="square" lIns="20097" tIns="20097" rIns="20097" bIns="20097" numCol="1" anchor="ctr">
              <a:noAutofit/>
            </a:bodyPr>
            <a:lstStyle/>
            <a:p>
              <a:endParaRPr lang="en-GB" sz="1899">
                <a:latin typeface="+mj-lt"/>
              </a:endParaRPr>
            </a:p>
          </p:txBody>
        </p:sp>
        <p:sp>
          <p:nvSpPr>
            <p:cNvPr id="50" name="Shape 18210">
              <a:extLst>
                <a:ext uri="{FF2B5EF4-FFF2-40B4-BE49-F238E27FC236}">
                  <a16:creationId xmlns:a16="http://schemas.microsoft.com/office/drawing/2014/main" id="{BA9287BC-F11B-44FE-AD57-09F0D7EE1F3B}"/>
                </a:ext>
              </a:extLst>
            </p:cNvPr>
            <p:cNvSpPr/>
            <p:nvPr/>
          </p:nvSpPr>
          <p:spPr>
            <a:xfrm>
              <a:off x="333603" y="0"/>
              <a:ext cx="1479911" cy="1194805"/>
            </a:xfrm>
            <a:custGeom>
              <a:avLst/>
              <a:gdLst/>
              <a:ahLst/>
              <a:cxnLst>
                <a:cxn ang="0">
                  <a:pos x="wd2" y="hd2"/>
                </a:cxn>
                <a:cxn ang="5400000">
                  <a:pos x="wd2" y="hd2"/>
                </a:cxn>
                <a:cxn ang="10800000">
                  <a:pos x="wd2" y="hd2"/>
                </a:cxn>
                <a:cxn ang="16200000">
                  <a:pos x="wd2" y="hd2"/>
                </a:cxn>
              </a:cxnLst>
              <a:rect l="0" t="0" r="r" b="b"/>
              <a:pathLst>
                <a:path w="21600" h="21600" extrusionOk="0">
                  <a:moveTo>
                    <a:pt x="7110" y="0"/>
                  </a:moveTo>
                  <a:lnTo>
                    <a:pt x="0" y="12824"/>
                  </a:lnTo>
                  <a:cubicBezTo>
                    <a:pt x="3091" y="15083"/>
                    <a:pt x="6484" y="16991"/>
                    <a:pt x="10127" y="18482"/>
                  </a:cubicBezTo>
                  <a:cubicBezTo>
                    <a:pt x="13673" y="19934"/>
                    <a:pt x="17459" y="20993"/>
                    <a:pt x="21436" y="21600"/>
                  </a:cubicBezTo>
                  <a:lnTo>
                    <a:pt x="21600" y="8005"/>
                  </a:lnTo>
                  <a:cubicBezTo>
                    <a:pt x="18998" y="7251"/>
                    <a:pt x="16451" y="6143"/>
                    <a:pt x="14010" y="4772"/>
                  </a:cubicBezTo>
                  <a:cubicBezTo>
                    <a:pt x="11588" y="3412"/>
                    <a:pt x="9270" y="1792"/>
                    <a:pt x="7110" y="0"/>
                  </a:cubicBezTo>
                  <a:close/>
                </a:path>
              </a:pathLst>
            </a:custGeom>
            <a:solidFill>
              <a:srgbClr val="7F1C58"/>
            </a:solidFill>
            <a:ln w="12700" cap="flat">
              <a:noFill/>
              <a:miter lim="400000"/>
            </a:ln>
            <a:effectLst/>
          </p:spPr>
          <p:txBody>
            <a:bodyPr wrap="square" lIns="20097" tIns="20097" rIns="20097" bIns="20097" numCol="1" anchor="ctr">
              <a:noAutofit/>
            </a:bodyPr>
            <a:lstStyle/>
            <a:p>
              <a:endParaRPr lang="en-GB" sz="1899">
                <a:latin typeface="+mj-lt"/>
              </a:endParaRPr>
            </a:p>
          </p:txBody>
        </p:sp>
      </p:grpSp>
      <p:grpSp>
        <p:nvGrpSpPr>
          <p:cNvPr id="51" name="Group 18215">
            <a:extLst>
              <a:ext uri="{FF2B5EF4-FFF2-40B4-BE49-F238E27FC236}">
                <a16:creationId xmlns:a16="http://schemas.microsoft.com/office/drawing/2014/main" id="{83E31CA5-2ECD-47A5-8B8D-D56690592A2D}"/>
              </a:ext>
            </a:extLst>
          </p:cNvPr>
          <p:cNvGrpSpPr/>
          <p:nvPr/>
        </p:nvGrpSpPr>
        <p:grpSpPr>
          <a:xfrm>
            <a:off x="6414661" y="4224799"/>
            <a:ext cx="1172470" cy="898958"/>
            <a:chOff x="0" y="0"/>
            <a:chExt cx="1578389" cy="1210186"/>
          </a:xfrm>
        </p:grpSpPr>
        <p:sp>
          <p:nvSpPr>
            <p:cNvPr id="52" name="Shape 18212">
              <a:extLst>
                <a:ext uri="{FF2B5EF4-FFF2-40B4-BE49-F238E27FC236}">
                  <a16:creationId xmlns:a16="http://schemas.microsoft.com/office/drawing/2014/main" id="{79FBC787-3BCC-41BD-B30F-EAFE540A65C3}"/>
                </a:ext>
              </a:extLst>
            </p:cNvPr>
            <p:cNvSpPr/>
            <p:nvPr/>
          </p:nvSpPr>
          <p:spPr>
            <a:xfrm>
              <a:off x="0" y="85257"/>
              <a:ext cx="140225" cy="1120956"/>
            </a:xfrm>
            <a:custGeom>
              <a:avLst/>
              <a:gdLst/>
              <a:ahLst/>
              <a:cxnLst>
                <a:cxn ang="0">
                  <a:pos x="wd2" y="hd2"/>
                </a:cxn>
                <a:cxn ang="5400000">
                  <a:pos x="wd2" y="hd2"/>
                </a:cxn>
                <a:cxn ang="10800000">
                  <a:pos x="wd2" y="hd2"/>
                </a:cxn>
                <a:cxn ang="16200000">
                  <a:pos x="wd2" y="hd2"/>
                </a:cxn>
              </a:cxnLst>
              <a:rect l="0" t="0" r="r" b="b"/>
              <a:pathLst>
                <a:path w="21600" h="21600" extrusionOk="0">
                  <a:moveTo>
                    <a:pt x="13312" y="0"/>
                  </a:moveTo>
                  <a:lnTo>
                    <a:pt x="0" y="3782"/>
                  </a:lnTo>
                  <a:lnTo>
                    <a:pt x="599" y="21600"/>
                  </a:lnTo>
                  <a:lnTo>
                    <a:pt x="21600" y="14378"/>
                  </a:lnTo>
                  <a:lnTo>
                    <a:pt x="13312" y="0"/>
                  </a:lnTo>
                  <a:close/>
                </a:path>
              </a:pathLst>
            </a:custGeom>
            <a:solidFill>
              <a:srgbClr val="CD9040"/>
            </a:solidFill>
            <a:ln w="12700" cap="flat">
              <a:noFill/>
              <a:miter lim="400000"/>
            </a:ln>
            <a:effectLst/>
          </p:spPr>
          <p:txBody>
            <a:bodyPr wrap="square" lIns="20097" tIns="20097" rIns="20097" bIns="20097" numCol="1" anchor="ctr">
              <a:noAutofit/>
            </a:bodyPr>
            <a:lstStyle/>
            <a:p>
              <a:endParaRPr lang="en-GB" sz="1899">
                <a:latin typeface="+mj-lt"/>
              </a:endParaRPr>
            </a:p>
          </p:txBody>
        </p:sp>
        <p:sp>
          <p:nvSpPr>
            <p:cNvPr id="53" name="Shape 18213">
              <a:extLst>
                <a:ext uri="{FF2B5EF4-FFF2-40B4-BE49-F238E27FC236}">
                  <a16:creationId xmlns:a16="http://schemas.microsoft.com/office/drawing/2014/main" id="{8ABA226C-74CB-4BD8-96AB-9EB298167F71}"/>
                </a:ext>
              </a:extLst>
            </p:cNvPr>
            <p:cNvSpPr/>
            <p:nvPr/>
          </p:nvSpPr>
          <p:spPr>
            <a:xfrm>
              <a:off x="85257" y="0"/>
              <a:ext cx="1411513" cy="847631"/>
            </a:xfrm>
            <a:custGeom>
              <a:avLst/>
              <a:gdLst/>
              <a:ahLst/>
              <a:cxnLst>
                <a:cxn ang="0">
                  <a:pos x="wd2" y="hd2"/>
                </a:cxn>
                <a:cxn ang="5400000">
                  <a:pos x="wd2" y="hd2"/>
                </a:cxn>
                <a:cxn ang="10800000">
                  <a:pos x="wd2" y="hd2"/>
                </a:cxn>
                <a:cxn ang="16200000">
                  <a:pos x="wd2" y="hd2"/>
                </a:cxn>
              </a:cxnLst>
              <a:rect l="0" t="0" r="r" b="b"/>
              <a:pathLst>
                <a:path w="21600" h="21596" extrusionOk="0">
                  <a:moveTo>
                    <a:pt x="4816" y="2227"/>
                  </a:moveTo>
                  <a:cubicBezTo>
                    <a:pt x="2890" y="2289"/>
                    <a:pt x="1785" y="2439"/>
                    <a:pt x="0" y="2281"/>
                  </a:cubicBezTo>
                  <a:lnTo>
                    <a:pt x="823" y="21291"/>
                  </a:lnTo>
                  <a:cubicBezTo>
                    <a:pt x="2421" y="21489"/>
                    <a:pt x="3260" y="21600"/>
                    <a:pt x="4908" y="21596"/>
                  </a:cubicBezTo>
                  <a:cubicBezTo>
                    <a:pt x="10768" y="21583"/>
                    <a:pt x="16389" y="20263"/>
                    <a:pt x="21600" y="17861"/>
                  </a:cubicBezTo>
                  <a:lnTo>
                    <a:pt x="15056" y="0"/>
                  </a:lnTo>
                  <a:cubicBezTo>
                    <a:pt x="11785" y="1448"/>
                    <a:pt x="8354" y="2112"/>
                    <a:pt x="4816" y="2227"/>
                  </a:cubicBezTo>
                  <a:close/>
                </a:path>
              </a:pathLst>
            </a:custGeom>
            <a:solidFill>
              <a:srgbClr val="EDA13E"/>
            </a:solidFill>
            <a:ln w="12700" cap="flat">
              <a:noFill/>
              <a:miter lim="400000"/>
            </a:ln>
            <a:effectLst/>
          </p:spPr>
          <p:txBody>
            <a:bodyPr wrap="square" lIns="20097" tIns="20097" rIns="20097" bIns="20097" numCol="1" anchor="ctr">
              <a:noAutofit/>
            </a:bodyPr>
            <a:lstStyle/>
            <a:p>
              <a:endParaRPr lang="en-GB" sz="1899">
                <a:latin typeface="+mj-lt"/>
              </a:endParaRPr>
            </a:p>
          </p:txBody>
        </p:sp>
        <p:sp>
          <p:nvSpPr>
            <p:cNvPr id="54" name="Shape 18214">
              <a:extLst>
                <a:ext uri="{FF2B5EF4-FFF2-40B4-BE49-F238E27FC236}">
                  <a16:creationId xmlns:a16="http://schemas.microsoft.com/office/drawing/2014/main" id="{B027AFCB-B75E-4161-A13D-1E8DE951E5B9}"/>
                </a:ext>
              </a:extLst>
            </p:cNvPr>
            <p:cNvSpPr/>
            <p:nvPr/>
          </p:nvSpPr>
          <p:spPr>
            <a:xfrm>
              <a:off x="0" y="699111"/>
              <a:ext cx="1578389" cy="511075"/>
            </a:xfrm>
            <a:custGeom>
              <a:avLst/>
              <a:gdLst/>
              <a:ahLst/>
              <a:cxnLst>
                <a:cxn ang="0">
                  <a:pos x="wd2" y="hd2"/>
                </a:cxn>
                <a:cxn ang="5400000">
                  <a:pos x="wd2" y="hd2"/>
                </a:cxn>
                <a:cxn ang="10800000">
                  <a:pos x="wd2" y="hd2"/>
                </a:cxn>
                <a:cxn ang="16200000">
                  <a:pos x="wd2" y="hd2"/>
                </a:cxn>
              </a:cxnLst>
              <a:rect l="0" t="0" r="r" b="b"/>
              <a:pathLst>
                <a:path w="21600" h="21565" extrusionOk="0">
                  <a:moveTo>
                    <a:pt x="5519" y="5827"/>
                  </a:moveTo>
                  <a:cubicBezTo>
                    <a:pt x="4007" y="5827"/>
                    <a:pt x="3330" y="5656"/>
                    <a:pt x="1866" y="5322"/>
                  </a:cubicBezTo>
                  <a:lnTo>
                    <a:pt x="1866" y="5322"/>
                  </a:lnTo>
                  <a:lnTo>
                    <a:pt x="0" y="21317"/>
                  </a:lnTo>
                  <a:cubicBezTo>
                    <a:pt x="1449" y="21521"/>
                    <a:pt x="2922" y="21600"/>
                    <a:pt x="4419" y="21551"/>
                  </a:cubicBezTo>
                  <a:cubicBezTo>
                    <a:pt x="10462" y="21355"/>
                    <a:pt x="16246" y="19029"/>
                    <a:pt x="21600" y="14921"/>
                  </a:cubicBezTo>
                  <a:lnTo>
                    <a:pt x="20446" y="0"/>
                  </a:lnTo>
                  <a:cubicBezTo>
                    <a:pt x="15794" y="3741"/>
                    <a:pt x="10731" y="5827"/>
                    <a:pt x="5519" y="5827"/>
                  </a:cubicBezTo>
                  <a:close/>
                </a:path>
              </a:pathLst>
            </a:custGeom>
            <a:solidFill>
              <a:srgbClr val="CD9040"/>
            </a:solidFill>
            <a:ln w="12700" cap="flat">
              <a:noFill/>
              <a:miter lim="400000"/>
            </a:ln>
            <a:effectLst/>
          </p:spPr>
          <p:txBody>
            <a:bodyPr wrap="square" lIns="20097" tIns="20097" rIns="20097" bIns="20097" numCol="1" anchor="ctr">
              <a:noAutofit/>
            </a:bodyPr>
            <a:lstStyle/>
            <a:p>
              <a:endParaRPr lang="en-GB" sz="1899">
                <a:latin typeface="+mj-lt"/>
              </a:endParaRPr>
            </a:p>
          </p:txBody>
        </p:sp>
      </p:grpSp>
      <p:grpSp>
        <p:nvGrpSpPr>
          <p:cNvPr id="55" name="Group 18219">
            <a:extLst>
              <a:ext uri="{FF2B5EF4-FFF2-40B4-BE49-F238E27FC236}">
                <a16:creationId xmlns:a16="http://schemas.microsoft.com/office/drawing/2014/main" id="{15B03CFD-C40B-41E2-88A5-D93BD04DA399}"/>
              </a:ext>
            </a:extLst>
          </p:cNvPr>
          <p:cNvGrpSpPr/>
          <p:nvPr/>
        </p:nvGrpSpPr>
        <p:grpSpPr>
          <a:xfrm>
            <a:off x="7339303" y="3844811"/>
            <a:ext cx="1394113" cy="1126387"/>
            <a:chOff x="0" y="0"/>
            <a:chExt cx="1876767" cy="1516352"/>
          </a:xfrm>
        </p:grpSpPr>
        <p:sp>
          <p:nvSpPr>
            <p:cNvPr id="56" name="Shape 18216">
              <a:extLst>
                <a:ext uri="{FF2B5EF4-FFF2-40B4-BE49-F238E27FC236}">
                  <a16:creationId xmlns:a16="http://schemas.microsoft.com/office/drawing/2014/main" id="{C10E1314-BB52-4754-8FD5-BFC6FAC5BF8F}"/>
                </a:ext>
              </a:extLst>
            </p:cNvPr>
            <p:cNvSpPr/>
            <p:nvPr/>
          </p:nvSpPr>
          <p:spPr>
            <a:xfrm>
              <a:off x="0" y="460390"/>
              <a:ext cx="546547" cy="10559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 y="3354"/>
                  </a:lnTo>
                  <a:lnTo>
                    <a:pt x="21600" y="21600"/>
                  </a:lnTo>
                  <a:lnTo>
                    <a:pt x="18943" y="14232"/>
                  </a:lnTo>
                  <a:lnTo>
                    <a:pt x="0" y="0"/>
                  </a:lnTo>
                  <a:close/>
                </a:path>
              </a:pathLst>
            </a:custGeom>
            <a:solidFill>
              <a:srgbClr val="CB6534"/>
            </a:solidFill>
            <a:ln w="12700" cap="flat">
              <a:noFill/>
              <a:miter lim="400000"/>
            </a:ln>
            <a:effectLst/>
          </p:spPr>
          <p:txBody>
            <a:bodyPr wrap="square" lIns="20097" tIns="20097" rIns="20097" bIns="20097" numCol="1" anchor="ctr">
              <a:noAutofit/>
            </a:bodyPr>
            <a:lstStyle/>
            <a:p>
              <a:endParaRPr lang="en-GB" sz="1899">
                <a:latin typeface="+mj-lt"/>
              </a:endParaRPr>
            </a:p>
          </p:txBody>
        </p:sp>
        <p:sp>
          <p:nvSpPr>
            <p:cNvPr id="57" name="Shape 18217">
              <a:extLst>
                <a:ext uri="{FF2B5EF4-FFF2-40B4-BE49-F238E27FC236}">
                  <a16:creationId xmlns:a16="http://schemas.microsoft.com/office/drawing/2014/main" id="{750D54E2-1EC6-4E45-A51D-4151B56DB2C4}"/>
                </a:ext>
              </a:extLst>
            </p:cNvPr>
            <p:cNvSpPr/>
            <p:nvPr/>
          </p:nvSpPr>
          <p:spPr>
            <a:xfrm>
              <a:off x="477442" y="549911"/>
              <a:ext cx="1399325" cy="961663"/>
            </a:xfrm>
            <a:custGeom>
              <a:avLst/>
              <a:gdLst/>
              <a:ahLst/>
              <a:cxnLst>
                <a:cxn ang="0">
                  <a:pos x="wd2" y="hd2"/>
                </a:cxn>
                <a:cxn ang="5400000">
                  <a:pos x="wd2" y="hd2"/>
                </a:cxn>
                <a:cxn ang="10800000">
                  <a:pos x="wd2" y="hd2"/>
                </a:cxn>
                <a:cxn ang="16200000">
                  <a:pos x="wd2" y="hd2"/>
                </a:cxn>
              </a:cxnLst>
              <a:rect l="0" t="0" r="r" b="b"/>
              <a:pathLst>
                <a:path w="21600" h="21600" extrusionOk="0">
                  <a:moveTo>
                    <a:pt x="0" y="13510"/>
                  </a:moveTo>
                  <a:lnTo>
                    <a:pt x="1038" y="21600"/>
                  </a:lnTo>
                  <a:cubicBezTo>
                    <a:pt x="5082" y="19797"/>
                    <a:pt x="8865" y="17326"/>
                    <a:pt x="12316" y="14451"/>
                  </a:cubicBezTo>
                  <a:cubicBezTo>
                    <a:pt x="15767" y="11576"/>
                    <a:pt x="18885" y="8296"/>
                    <a:pt x="21600" y="4876"/>
                  </a:cubicBezTo>
                  <a:lnTo>
                    <a:pt x="17554" y="0"/>
                  </a:lnTo>
                  <a:cubicBezTo>
                    <a:pt x="15049" y="2958"/>
                    <a:pt x="12415" y="5541"/>
                    <a:pt x="9535" y="7778"/>
                  </a:cubicBezTo>
                  <a:cubicBezTo>
                    <a:pt x="6643" y="10025"/>
                    <a:pt x="3503" y="11924"/>
                    <a:pt x="0" y="13510"/>
                  </a:cubicBezTo>
                  <a:close/>
                </a:path>
              </a:pathLst>
            </a:custGeom>
            <a:solidFill>
              <a:srgbClr val="F16924"/>
            </a:solidFill>
            <a:ln w="12700" cap="flat">
              <a:noFill/>
              <a:miter lim="400000"/>
            </a:ln>
            <a:effectLst/>
          </p:spPr>
          <p:txBody>
            <a:bodyPr wrap="square" lIns="20097" tIns="20097" rIns="20097" bIns="20097" numCol="1" anchor="ctr">
              <a:noAutofit/>
            </a:bodyPr>
            <a:lstStyle/>
            <a:p>
              <a:endParaRPr lang="en-GB" sz="1899">
                <a:latin typeface="+mj-lt"/>
              </a:endParaRPr>
            </a:p>
          </p:txBody>
        </p:sp>
        <p:sp>
          <p:nvSpPr>
            <p:cNvPr id="58" name="Shape 18218">
              <a:extLst>
                <a:ext uri="{FF2B5EF4-FFF2-40B4-BE49-F238E27FC236}">
                  <a16:creationId xmlns:a16="http://schemas.microsoft.com/office/drawing/2014/main" id="{4B9D9E84-54A6-4A37-B1EE-509B78760D4C}"/>
                </a:ext>
              </a:extLst>
            </p:cNvPr>
            <p:cNvSpPr/>
            <p:nvPr/>
          </p:nvSpPr>
          <p:spPr>
            <a:xfrm>
              <a:off x="0" y="0"/>
              <a:ext cx="1616530" cy="1154991"/>
            </a:xfrm>
            <a:custGeom>
              <a:avLst/>
              <a:gdLst/>
              <a:ahLst/>
              <a:cxnLst>
                <a:cxn ang="0">
                  <a:pos x="wd2" y="hd2"/>
                </a:cxn>
                <a:cxn ang="5400000">
                  <a:pos x="wd2" y="hd2"/>
                </a:cxn>
                <a:cxn ang="10800000">
                  <a:pos x="wd2" y="hd2"/>
                </a:cxn>
                <a:cxn ang="16200000">
                  <a:pos x="wd2" y="hd2"/>
                </a:cxn>
              </a:cxnLst>
              <a:rect l="0" t="0" r="r" b="b"/>
              <a:pathLst>
                <a:path w="21600" h="21600" extrusionOk="0">
                  <a:moveTo>
                    <a:pt x="0" y="8588"/>
                  </a:moveTo>
                  <a:lnTo>
                    <a:pt x="6404" y="21600"/>
                  </a:lnTo>
                  <a:cubicBezTo>
                    <a:pt x="9435" y="20295"/>
                    <a:pt x="12153" y="18708"/>
                    <a:pt x="14655" y="16825"/>
                  </a:cubicBezTo>
                  <a:cubicBezTo>
                    <a:pt x="17156" y="14942"/>
                    <a:pt x="19440" y="12762"/>
                    <a:pt x="21600" y="10272"/>
                  </a:cubicBezTo>
                  <a:lnTo>
                    <a:pt x="11130" y="0"/>
                  </a:lnTo>
                  <a:cubicBezTo>
                    <a:pt x="9488" y="1876"/>
                    <a:pt x="7728" y="3548"/>
                    <a:pt x="5866" y="4988"/>
                  </a:cubicBezTo>
                  <a:cubicBezTo>
                    <a:pt x="4005" y="6428"/>
                    <a:pt x="2043" y="7637"/>
                    <a:pt x="0" y="8588"/>
                  </a:cubicBezTo>
                  <a:close/>
                </a:path>
              </a:pathLst>
            </a:custGeom>
            <a:solidFill>
              <a:srgbClr val="F16924">
                <a:alpha val="86275"/>
              </a:srgbClr>
            </a:solidFill>
            <a:ln w="12700" cap="flat">
              <a:noFill/>
              <a:miter lim="400000"/>
            </a:ln>
            <a:effectLst/>
          </p:spPr>
          <p:txBody>
            <a:bodyPr wrap="square" lIns="20097" tIns="20097" rIns="20097" bIns="20097" numCol="1" anchor="ctr">
              <a:noAutofit/>
            </a:bodyPr>
            <a:lstStyle/>
            <a:p>
              <a:endParaRPr lang="en-GB" sz="1899">
                <a:latin typeface="+mj-lt"/>
              </a:endParaRPr>
            </a:p>
          </p:txBody>
        </p:sp>
      </p:grpSp>
      <p:sp>
        <p:nvSpPr>
          <p:cNvPr id="59" name="Shape 18237">
            <a:extLst>
              <a:ext uri="{FF2B5EF4-FFF2-40B4-BE49-F238E27FC236}">
                <a16:creationId xmlns:a16="http://schemas.microsoft.com/office/drawing/2014/main" id="{ABDBC586-6C74-47C1-B319-C5A633FE9027}"/>
              </a:ext>
            </a:extLst>
          </p:cNvPr>
          <p:cNvSpPr/>
          <p:nvPr/>
        </p:nvSpPr>
        <p:spPr>
          <a:xfrm>
            <a:off x="7328602" y="1938332"/>
            <a:ext cx="512690" cy="2253004"/>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074"/>
                </a:lnTo>
                <a:lnTo>
                  <a:pt x="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a:latin typeface="+mj-lt"/>
            </a:endParaRPr>
          </a:p>
        </p:txBody>
      </p:sp>
      <p:sp>
        <p:nvSpPr>
          <p:cNvPr id="60" name="Shape 18238">
            <a:extLst>
              <a:ext uri="{FF2B5EF4-FFF2-40B4-BE49-F238E27FC236}">
                <a16:creationId xmlns:a16="http://schemas.microsoft.com/office/drawing/2014/main" id="{3E848FBE-6B3E-4375-AA5E-4742D2C9BD07}"/>
              </a:ext>
            </a:extLst>
          </p:cNvPr>
          <p:cNvSpPr/>
          <p:nvPr/>
        </p:nvSpPr>
        <p:spPr>
          <a:xfrm>
            <a:off x="5692997" y="2920431"/>
            <a:ext cx="261733" cy="122154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9252"/>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a:latin typeface="+mj-lt"/>
            </a:endParaRPr>
          </a:p>
        </p:txBody>
      </p:sp>
      <p:sp>
        <p:nvSpPr>
          <p:cNvPr id="61" name="Shape 18239">
            <a:extLst>
              <a:ext uri="{FF2B5EF4-FFF2-40B4-BE49-F238E27FC236}">
                <a16:creationId xmlns:a16="http://schemas.microsoft.com/office/drawing/2014/main" id="{CC099A26-59BE-4095-8AF0-CF6AA60C7769}"/>
              </a:ext>
            </a:extLst>
          </p:cNvPr>
          <p:cNvSpPr/>
          <p:nvPr/>
        </p:nvSpPr>
        <p:spPr>
          <a:xfrm>
            <a:off x="7131664" y="4812522"/>
            <a:ext cx="760859" cy="36819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44" y="21600"/>
                </a:lnTo>
                <a:lnTo>
                  <a:pt x="2160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a:latin typeface="+mj-lt"/>
            </a:endParaRPr>
          </a:p>
        </p:txBody>
      </p:sp>
      <p:sp>
        <p:nvSpPr>
          <p:cNvPr id="62" name="Shape 18240">
            <a:extLst>
              <a:ext uri="{FF2B5EF4-FFF2-40B4-BE49-F238E27FC236}">
                <a16:creationId xmlns:a16="http://schemas.microsoft.com/office/drawing/2014/main" id="{A4285FE1-44ED-4EC3-AD33-3BA7BE064FFC}"/>
              </a:ext>
            </a:extLst>
          </p:cNvPr>
          <p:cNvSpPr/>
          <p:nvPr/>
        </p:nvSpPr>
        <p:spPr>
          <a:xfrm rot="5400000">
            <a:off x="9455287" y="2705211"/>
            <a:ext cx="200056" cy="54237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6806"/>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a:latin typeface="+mj-lt"/>
            </a:endParaRPr>
          </a:p>
        </p:txBody>
      </p:sp>
      <p:sp>
        <p:nvSpPr>
          <p:cNvPr id="63" name="Shape 18241">
            <a:extLst>
              <a:ext uri="{FF2B5EF4-FFF2-40B4-BE49-F238E27FC236}">
                <a16:creationId xmlns:a16="http://schemas.microsoft.com/office/drawing/2014/main" id="{A3CBD44B-52F2-425F-9D77-20C67D23C2B1}"/>
              </a:ext>
            </a:extLst>
          </p:cNvPr>
          <p:cNvSpPr/>
          <p:nvPr/>
        </p:nvSpPr>
        <p:spPr>
          <a:xfrm>
            <a:off x="4253696" y="4034697"/>
            <a:ext cx="270821" cy="11247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5201"/>
                </a:lnTo>
                <a:lnTo>
                  <a:pt x="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a:latin typeface="+mj-lt"/>
            </a:endParaRPr>
          </a:p>
        </p:txBody>
      </p:sp>
      <p:sp>
        <p:nvSpPr>
          <p:cNvPr id="64" name="TextBox 45">
            <a:extLst>
              <a:ext uri="{FF2B5EF4-FFF2-40B4-BE49-F238E27FC236}">
                <a16:creationId xmlns:a16="http://schemas.microsoft.com/office/drawing/2014/main" id="{BA7C80ED-39FD-4047-B6FD-0228E4A7E34C}"/>
              </a:ext>
            </a:extLst>
          </p:cNvPr>
          <p:cNvSpPr txBox="1"/>
          <p:nvPr/>
        </p:nvSpPr>
        <p:spPr>
          <a:xfrm>
            <a:off x="4043824" y="5593175"/>
            <a:ext cx="2751260" cy="505588"/>
          </a:xfrm>
          <a:prstGeom prst="rect">
            <a:avLst/>
          </a:prstGeom>
          <a:noFill/>
        </p:spPr>
        <p:txBody>
          <a:bodyPr wrap="square" rtlCol="0" anchor="t">
            <a:spAutoFit/>
          </a:bodyPr>
          <a:lstStyle/>
          <a:p>
            <a:pPr>
              <a:lnSpc>
                <a:spcPts val="1620"/>
              </a:lnSpc>
            </a:pPr>
            <a:r>
              <a:rPr lang="en-GB" sz="1600" b="1">
                <a:solidFill>
                  <a:srgbClr val="595959"/>
                </a:solidFill>
                <a:latin typeface="Calibri" panose="020F0502020204030204" pitchFamily="34" charset="0"/>
                <a:ea typeface="Lato Light" panose="020F0502020204030203" pitchFamily="34" charset="0"/>
                <a:cs typeface="Calibri" panose="020F0502020204030204" pitchFamily="34" charset="0"/>
              </a:rPr>
              <a:t>Los primeros signos de la crisis no se perciben o no se realizan. </a:t>
            </a:r>
          </a:p>
        </p:txBody>
      </p:sp>
      <p:sp>
        <p:nvSpPr>
          <p:cNvPr id="65" name="TextBox 46">
            <a:extLst>
              <a:ext uri="{FF2B5EF4-FFF2-40B4-BE49-F238E27FC236}">
                <a16:creationId xmlns:a16="http://schemas.microsoft.com/office/drawing/2014/main" id="{2749A74C-C935-48E6-AE75-AC3262CC931E}"/>
              </a:ext>
            </a:extLst>
          </p:cNvPr>
          <p:cNvSpPr txBox="1"/>
          <p:nvPr/>
        </p:nvSpPr>
        <p:spPr>
          <a:xfrm>
            <a:off x="4026150" y="5222807"/>
            <a:ext cx="1630959" cy="400110"/>
          </a:xfrm>
          <a:prstGeom prst="rect">
            <a:avLst/>
          </a:prstGeom>
          <a:noFill/>
        </p:spPr>
        <p:txBody>
          <a:bodyPr wrap="none" rtlCol="0" anchor="t">
            <a:spAutoFit/>
          </a:bodyPr>
          <a:lstStyle/>
          <a:p>
            <a:r>
              <a:rPr lang="en-GB" sz="2000" b="1">
                <a:solidFill>
                  <a:schemeClr val="accent1"/>
                </a:solidFill>
                <a:latin typeface="Calibri" panose="020F0502020204030204" pitchFamily="34" charset="0"/>
                <a:ea typeface="Lato Light" panose="020F0502020204030203" pitchFamily="34" charset="0"/>
                <a:cs typeface="Calibri" panose="020F0502020204030204" pitchFamily="34" charset="0"/>
              </a:rPr>
              <a:t>01. Primeras señales</a:t>
            </a:r>
          </a:p>
        </p:txBody>
      </p:sp>
      <p:sp>
        <p:nvSpPr>
          <p:cNvPr id="66" name="TextBox 49">
            <a:extLst>
              <a:ext uri="{FF2B5EF4-FFF2-40B4-BE49-F238E27FC236}">
                <a16:creationId xmlns:a16="http://schemas.microsoft.com/office/drawing/2014/main" id="{9A525032-471B-49A2-BBB0-295E6E782011}"/>
              </a:ext>
            </a:extLst>
          </p:cNvPr>
          <p:cNvSpPr txBox="1"/>
          <p:nvPr/>
        </p:nvSpPr>
        <p:spPr>
          <a:xfrm>
            <a:off x="4281620" y="2202918"/>
            <a:ext cx="2365406" cy="710772"/>
          </a:xfrm>
          <a:prstGeom prst="rect">
            <a:avLst/>
          </a:prstGeom>
          <a:noFill/>
        </p:spPr>
        <p:txBody>
          <a:bodyPr wrap="square" rtlCol="0" anchor="t">
            <a:spAutoFit/>
          </a:bodyPr>
          <a:lstStyle/>
          <a:p>
            <a:pPr>
              <a:lnSpc>
                <a:spcPts val="1620"/>
              </a:lnSpc>
            </a:pPr>
            <a:r>
              <a:rPr lang="en-GB" sz="1600" b="1">
                <a:solidFill>
                  <a:srgbClr val="595959"/>
                </a:solidFill>
                <a:latin typeface="Calibri" panose="020F0502020204030204" pitchFamily="34" charset="0"/>
                <a:ea typeface="Lato Light" panose="020F0502020204030203" pitchFamily="34" charset="0"/>
                <a:cs typeface="Calibri" panose="020F0502020204030204" pitchFamily="34" charset="0"/>
              </a:rPr>
              <a:t>La crisis es visible, pero la dirección se centra en la esperanza más que en la acción.</a:t>
            </a:r>
          </a:p>
        </p:txBody>
      </p:sp>
      <p:sp>
        <p:nvSpPr>
          <p:cNvPr id="67" name="TextBox 50">
            <a:extLst>
              <a:ext uri="{FF2B5EF4-FFF2-40B4-BE49-F238E27FC236}">
                <a16:creationId xmlns:a16="http://schemas.microsoft.com/office/drawing/2014/main" id="{47B242CE-1D8C-4F10-9918-D4A5D3D8A4F7}"/>
              </a:ext>
            </a:extLst>
          </p:cNvPr>
          <p:cNvSpPr txBox="1"/>
          <p:nvPr/>
        </p:nvSpPr>
        <p:spPr>
          <a:xfrm>
            <a:off x="4190745" y="1803466"/>
            <a:ext cx="2576346" cy="400110"/>
          </a:xfrm>
          <a:prstGeom prst="rect">
            <a:avLst/>
          </a:prstGeom>
          <a:noFill/>
        </p:spPr>
        <p:txBody>
          <a:bodyPr wrap="none" rtlCol="0" anchor="t">
            <a:spAutoFit/>
          </a:bodyPr>
          <a:lstStyle/>
          <a:p>
            <a:r>
              <a:rPr lang="en-GB" sz="2000" b="1">
                <a:solidFill>
                  <a:srgbClr val="7F1C58"/>
                </a:solidFill>
                <a:latin typeface="Calibri" panose="020F0502020204030204" pitchFamily="34" charset="0"/>
                <a:ea typeface="Lato Light" panose="020F0502020204030203" pitchFamily="34" charset="0"/>
                <a:cs typeface="Calibri" panose="020F0502020204030204" pitchFamily="34" charset="0"/>
              </a:rPr>
              <a:t>02. El principio de la esperanza</a:t>
            </a:r>
          </a:p>
        </p:txBody>
      </p:sp>
      <p:sp>
        <p:nvSpPr>
          <p:cNvPr id="68" name="TextBox 52">
            <a:extLst>
              <a:ext uri="{FF2B5EF4-FFF2-40B4-BE49-F238E27FC236}">
                <a16:creationId xmlns:a16="http://schemas.microsoft.com/office/drawing/2014/main" id="{C830AAB0-F506-44AE-8094-9BF72F2E72DA}"/>
              </a:ext>
            </a:extLst>
          </p:cNvPr>
          <p:cNvSpPr txBox="1"/>
          <p:nvPr/>
        </p:nvSpPr>
        <p:spPr>
          <a:xfrm>
            <a:off x="7197988" y="632327"/>
            <a:ext cx="3107579" cy="1326325"/>
          </a:xfrm>
          <a:prstGeom prst="rect">
            <a:avLst/>
          </a:prstGeom>
          <a:noFill/>
        </p:spPr>
        <p:txBody>
          <a:bodyPr wrap="square" rtlCol="0" anchor="t">
            <a:spAutoFit/>
          </a:bodyPr>
          <a:lstStyle/>
          <a:p>
            <a:pPr>
              <a:lnSpc>
                <a:spcPts val="1620"/>
              </a:lnSpc>
            </a:pPr>
            <a:r>
              <a:rPr lang="en-GB" sz="1600" b="1">
                <a:solidFill>
                  <a:srgbClr val="595959"/>
                </a:solidFill>
                <a:latin typeface="Calibri" panose="020F0502020204030204" pitchFamily="34" charset="0"/>
                <a:ea typeface="Lato Light" panose="020F0502020204030203" pitchFamily="34" charset="0"/>
                <a:cs typeface="Calibri" panose="020F0502020204030204" pitchFamily="34" charset="0"/>
              </a:rPr>
              <a:t>Si las medidas aplicadas tienen éxito, ahora empiezan a aparecer los primeros signos de relajación. Sin embargo, la reestructuración debe seguir aplicándose de forma coherente.</a:t>
            </a:r>
          </a:p>
        </p:txBody>
      </p:sp>
      <p:sp>
        <p:nvSpPr>
          <p:cNvPr id="69" name="TextBox 53">
            <a:extLst>
              <a:ext uri="{FF2B5EF4-FFF2-40B4-BE49-F238E27FC236}">
                <a16:creationId xmlns:a16="http://schemas.microsoft.com/office/drawing/2014/main" id="{4002A5F3-B137-41F0-83F8-0223E2499480}"/>
              </a:ext>
            </a:extLst>
          </p:cNvPr>
          <p:cNvSpPr txBox="1"/>
          <p:nvPr/>
        </p:nvSpPr>
        <p:spPr>
          <a:xfrm>
            <a:off x="7156732" y="259397"/>
            <a:ext cx="2575000" cy="400110"/>
          </a:xfrm>
          <a:prstGeom prst="rect">
            <a:avLst/>
          </a:prstGeom>
          <a:noFill/>
        </p:spPr>
        <p:txBody>
          <a:bodyPr wrap="none" rtlCol="0" anchor="t">
            <a:spAutoFit/>
          </a:bodyPr>
          <a:lstStyle/>
          <a:p>
            <a:r>
              <a:rPr lang="en-GB" sz="2000" b="1">
                <a:solidFill>
                  <a:srgbClr val="F16924"/>
                </a:solidFill>
                <a:latin typeface="Calibri" panose="020F0502020204030204" pitchFamily="34" charset="0"/>
                <a:ea typeface="Lato Light" panose="020F0502020204030203" pitchFamily="34" charset="0"/>
                <a:cs typeface="Calibri" panose="020F0502020204030204" pitchFamily="34" charset="0"/>
              </a:rPr>
              <a:t>04. Signos de relajación</a:t>
            </a:r>
          </a:p>
        </p:txBody>
      </p:sp>
      <p:sp>
        <p:nvSpPr>
          <p:cNvPr id="70" name="TextBox 55">
            <a:extLst>
              <a:ext uri="{FF2B5EF4-FFF2-40B4-BE49-F238E27FC236}">
                <a16:creationId xmlns:a16="http://schemas.microsoft.com/office/drawing/2014/main" id="{F3DF9B81-F896-4092-9719-93DF345475D4}"/>
              </a:ext>
            </a:extLst>
          </p:cNvPr>
          <p:cNvSpPr txBox="1"/>
          <p:nvPr/>
        </p:nvSpPr>
        <p:spPr>
          <a:xfrm>
            <a:off x="8039843" y="5347297"/>
            <a:ext cx="2573628" cy="1121141"/>
          </a:xfrm>
          <a:prstGeom prst="rect">
            <a:avLst/>
          </a:prstGeom>
          <a:noFill/>
        </p:spPr>
        <p:txBody>
          <a:bodyPr wrap="square" rtlCol="0" anchor="t">
            <a:spAutoFit/>
          </a:bodyPr>
          <a:lstStyle/>
          <a:p>
            <a:pPr>
              <a:lnSpc>
                <a:spcPts val="1620"/>
              </a:lnSpc>
            </a:pPr>
            <a:r>
              <a:rPr lang="en-GB" sz="1600" b="1">
                <a:solidFill>
                  <a:srgbClr val="595959"/>
                </a:solidFill>
                <a:latin typeface="Calibri" panose="020F0502020204030204" pitchFamily="34" charset="0"/>
                <a:ea typeface="Lato Light" panose="020F0502020204030203" pitchFamily="34" charset="0"/>
                <a:cs typeface="Calibri" panose="020F0502020204030204" pitchFamily="34" charset="0"/>
              </a:rPr>
              <a:t>Ya no se puede negar la crisis. Se están aplicando medidas bajo una gran presión de tiempo. Esta es la fase más crítica.</a:t>
            </a:r>
          </a:p>
        </p:txBody>
      </p:sp>
      <p:sp>
        <p:nvSpPr>
          <p:cNvPr id="71" name="TextBox 56">
            <a:extLst>
              <a:ext uri="{FF2B5EF4-FFF2-40B4-BE49-F238E27FC236}">
                <a16:creationId xmlns:a16="http://schemas.microsoft.com/office/drawing/2014/main" id="{539E5806-05BF-491C-BA0B-524CF021E7D6}"/>
              </a:ext>
            </a:extLst>
          </p:cNvPr>
          <p:cNvSpPr txBox="1"/>
          <p:nvPr/>
        </p:nvSpPr>
        <p:spPr>
          <a:xfrm>
            <a:off x="7837733" y="4989153"/>
            <a:ext cx="2199513" cy="400110"/>
          </a:xfrm>
          <a:prstGeom prst="rect">
            <a:avLst/>
          </a:prstGeom>
          <a:noFill/>
        </p:spPr>
        <p:txBody>
          <a:bodyPr wrap="none" rtlCol="0" anchor="t">
            <a:spAutoFit/>
          </a:bodyPr>
          <a:lstStyle/>
          <a:p>
            <a:r>
              <a:rPr lang="en-GB" sz="2000" b="1">
                <a:solidFill>
                  <a:srgbClr val="EDA13E"/>
                </a:solidFill>
                <a:latin typeface="Calibri" panose="020F0502020204030204" pitchFamily="34" charset="0"/>
                <a:ea typeface="Lato Light" panose="020F0502020204030203" pitchFamily="34" charset="0"/>
                <a:cs typeface="Calibri" panose="020F0502020204030204" pitchFamily="34" charset="0"/>
              </a:rPr>
              <a:t>03. El Despertar</a:t>
            </a:r>
          </a:p>
        </p:txBody>
      </p:sp>
      <p:sp>
        <p:nvSpPr>
          <p:cNvPr id="72" name="TextBox 58">
            <a:extLst>
              <a:ext uri="{FF2B5EF4-FFF2-40B4-BE49-F238E27FC236}">
                <a16:creationId xmlns:a16="http://schemas.microsoft.com/office/drawing/2014/main" id="{610355AA-909C-422D-A943-DF1F7CA205EE}"/>
              </a:ext>
            </a:extLst>
          </p:cNvPr>
          <p:cNvSpPr txBox="1"/>
          <p:nvPr/>
        </p:nvSpPr>
        <p:spPr>
          <a:xfrm>
            <a:off x="9783928" y="3285311"/>
            <a:ext cx="2341810" cy="1531510"/>
          </a:xfrm>
          <a:prstGeom prst="rect">
            <a:avLst/>
          </a:prstGeom>
          <a:noFill/>
        </p:spPr>
        <p:txBody>
          <a:bodyPr wrap="square" rtlCol="0" anchor="t">
            <a:spAutoFit/>
          </a:bodyPr>
          <a:lstStyle/>
          <a:p>
            <a:pPr>
              <a:lnSpc>
                <a:spcPts val="1620"/>
              </a:lnSpc>
            </a:pPr>
            <a:r>
              <a:rPr lang="en-GB" sz="1600" b="1">
                <a:solidFill>
                  <a:srgbClr val="595959"/>
                </a:solidFill>
                <a:latin typeface="Calibri" panose="020F0502020204030204" pitchFamily="34" charset="0"/>
                <a:ea typeface="Lato Light" panose="020F0502020204030203" pitchFamily="34" charset="0"/>
                <a:cs typeface="Calibri" panose="020F0502020204030204" pitchFamily="34" charset="0"/>
              </a:rPr>
              <a:t>Si la crisis se supera con éxito, hay que sacar las conclusiones adecuadas. Si esto tiene éxito, puede conducir a una resiliencia sostenible ante la crisis.</a:t>
            </a:r>
          </a:p>
        </p:txBody>
      </p:sp>
      <p:sp>
        <p:nvSpPr>
          <p:cNvPr id="73" name="TextBox 59">
            <a:extLst>
              <a:ext uri="{FF2B5EF4-FFF2-40B4-BE49-F238E27FC236}">
                <a16:creationId xmlns:a16="http://schemas.microsoft.com/office/drawing/2014/main" id="{4AF87715-6E8C-4277-A3C8-F9DC36BCAA90}"/>
              </a:ext>
            </a:extLst>
          </p:cNvPr>
          <p:cNvSpPr txBox="1"/>
          <p:nvPr/>
        </p:nvSpPr>
        <p:spPr>
          <a:xfrm>
            <a:off x="9819806" y="2600157"/>
            <a:ext cx="2139339" cy="735098"/>
          </a:xfrm>
          <a:prstGeom prst="rect">
            <a:avLst/>
          </a:prstGeom>
          <a:noFill/>
        </p:spPr>
        <p:txBody>
          <a:bodyPr wrap="square" rtlCol="0" anchor="t">
            <a:spAutoFit/>
          </a:bodyPr>
          <a:lstStyle/>
          <a:p>
            <a:r>
              <a:rPr lang="en-GB" sz="2000" b="1">
                <a:solidFill>
                  <a:srgbClr val="B41F7A"/>
                </a:solidFill>
                <a:latin typeface="Calibri" panose="020F0502020204030204" pitchFamily="34" charset="0"/>
                <a:ea typeface="Lato Light" panose="020F0502020204030203" pitchFamily="34" charset="0"/>
                <a:cs typeface="Calibri" panose="020F0502020204030204" pitchFamily="34" charset="0"/>
              </a:rPr>
              <a:t>05. Aprendizaje + Resiliencia</a:t>
            </a:r>
          </a:p>
        </p:txBody>
      </p:sp>
      <p:sp>
        <p:nvSpPr>
          <p:cNvPr id="8" name="Text Placeholder 1">
            <a:extLst>
              <a:ext uri="{FF2B5EF4-FFF2-40B4-BE49-F238E27FC236}">
                <a16:creationId xmlns:a16="http://schemas.microsoft.com/office/drawing/2014/main" id="{8AB623EC-F956-F48C-23E6-6CC931892D8B}"/>
              </a:ext>
            </a:extLst>
          </p:cNvPr>
          <p:cNvSpPr txBox="1"/>
          <p:nvPr/>
        </p:nvSpPr>
        <p:spPr>
          <a:xfrm>
            <a:off x="273886" y="472559"/>
            <a:ext cx="3425917" cy="309700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IE">
                <a:solidFill>
                  <a:schemeClr val="bg1"/>
                </a:solidFill>
              </a:rPr>
              <a:t>El proceso de reconocimiento</a:t>
            </a:r>
          </a:p>
        </p:txBody>
      </p:sp>
      <p:sp>
        <p:nvSpPr>
          <p:cNvPr id="9" name="Subtitle 2">
            <a:extLst>
              <a:ext uri="{FF2B5EF4-FFF2-40B4-BE49-F238E27FC236}">
                <a16:creationId xmlns:a16="http://schemas.microsoft.com/office/drawing/2014/main" id="{07D6984A-B61C-803C-A473-CC2EF7D50567}"/>
              </a:ext>
            </a:extLst>
          </p:cNvPr>
          <p:cNvSpPr txBox="1"/>
          <p:nvPr/>
        </p:nvSpPr>
        <p:spPr>
          <a:xfrm>
            <a:off x="285940" y="2038904"/>
            <a:ext cx="3076307" cy="375402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spcBef>
                <a:spcPct val="0"/>
              </a:spcBef>
            </a:pPr>
            <a:r>
              <a:rPr lang="en-GB" sz="2200">
                <a:solidFill>
                  <a:schemeClr val="bg1"/>
                </a:solidFill>
                <a:latin typeface="+mn-lt"/>
                <a:ea typeface="Open Sans Light" panose="020B0306030504020204" pitchFamily="34" charset="0"/>
                <a:cs typeface="Open Sans Light" panose="020B0306030504020204" pitchFamily="34" charset="0"/>
              </a:rPr>
              <a:t>El éxito de la gestión de crisis depende en gran medida de la apertura de las personas implicadas. Hay que reconocer las señales de alarma y dominar los nuevos retos una y otra vez en todas las fases de la crisis.</a:t>
            </a:r>
          </a:p>
          <a:p>
            <a:pPr algn="l">
              <a:lnSpc>
                <a:spcPts val="2240"/>
              </a:lnSpc>
              <a:spcBef>
                <a:spcPct val="0"/>
              </a:spcBef>
            </a:pPr>
            <a:endParaRPr lang="en-GB" sz="2200">
              <a:solidFill>
                <a:schemeClr val="bg1"/>
              </a:solidFill>
              <a:latin typeface="+mn-lt"/>
              <a:ea typeface="Open Sans Light" panose="020B0306030504020204" pitchFamily="34" charset="0"/>
              <a:cs typeface="Open Sans Light" panose="020B0306030504020204" pitchFamily="34" charset="0"/>
            </a:endParaRPr>
          </a:p>
          <a:p>
            <a:pPr algn="l">
              <a:lnSpc>
                <a:spcPts val="2240"/>
              </a:lnSpc>
              <a:spcBef>
                <a:spcPct val="0"/>
              </a:spcBef>
            </a:pPr>
            <a:r>
              <a:rPr lang="en-GB" sz="2200">
                <a:solidFill>
                  <a:schemeClr val="bg1"/>
                </a:solidFill>
                <a:latin typeface="+mn-lt"/>
                <a:ea typeface="Open Sans Light" panose="020B0306030504020204" pitchFamily="34" charset="0"/>
                <a:cs typeface="Open Sans Light" panose="020B0306030504020204" pitchFamily="34" charset="0"/>
              </a:rPr>
              <a:t>Esto requiere un alto grado de capacidad de cambio y atención.</a:t>
            </a:r>
          </a:p>
        </p:txBody>
      </p:sp>
      <p:sp>
        <p:nvSpPr>
          <p:cNvPr id="13" name="Rectangle 12">
            <a:extLst>
              <a:ext uri="{FF2B5EF4-FFF2-40B4-BE49-F238E27FC236}">
                <a16:creationId xmlns:a16="http://schemas.microsoft.com/office/drawing/2014/main" id="{BBACEB36-80C6-B2F5-FC73-38BE4375F090}"/>
              </a:ext>
            </a:extLst>
          </p:cNvPr>
          <p:cNvSpPr/>
          <p:nvPr/>
        </p:nvSpPr>
        <p:spPr>
          <a:xfrm>
            <a:off x="360441" y="1777829"/>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18804360"/>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289442"/>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a:solidFill>
                  <a:schemeClr val="bg1"/>
                </a:solidFill>
              </a:rPr>
              <a:t>01 </a:t>
            </a:r>
            <a:r>
              <a:rPr lang="en-US">
                <a:solidFill>
                  <a:schemeClr val="bg1"/>
                </a:solidFill>
              </a:rPr>
              <a:t>Primeros signos de una crisis empresarial</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750815"/>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225678" y="1918123"/>
            <a:ext cx="8957141" cy="4255886"/>
          </a:xfrm>
        </p:spPr>
        <p:txBody>
          <a:bodyPr>
            <a:normAutofit fontScale="92500" lnSpcReduction="10000"/>
          </a:bodyPr>
          <a:lstStyle/>
          <a:p>
            <a:pPr marL="12700" indent="-12700"/>
            <a:r>
              <a:rPr lang="en-US"/>
              <a:t>Una crisis empresarial puede haber existido durante mucho tiempo antes de que la dirección la reconozca o reconozca. En muchos casos, enfrentarse al problema suele ser una experiencia extremadamente estresante para los que tienen que lidiar con él, que pueden intentar explicar los signos emergentes de la crisis. Algunos de los primeros signos son:</a:t>
            </a:r>
          </a:p>
          <a:p>
            <a:pPr marL="342900" indent="-342900">
              <a:buClr>
                <a:srgbClr val="F16924"/>
              </a:buClr>
              <a:buFont typeface="Arial" panose="020B0604020202020204" pitchFamily="34" charset="0"/>
              <a:buChar char="•"/>
            </a:pPr>
            <a:r>
              <a:rPr lang="en-US"/>
              <a:t>Dependencia de la deuda</a:t>
            </a:r>
          </a:p>
          <a:p>
            <a:pPr marL="342900" indent="-342900">
              <a:buClr>
                <a:srgbClr val="F16924"/>
              </a:buClr>
              <a:buFont typeface="Arial" panose="020B0604020202020204" pitchFamily="34" charset="0"/>
              <a:buChar char="•"/>
            </a:pPr>
            <a:r>
              <a:rPr lang="en-US"/>
              <a:t>Caída de las ventas o de las conversiones</a:t>
            </a:r>
          </a:p>
          <a:p>
            <a:pPr marL="342900" indent="-342900">
              <a:buClr>
                <a:srgbClr val="F16924"/>
              </a:buClr>
              <a:buFont typeface="Arial" panose="020B0604020202020204" pitchFamily="34" charset="0"/>
              <a:buChar char="•"/>
            </a:pPr>
            <a:r>
              <a:rPr lang="en-US"/>
              <a:t>Números negativos en el flujo de caja operativo</a:t>
            </a:r>
          </a:p>
          <a:p>
            <a:pPr marL="342900" indent="-342900">
              <a:buClr>
                <a:srgbClr val="F16924"/>
              </a:buClr>
              <a:buFont typeface="Arial" panose="020B0604020202020204" pitchFamily="34" charset="0"/>
              <a:buChar char="•"/>
            </a:pPr>
            <a:r>
              <a:rPr lang="en-US"/>
              <a:t>Los ingresos de explotación son insuficientes para pagar los gastos de explotación</a:t>
            </a:r>
          </a:p>
          <a:p>
            <a:pPr marL="12700" indent="-12700"/>
            <a:r>
              <a:rPr lang="en-US"/>
              <a:t>Ignorar las señales de advertencia y hundir la cabeza en la arena no va a ayudar en absoluto. De hecho, probablemente sea una vía rápida hacia el fracaso. Así que asegúrese de detectar las señales de advertencia cuando se produzcan y de ser capaz de actuar rápidamente para encontrar las soluciones necesarias.</a:t>
            </a:r>
          </a:p>
          <a:p>
            <a:endParaRPr lang="en-US"/>
          </a:p>
          <a:p>
            <a:endParaRPr lang="en-US"/>
          </a:p>
          <a:p>
            <a:endParaRPr lang="en-US"/>
          </a:p>
          <a:p>
            <a:endParaRPr lang="en-US"/>
          </a:p>
          <a:p>
            <a:endParaRPr lang="en-US"/>
          </a:p>
          <a:p>
            <a:endParaRPr lang="en-US"/>
          </a:p>
          <a:p>
            <a:endParaRPr lang="en-US"/>
          </a:p>
        </p:txBody>
      </p:sp>
      <p:grpSp>
        <p:nvGrpSpPr>
          <p:cNvPr id="14" name="Group 13">
            <a:extLst>
              <a:ext uri="{FF2B5EF4-FFF2-40B4-BE49-F238E27FC236}">
                <a16:creationId xmlns:a16="http://schemas.microsoft.com/office/drawing/2014/main" id="{53D2578A-4FC9-B232-C6C1-A04988D60F5B}"/>
              </a:ext>
            </a:extLst>
          </p:cNvPr>
          <p:cNvGrpSpPr/>
          <p:nvPr/>
        </p:nvGrpSpPr>
        <p:grpSpPr>
          <a:xfrm>
            <a:off x="382118" y="2060185"/>
            <a:ext cx="1254125" cy="1256547"/>
            <a:chOff x="7284496" y="2127428"/>
            <a:chExt cx="2245645" cy="2249982"/>
          </a:xfrm>
          <a:solidFill>
            <a:srgbClr val="595959"/>
          </a:solidFill>
        </p:grpSpPr>
        <p:grpSp>
          <p:nvGrpSpPr>
            <p:cNvPr id="15" name="Graphic 3">
              <a:extLst>
                <a:ext uri="{FF2B5EF4-FFF2-40B4-BE49-F238E27FC236}">
                  <a16:creationId xmlns:a16="http://schemas.microsoft.com/office/drawing/2014/main" id="{88E756BF-3768-DEBA-1980-5AACA06A9A09}"/>
                </a:ext>
              </a:extLst>
            </p:cNvPr>
            <p:cNvGrpSpPr/>
            <p:nvPr/>
          </p:nvGrpSpPr>
          <p:grpSpPr>
            <a:xfrm>
              <a:off x="7284496" y="2127428"/>
              <a:ext cx="2245645" cy="2249982"/>
              <a:chOff x="5098317" y="2100784"/>
              <a:chExt cx="2245645" cy="2249982"/>
            </a:xfrm>
            <a:grpFill/>
          </p:grpSpPr>
          <p:sp>
            <p:nvSpPr>
              <p:cNvPr id="19" name="Freeform 18">
                <a:extLst>
                  <a:ext uri="{FF2B5EF4-FFF2-40B4-BE49-F238E27FC236}">
                    <a16:creationId xmlns:a16="http://schemas.microsoft.com/office/drawing/2014/main" id="{1258D1E7-CF83-968B-F69D-BB8335EFC834}"/>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DFD97700-2BCB-3D3C-3F38-FAC58BB794B7}"/>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80712443-ECD1-1C71-E78D-01555880F88A}"/>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125D4299-A105-762A-8428-B4A9ECDFBA53}"/>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9703767C-F893-9891-0FAF-A381BFD3B7BB}"/>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324DF0FD-4DBE-0A40-4F92-F989A4B4049D}"/>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solidFill>
                <a:srgbClr val="F16924"/>
              </a:solidFill>
              <a:ln w="6040" cap="flat">
                <a:noFill/>
                <a:prstDash val="solid"/>
                <a:miter/>
              </a:ln>
            </p:spPr>
            <p:txBody>
              <a:bodyPr rtlCol="0" anchor="ctr"/>
              <a:lstStyle/>
              <a:p>
                <a:endParaRPr lang="en-US"/>
              </a:p>
            </p:txBody>
          </p:sp>
        </p:grpSp>
        <p:grpSp>
          <p:nvGrpSpPr>
            <p:cNvPr id="16" name="Graphic 3">
              <a:extLst>
                <a:ext uri="{FF2B5EF4-FFF2-40B4-BE49-F238E27FC236}">
                  <a16:creationId xmlns:a16="http://schemas.microsoft.com/office/drawing/2014/main" id="{3E993061-B25E-DBAB-77EE-C6C7A43FCF80}"/>
                </a:ext>
              </a:extLst>
            </p:cNvPr>
            <p:cNvGrpSpPr/>
            <p:nvPr/>
          </p:nvGrpSpPr>
          <p:grpSpPr>
            <a:xfrm>
              <a:off x="8878245" y="2200268"/>
              <a:ext cx="144167" cy="725714"/>
              <a:chOff x="6692066" y="2173624"/>
              <a:chExt cx="144167" cy="725714"/>
            </a:xfrm>
            <a:grpFill/>
          </p:grpSpPr>
          <p:sp>
            <p:nvSpPr>
              <p:cNvPr id="17" name="Freeform 16">
                <a:extLst>
                  <a:ext uri="{FF2B5EF4-FFF2-40B4-BE49-F238E27FC236}">
                    <a16:creationId xmlns:a16="http://schemas.microsoft.com/office/drawing/2014/main" id="{DE99F963-208C-4E08-F0CE-C9FB5D90186F}"/>
                  </a:ext>
                </a:extLst>
              </p:cNvPr>
              <p:cNvSpPr/>
              <p:nvPr/>
            </p:nvSpPr>
            <p:spPr>
              <a:xfrm>
                <a:off x="6692066" y="2173624"/>
                <a:ext cx="144167" cy="434823"/>
              </a:xfrm>
              <a:custGeom>
                <a:avLst/>
                <a:gdLst>
                  <a:gd name="connsiteX0" fmla="*/ 111346 w 144167"/>
                  <a:gd name="connsiteY0" fmla="*/ 434824 h 434823"/>
                  <a:gd name="connsiteX1" fmla="*/ 33347 w 144167"/>
                  <a:gd name="connsiteY1" fmla="*/ 434824 h 434823"/>
                  <a:gd name="connsiteX2" fmla="*/ 22464 w 144167"/>
                  <a:gd name="connsiteY2" fmla="*/ 313872 h 434823"/>
                  <a:gd name="connsiteX3" fmla="*/ 697 w 144167"/>
                  <a:gd name="connsiteY3" fmla="*/ 54429 h 434823"/>
                  <a:gd name="connsiteX4" fmla="*/ 50278 w 144167"/>
                  <a:gd name="connsiteY4" fmla="*/ 0 h 434823"/>
                  <a:gd name="connsiteX5" fmla="*/ 104696 w 144167"/>
                  <a:gd name="connsiteY5" fmla="*/ 0 h 434823"/>
                  <a:gd name="connsiteX6" fmla="*/ 143997 w 144167"/>
                  <a:gd name="connsiteY6" fmla="*/ 42938 h 434823"/>
                  <a:gd name="connsiteX7" fmla="*/ 119207 w 144167"/>
                  <a:gd name="connsiteY7" fmla="*/ 336248 h 434823"/>
                  <a:gd name="connsiteX8" fmla="*/ 111346 w 144167"/>
                  <a:gd name="connsiteY8" fmla="*/ 434824 h 4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167" h="434823">
                    <a:moveTo>
                      <a:pt x="111346" y="434824"/>
                    </a:moveTo>
                    <a:cubicBezTo>
                      <a:pt x="84138" y="434824"/>
                      <a:pt x="60556" y="434824"/>
                      <a:pt x="33347" y="434824"/>
                    </a:cubicBezTo>
                    <a:cubicBezTo>
                      <a:pt x="29720" y="394305"/>
                      <a:pt x="26092" y="353786"/>
                      <a:pt x="22464" y="313872"/>
                    </a:cubicBezTo>
                    <a:cubicBezTo>
                      <a:pt x="15208" y="227391"/>
                      <a:pt x="8557" y="140910"/>
                      <a:pt x="697" y="54429"/>
                    </a:cubicBezTo>
                    <a:cubicBezTo>
                      <a:pt x="-2931" y="11491"/>
                      <a:pt x="6743" y="0"/>
                      <a:pt x="50278" y="0"/>
                    </a:cubicBezTo>
                    <a:cubicBezTo>
                      <a:pt x="68417" y="0"/>
                      <a:pt x="86556" y="0"/>
                      <a:pt x="104696" y="0"/>
                    </a:cubicBezTo>
                    <a:cubicBezTo>
                      <a:pt x="133113" y="605"/>
                      <a:pt x="145811" y="13910"/>
                      <a:pt x="143997" y="42938"/>
                    </a:cubicBezTo>
                    <a:cubicBezTo>
                      <a:pt x="136137" y="140910"/>
                      <a:pt x="127672" y="238276"/>
                      <a:pt x="119207" y="336248"/>
                    </a:cubicBezTo>
                    <a:cubicBezTo>
                      <a:pt x="116788" y="368905"/>
                      <a:pt x="114370" y="400957"/>
                      <a:pt x="111346" y="434824"/>
                    </a:cubicBezTo>
                    <a:close/>
                  </a:path>
                </a:pathLst>
              </a:custGeom>
              <a:solidFill>
                <a:srgbClr val="F16924"/>
              </a:solidFill>
              <a:ln w="6040"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298F091C-6565-FA1B-4A61-9C94CF645565}"/>
                  </a:ext>
                </a:extLst>
              </p:cNvPr>
              <p:cNvSpPr/>
              <p:nvPr/>
            </p:nvSpPr>
            <p:spPr>
              <a:xfrm>
                <a:off x="6728436" y="2827355"/>
                <a:ext cx="71952" cy="71982"/>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819590070"/>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289442"/>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a:solidFill>
                  <a:schemeClr val="bg1"/>
                </a:solidFill>
              </a:rPr>
              <a:t>02 </a:t>
            </a:r>
            <a:r>
              <a:rPr lang="en-US">
                <a:solidFill>
                  <a:schemeClr val="bg1"/>
                </a:solidFill>
              </a:rPr>
              <a:t>El principio de la esperanza</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750815"/>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225678" y="1918123"/>
            <a:ext cx="9586108" cy="4255886"/>
          </a:xfrm>
        </p:spPr>
        <p:txBody>
          <a:bodyPr>
            <a:normAutofit/>
          </a:bodyPr>
          <a:lstStyle/>
          <a:p>
            <a:pPr marL="12700" indent="-12700" algn="just"/>
            <a:r>
              <a:rPr lang="en-US"/>
              <a:t>Los directores generales y los empresarios suelen estar llenos de ideas creativas y de pasión, pero esto, por desgracia, puede dar lugar a falsas suposiciones y mentalidades. El exceso de confianza genera falsas esperanzas, que engendran expectativas de éxito infladas. A menudo las empresas se dejan llevar por una falsa sensación de seguridad que tiene consecuencias devastadoras en el momento de la crisis. Hay que tomarse en serio las señales de advertencia de un negocio en quiebra en lugar de aferrarse a la esperanza.</a:t>
            </a:r>
          </a:p>
        </p:txBody>
      </p:sp>
      <p:sp>
        <p:nvSpPr>
          <p:cNvPr id="2" name="TextBox 1">
            <a:extLst>
              <a:ext uri="{FF2B5EF4-FFF2-40B4-BE49-F238E27FC236}">
                <a16:creationId xmlns:a16="http://schemas.microsoft.com/office/drawing/2014/main" id="{81033F59-DF70-5AA2-D909-2AC1AAB63FA9}"/>
              </a:ext>
            </a:extLst>
          </p:cNvPr>
          <p:cNvSpPr txBox="1"/>
          <p:nvPr/>
        </p:nvSpPr>
        <p:spPr>
          <a:xfrm>
            <a:off x="2321371" y="4391615"/>
            <a:ext cx="8957141" cy="1415772"/>
          </a:xfrm>
          <a:prstGeom prst="rect">
            <a:avLst/>
          </a:prstGeom>
          <a:solidFill>
            <a:srgbClr val="F16924"/>
          </a:solidFill>
        </p:spPr>
        <p:txBody>
          <a:bodyPr wrap="square" anchor="ctr">
            <a:spAutoFit/>
          </a:bodyPr>
          <a:lstStyle/>
          <a:p>
            <a:pPr algn="ctr"/>
            <a:endParaRPr lang="en-GB" sz="1000" b="0" i="1">
              <a:solidFill>
                <a:schemeClr val="bg1"/>
              </a:solidFill>
              <a:effectLst/>
              <a:latin typeface="Calibri" panose="020F0502020204030204" pitchFamily="34" charset="0"/>
              <a:cs typeface="Calibri" panose="020F0502020204030204" pitchFamily="34" charset="0"/>
            </a:endParaRPr>
          </a:p>
          <a:p>
            <a:pPr algn="ctr"/>
            <a:r>
              <a:rPr lang="en-GB" sz="2000" b="0" i="1">
                <a:solidFill>
                  <a:schemeClr val="bg1"/>
                </a:solidFill>
                <a:effectLst/>
                <a:latin typeface="Calibri" panose="020F0502020204030204" pitchFamily="34" charset="0"/>
                <a:cs typeface="Calibri" panose="020F0502020204030204" pitchFamily="34" charset="0"/>
              </a:rPr>
              <a:t>"¿Me dejarás ir por el amor de Dios?                                                                                        ¿Tomarás ese sueño falso y lo quemarás antes de que ocurra algo?"</a:t>
            </a:r>
          </a:p>
          <a:p>
            <a:pPr algn="ctr"/>
            <a:r>
              <a:rPr lang="en-GB" b="1" i="0">
                <a:solidFill>
                  <a:schemeClr val="bg1"/>
                </a:solidFill>
                <a:effectLst/>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Arthur Miller, </a:t>
            </a:r>
            <a:r>
              <a:rPr lang="en-GB" b="1" i="0" u="none" strike="noStrike">
                <a:solidFill>
                  <a:schemeClr val="bg1"/>
                </a:solidFill>
                <a:effectLst/>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La muerte de un viajante</a:t>
            </a:r>
            <a:endParaRPr lang="en-GB" b="1" i="0" u="none" strike="noStrike">
              <a:solidFill>
                <a:schemeClr val="bg1"/>
              </a:solidFill>
              <a:effectLst/>
              <a:latin typeface="Calibri" panose="020F0502020204030204" pitchFamily="34" charset="0"/>
              <a:cs typeface="Calibri" panose="020F0502020204030204" pitchFamily="34" charset="0"/>
            </a:endParaRPr>
          </a:p>
          <a:p>
            <a:pPr algn="ctr"/>
            <a:endParaRPr lang="en-IE">
              <a:solidFill>
                <a:schemeClr val="bg1"/>
              </a:solidFill>
              <a:latin typeface="Calibri" panose="020F0502020204030204" pitchFamily="34" charset="0"/>
              <a:cs typeface="Calibri" panose="020F0502020204030204" pitchFamily="34" charset="0"/>
            </a:endParaRPr>
          </a:p>
        </p:txBody>
      </p:sp>
      <p:grpSp>
        <p:nvGrpSpPr>
          <p:cNvPr id="3" name="Graphic 3">
            <a:extLst>
              <a:ext uri="{FF2B5EF4-FFF2-40B4-BE49-F238E27FC236}">
                <a16:creationId xmlns:a16="http://schemas.microsoft.com/office/drawing/2014/main" id="{F3F0F0E0-32F8-DDCC-7C99-47B711DAEDF6}"/>
              </a:ext>
            </a:extLst>
          </p:cNvPr>
          <p:cNvGrpSpPr/>
          <p:nvPr/>
        </p:nvGrpSpPr>
        <p:grpSpPr>
          <a:xfrm>
            <a:off x="845321" y="1918123"/>
            <a:ext cx="1086136" cy="1037162"/>
            <a:chOff x="10407709" y="5371716"/>
            <a:chExt cx="1086136" cy="1037162"/>
          </a:xfrm>
          <a:solidFill>
            <a:srgbClr val="595959"/>
          </a:solidFill>
        </p:grpSpPr>
        <p:sp>
          <p:nvSpPr>
            <p:cNvPr id="5" name="Freeform 4">
              <a:extLst>
                <a:ext uri="{FF2B5EF4-FFF2-40B4-BE49-F238E27FC236}">
                  <a16:creationId xmlns:a16="http://schemas.microsoft.com/office/drawing/2014/main" id="{42D0A66A-2965-C7DA-7D9A-20708BAB2ACB}"/>
                </a:ext>
              </a:extLst>
            </p:cNvPr>
            <p:cNvSpPr/>
            <p:nvPr/>
          </p:nvSpPr>
          <p:spPr>
            <a:xfrm>
              <a:off x="11016927" y="5621447"/>
              <a:ext cx="177956" cy="194120"/>
            </a:xfrm>
            <a:custGeom>
              <a:avLst/>
              <a:gdLst>
                <a:gd name="connsiteX0" fmla="*/ 7905 w 177956"/>
                <a:gd name="connsiteY0" fmla="*/ 175795 h 194120"/>
                <a:gd name="connsiteX1" fmla="*/ 117615 w 177956"/>
                <a:gd name="connsiteY1" fmla="*/ 181281 h 194120"/>
                <a:gd name="connsiteX2" fmla="*/ 177956 w 177956"/>
                <a:gd name="connsiteY2" fmla="*/ 259 h 194120"/>
                <a:gd name="connsiteX3" fmla="*/ 18875 w 177956"/>
                <a:gd name="connsiteY3" fmla="*/ 52371 h 194120"/>
                <a:gd name="connsiteX4" fmla="*/ 7905 w 177956"/>
                <a:gd name="connsiteY4" fmla="*/ 175795 h 194120"/>
                <a:gd name="connsiteX5" fmla="*/ 7905 w 177956"/>
                <a:gd name="connsiteY5" fmla="*/ 175795 h 19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7956" h="194120">
                  <a:moveTo>
                    <a:pt x="7905" y="175795"/>
                  </a:moveTo>
                  <a:cubicBezTo>
                    <a:pt x="54532" y="197738"/>
                    <a:pt x="92930" y="200480"/>
                    <a:pt x="117615" y="181281"/>
                  </a:cubicBezTo>
                  <a:cubicBezTo>
                    <a:pt x="166986" y="148368"/>
                    <a:pt x="177956" y="49628"/>
                    <a:pt x="177956" y="259"/>
                  </a:cubicBezTo>
                  <a:cubicBezTo>
                    <a:pt x="101158" y="-2484"/>
                    <a:pt x="46303" y="16715"/>
                    <a:pt x="18875" y="52371"/>
                  </a:cubicBezTo>
                  <a:cubicBezTo>
                    <a:pt x="-11294" y="96255"/>
                    <a:pt x="2419" y="156596"/>
                    <a:pt x="7905" y="175795"/>
                  </a:cubicBezTo>
                  <a:lnTo>
                    <a:pt x="7905" y="175795"/>
                  </a:lnTo>
                  <a:close/>
                </a:path>
              </a:pathLst>
            </a:custGeom>
            <a:solidFill>
              <a:srgbClr val="F16924"/>
            </a:solidFill>
            <a:ln w="27426"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6EFD660-B8DD-51FC-34C3-72CC5509D2B3}"/>
                </a:ext>
              </a:extLst>
            </p:cNvPr>
            <p:cNvSpPr/>
            <p:nvPr/>
          </p:nvSpPr>
          <p:spPr>
            <a:xfrm>
              <a:off x="10684499" y="5383085"/>
              <a:ext cx="218072" cy="198850"/>
            </a:xfrm>
            <a:custGeom>
              <a:avLst/>
              <a:gdLst>
                <a:gd name="connsiteX0" fmla="*/ 230 w 218072"/>
                <a:gd name="connsiteY0" fmla="*/ 0 h 198850"/>
                <a:gd name="connsiteX1" fmla="*/ 60571 w 218072"/>
                <a:gd name="connsiteY1" fmla="*/ 175537 h 198850"/>
                <a:gd name="connsiteX2" fmla="*/ 197709 w 218072"/>
                <a:gd name="connsiteY2" fmla="*/ 189251 h 198850"/>
                <a:gd name="connsiteX3" fmla="*/ 203194 w 218072"/>
                <a:gd name="connsiteY3" fmla="*/ 65827 h 198850"/>
                <a:gd name="connsiteX4" fmla="*/ 230 w 218072"/>
                <a:gd name="connsiteY4" fmla="*/ 0 h 198850"/>
                <a:gd name="connsiteX5" fmla="*/ 230 w 218072"/>
                <a:gd name="connsiteY5" fmla="*/ 0 h 19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8072" h="198850">
                  <a:moveTo>
                    <a:pt x="230" y="0"/>
                  </a:moveTo>
                  <a:cubicBezTo>
                    <a:pt x="-2513" y="87769"/>
                    <a:pt x="19429" y="145367"/>
                    <a:pt x="60571" y="175537"/>
                  </a:cubicBezTo>
                  <a:cubicBezTo>
                    <a:pt x="109940" y="211193"/>
                    <a:pt x="175766" y="197479"/>
                    <a:pt x="197709" y="189251"/>
                  </a:cubicBezTo>
                  <a:cubicBezTo>
                    <a:pt x="222394" y="137138"/>
                    <a:pt x="225137" y="95997"/>
                    <a:pt x="203194" y="65827"/>
                  </a:cubicBezTo>
                  <a:cubicBezTo>
                    <a:pt x="164796" y="10972"/>
                    <a:pt x="55085" y="0"/>
                    <a:pt x="230" y="0"/>
                  </a:cubicBezTo>
                  <a:lnTo>
                    <a:pt x="230" y="0"/>
                  </a:lnTo>
                  <a:close/>
                </a:path>
              </a:pathLst>
            </a:custGeom>
            <a:solidFill>
              <a:srgbClr val="F16924"/>
            </a:solidFill>
            <a:ln w="27426" cap="flat">
              <a:noFill/>
              <a:prstDash val="solid"/>
              <a:miter/>
            </a:ln>
          </p:spPr>
          <p:txBody>
            <a:bodyPr rtlCol="0" anchor="ctr"/>
            <a:lstStyle/>
            <a:p>
              <a:endParaRPr lang="en-US"/>
            </a:p>
          </p:txBody>
        </p:sp>
        <p:grpSp>
          <p:nvGrpSpPr>
            <p:cNvPr id="11" name="Graphic 3">
              <a:extLst>
                <a:ext uri="{FF2B5EF4-FFF2-40B4-BE49-F238E27FC236}">
                  <a16:creationId xmlns:a16="http://schemas.microsoft.com/office/drawing/2014/main" id="{1E566430-D83F-9D9E-3C22-31C9F4C4607C}"/>
                </a:ext>
              </a:extLst>
            </p:cNvPr>
            <p:cNvGrpSpPr/>
            <p:nvPr/>
          </p:nvGrpSpPr>
          <p:grpSpPr>
            <a:xfrm>
              <a:off x="10407709" y="5371716"/>
              <a:ext cx="1086136" cy="1037162"/>
              <a:chOff x="10407709" y="5371716"/>
              <a:chExt cx="1086136" cy="1037162"/>
            </a:xfrm>
            <a:grpFill/>
          </p:grpSpPr>
          <p:grpSp>
            <p:nvGrpSpPr>
              <p:cNvPr id="12" name="Graphic 3">
                <a:extLst>
                  <a:ext uri="{FF2B5EF4-FFF2-40B4-BE49-F238E27FC236}">
                    <a16:creationId xmlns:a16="http://schemas.microsoft.com/office/drawing/2014/main" id="{A6D36FE6-CCEF-5B6B-8234-0082CC940F65}"/>
                  </a:ext>
                </a:extLst>
              </p:cNvPr>
              <p:cNvGrpSpPr/>
              <p:nvPr/>
            </p:nvGrpSpPr>
            <p:grpSpPr>
              <a:xfrm>
                <a:off x="10407709" y="5371716"/>
                <a:ext cx="1086136" cy="1037162"/>
                <a:chOff x="10407709" y="5371716"/>
                <a:chExt cx="1086136" cy="1037162"/>
              </a:xfrm>
              <a:grpFill/>
            </p:grpSpPr>
            <p:sp>
              <p:nvSpPr>
                <p:cNvPr id="26" name="Freeform 25">
                  <a:extLst>
                    <a:ext uri="{FF2B5EF4-FFF2-40B4-BE49-F238E27FC236}">
                      <a16:creationId xmlns:a16="http://schemas.microsoft.com/office/drawing/2014/main" id="{187CBDE6-2BD1-D5B5-B9E8-8E024F934B30}"/>
                    </a:ext>
                  </a:extLst>
                </p:cNvPr>
                <p:cNvSpPr/>
                <p:nvPr/>
              </p:nvSpPr>
              <p:spPr>
                <a:xfrm>
                  <a:off x="10407709" y="5876782"/>
                  <a:ext cx="1086136" cy="532096"/>
                </a:xfrm>
                <a:custGeom>
                  <a:avLst/>
                  <a:gdLst>
                    <a:gd name="connsiteX0" fmla="*/ 540326 w 1086136"/>
                    <a:gd name="connsiteY0" fmla="*/ 532097 h 532096"/>
                    <a:gd name="connsiteX1" fmla="*/ 430615 w 1086136"/>
                    <a:gd name="connsiteY1" fmla="*/ 510154 h 532096"/>
                    <a:gd name="connsiteX2" fmla="*/ 263306 w 1086136"/>
                    <a:gd name="connsiteY2" fmla="*/ 436100 h 532096"/>
                    <a:gd name="connsiteX3" fmla="*/ 71312 w 1086136"/>
                    <a:gd name="connsiteY3" fmla="*/ 386730 h 532096"/>
                    <a:gd name="connsiteX4" fmla="*/ 16457 w 1086136"/>
                    <a:gd name="connsiteY4" fmla="*/ 381245 h 532096"/>
                    <a:gd name="connsiteX5" fmla="*/ 0 w 1086136"/>
                    <a:gd name="connsiteY5" fmla="*/ 364788 h 532096"/>
                    <a:gd name="connsiteX6" fmla="*/ 0 w 1086136"/>
                    <a:gd name="connsiteY6" fmla="*/ 191993 h 532096"/>
                    <a:gd name="connsiteX7" fmla="*/ 2743 w 1086136"/>
                    <a:gd name="connsiteY7" fmla="*/ 181022 h 532096"/>
                    <a:gd name="connsiteX8" fmla="*/ 257820 w 1086136"/>
                    <a:gd name="connsiteY8" fmla="*/ 79541 h 532096"/>
                    <a:gd name="connsiteX9" fmla="*/ 452557 w 1086136"/>
                    <a:gd name="connsiteY9" fmla="*/ 159081 h 532096"/>
                    <a:gd name="connsiteX10" fmla="*/ 556782 w 1086136"/>
                    <a:gd name="connsiteY10" fmla="*/ 189251 h 532096"/>
                    <a:gd name="connsiteX11" fmla="*/ 724090 w 1086136"/>
                    <a:gd name="connsiteY11" fmla="*/ 189251 h 532096"/>
                    <a:gd name="connsiteX12" fmla="*/ 792660 w 1086136"/>
                    <a:gd name="connsiteY12" fmla="*/ 227650 h 532096"/>
                    <a:gd name="connsiteX13" fmla="*/ 938027 w 1086136"/>
                    <a:gd name="connsiteY13" fmla="*/ 60341 h 532096"/>
                    <a:gd name="connsiteX14" fmla="*/ 1058708 w 1086136"/>
                    <a:gd name="connsiteY14" fmla="*/ 0 h 532096"/>
                    <a:gd name="connsiteX15" fmla="*/ 1069679 w 1086136"/>
                    <a:gd name="connsiteY15" fmla="*/ 0 h 532096"/>
                    <a:gd name="connsiteX16" fmla="*/ 1083393 w 1086136"/>
                    <a:gd name="connsiteY16" fmla="*/ 8229 h 532096"/>
                    <a:gd name="connsiteX17" fmla="*/ 1086136 w 1086136"/>
                    <a:gd name="connsiteY17" fmla="*/ 24686 h 532096"/>
                    <a:gd name="connsiteX18" fmla="*/ 954484 w 1086136"/>
                    <a:gd name="connsiteY18" fmla="*/ 320904 h 532096"/>
                    <a:gd name="connsiteX19" fmla="*/ 798145 w 1086136"/>
                    <a:gd name="connsiteY19" fmla="*/ 452556 h 532096"/>
                    <a:gd name="connsiteX20" fmla="*/ 776204 w 1086136"/>
                    <a:gd name="connsiteY20" fmla="*/ 458042 h 532096"/>
                    <a:gd name="connsiteX21" fmla="*/ 641807 w 1086136"/>
                    <a:gd name="connsiteY21" fmla="*/ 512897 h 532096"/>
                    <a:gd name="connsiteX22" fmla="*/ 540326 w 1086136"/>
                    <a:gd name="connsiteY22" fmla="*/ 532097 h 532096"/>
                    <a:gd name="connsiteX23" fmla="*/ 540326 w 1086136"/>
                    <a:gd name="connsiteY23" fmla="*/ 532097 h 532096"/>
                    <a:gd name="connsiteX24" fmla="*/ 35656 w 1086136"/>
                    <a:gd name="connsiteY24" fmla="*/ 348331 h 532096"/>
                    <a:gd name="connsiteX25" fmla="*/ 74055 w 1086136"/>
                    <a:gd name="connsiteY25" fmla="*/ 351074 h 532096"/>
                    <a:gd name="connsiteX26" fmla="*/ 274277 w 1086136"/>
                    <a:gd name="connsiteY26" fmla="*/ 403186 h 532096"/>
                    <a:gd name="connsiteX27" fmla="*/ 441586 w 1086136"/>
                    <a:gd name="connsiteY27" fmla="*/ 477241 h 532096"/>
                    <a:gd name="connsiteX28" fmla="*/ 628094 w 1086136"/>
                    <a:gd name="connsiteY28" fmla="*/ 479983 h 532096"/>
                    <a:gd name="connsiteX29" fmla="*/ 762490 w 1086136"/>
                    <a:gd name="connsiteY29" fmla="*/ 425128 h 532096"/>
                    <a:gd name="connsiteX30" fmla="*/ 765232 w 1086136"/>
                    <a:gd name="connsiteY30" fmla="*/ 425128 h 532096"/>
                    <a:gd name="connsiteX31" fmla="*/ 789918 w 1086136"/>
                    <a:gd name="connsiteY31" fmla="*/ 419643 h 532096"/>
                    <a:gd name="connsiteX32" fmla="*/ 921570 w 1086136"/>
                    <a:gd name="connsiteY32" fmla="*/ 307190 h 532096"/>
                    <a:gd name="connsiteX33" fmla="*/ 1039509 w 1086136"/>
                    <a:gd name="connsiteY33" fmla="*/ 35656 h 532096"/>
                    <a:gd name="connsiteX34" fmla="*/ 962712 w 1086136"/>
                    <a:gd name="connsiteY34" fmla="*/ 82283 h 532096"/>
                    <a:gd name="connsiteX35" fmla="*/ 803631 w 1086136"/>
                    <a:gd name="connsiteY35" fmla="*/ 266048 h 532096"/>
                    <a:gd name="connsiteX36" fmla="*/ 803631 w 1086136"/>
                    <a:gd name="connsiteY36" fmla="*/ 268791 h 532096"/>
                    <a:gd name="connsiteX37" fmla="*/ 724090 w 1086136"/>
                    <a:gd name="connsiteY37" fmla="*/ 348331 h 532096"/>
                    <a:gd name="connsiteX38" fmla="*/ 490955 w 1086136"/>
                    <a:gd name="connsiteY38" fmla="*/ 348331 h 532096"/>
                    <a:gd name="connsiteX39" fmla="*/ 400444 w 1086136"/>
                    <a:gd name="connsiteY39" fmla="*/ 362045 h 532096"/>
                    <a:gd name="connsiteX40" fmla="*/ 394958 w 1086136"/>
                    <a:gd name="connsiteY40" fmla="*/ 345588 h 532096"/>
                    <a:gd name="connsiteX41" fmla="*/ 389473 w 1086136"/>
                    <a:gd name="connsiteY41" fmla="*/ 329131 h 532096"/>
                    <a:gd name="connsiteX42" fmla="*/ 389473 w 1086136"/>
                    <a:gd name="connsiteY42" fmla="*/ 329131 h 532096"/>
                    <a:gd name="connsiteX43" fmla="*/ 490955 w 1086136"/>
                    <a:gd name="connsiteY43" fmla="*/ 312676 h 532096"/>
                    <a:gd name="connsiteX44" fmla="*/ 724090 w 1086136"/>
                    <a:gd name="connsiteY44" fmla="*/ 312676 h 532096"/>
                    <a:gd name="connsiteX45" fmla="*/ 767975 w 1086136"/>
                    <a:gd name="connsiteY45" fmla="*/ 268791 h 532096"/>
                    <a:gd name="connsiteX46" fmla="*/ 724090 w 1086136"/>
                    <a:gd name="connsiteY46" fmla="*/ 224907 h 532096"/>
                    <a:gd name="connsiteX47" fmla="*/ 556782 w 1086136"/>
                    <a:gd name="connsiteY47" fmla="*/ 224907 h 532096"/>
                    <a:gd name="connsiteX48" fmla="*/ 433358 w 1086136"/>
                    <a:gd name="connsiteY48" fmla="*/ 189251 h 532096"/>
                    <a:gd name="connsiteX49" fmla="*/ 249592 w 1086136"/>
                    <a:gd name="connsiteY49" fmla="*/ 112453 h 532096"/>
                    <a:gd name="connsiteX50" fmla="*/ 35656 w 1086136"/>
                    <a:gd name="connsiteY50" fmla="*/ 194736 h 532096"/>
                    <a:gd name="connsiteX51" fmla="*/ 35656 w 1086136"/>
                    <a:gd name="connsiteY51" fmla="*/ 348331 h 532096"/>
                    <a:gd name="connsiteX52" fmla="*/ 35656 w 1086136"/>
                    <a:gd name="connsiteY52" fmla="*/ 348331 h 532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86136" h="532096">
                      <a:moveTo>
                        <a:pt x="540326" y="532097"/>
                      </a:moveTo>
                      <a:cubicBezTo>
                        <a:pt x="501927" y="532097"/>
                        <a:pt x="463528" y="523868"/>
                        <a:pt x="430615" y="510154"/>
                      </a:cubicBezTo>
                      <a:lnTo>
                        <a:pt x="263306" y="436100"/>
                      </a:lnTo>
                      <a:cubicBezTo>
                        <a:pt x="202965" y="408672"/>
                        <a:pt x="137138" y="392216"/>
                        <a:pt x="71312" y="386730"/>
                      </a:cubicBezTo>
                      <a:lnTo>
                        <a:pt x="16457" y="381245"/>
                      </a:lnTo>
                      <a:cubicBezTo>
                        <a:pt x="8229" y="381245"/>
                        <a:pt x="0" y="373016"/>
                        <a:pt x="0" y="364788"/>
                      </a:cubicBezTo>
                      <a:lnTo>
                        <a:pt x="0" y="191993"/>
                      </a:lnTo>
                      <a:cubicBezTo>
                        <a:pt x="0" y="189251"/>
                        <a:pt x="0" y="183765"/>
                        <a:pt x="2743" y="181022"/>
                      </a:cubicBezTo>
                      <a:cubicBezTo>
                        <a:pt x="8229" y="175537"/>
                        <a:pt x="106968" y="46627"/>
                        <a:pt x="257820" y="79541"/>
                      </a:cubicBezTo>
                      <a:cubicBezTo>
                        <a:pt x="342846" y="98740"/>
                        <a:pt x="411415" y="134396"/>
                        <a:pt x="452557" y="159081"/>
                      </a:cubicBezTo>
                      <a:cubicBezTo>
                        <a:pt x="482727" y="178280"/>
                        <a:pt x="518383" y="189251"/>
                        <a:pt x="556782" y="189251"/>
                      </a:cubicBezTo>
                      <a:lnTo>
                        <a:pt x="724090" y="189251"/>
                      </a:lnTo>
                      <a:cubicBezTo>
                        <a:pt x="754261" y="189251"/>
                        <a:pt x="778946" y="205707"/>
                        <a:pt x="792660" y="227650"/>
                      </a:cubicBezTo>
                      <a:lnTo>
                        <a:pt x="938027" y="60341"/>
                      </a:lnTo>
                      <a:cubicBezTo>
                        <a:pt x="965454" y="21943"/>
                        <a:pt x="1012081" y="0"/>
                        <a:pt x="1058708" y="0"/>
                      </a:cubicBezTo>
                      <a:lnTo>
                        <a:pt x="1069679" y="0"/>
                      </a:lnTo>
                      <a:cubicBezTo>
                        <a:pt x="1075165" y="0"/>
                        <a:pt x="1080650" y="2743"/>
                        <a:pt x="1083393" y="8229"/>
                      </a:cubicBezTo>
                      <a:cubicBezTo>
                        <a:pt x="1086136" y="13714"/>
                        <a:pt x="1086136" y="19200"/>
                        <a:pt x="1086136" y="24686"/>
                      </a:cubicBezTo>
                      <a:lnTo>
                        <a:pt x="954484" y="320904"/>
                      </a:lnTo>
                      <a:cubicBezTo>
                        <a:pt x="927056" y="386730"/>
                        <a:pt x="866715" y="436100"/>
                        <a:pt x="798145" y="452556"/>
                      </a:cubicBezTo>
                      <a:lnTo>
                        <a:pt x="776204" y="458042"/>
                      </a:lnTo>
                      <a:lnTo>
                        <a:pt x="641807" y="512897"/>
                      </a:lnTo>
                      <a:cubicBezTo>
                        <a:pt x="608895" y="526611"/>
                        <a:pt x="575981" y="532097"/>
                        <a:pt x="540326" y="532097"/>
                      </a:cubicBezTo>
                      <a:lnTo>
                        <a:pt x="540326" y="532097"/>
                      </a:lnTo>
                      <a:close/>
                      <a:moveTo>
                        <a:pt x="35656" y="348331"/>
                      </a:moveTo>
                      <a:lnTo>
                        <a:pt x="74055" y="351074"/>
                      </a:lnTo>
                      <a:cubicBezTo>
                        <a:pt x="142624" y="359302"/>
                        <a:pt x="211193" y="375759"/>
                        <a:pt x="274277" y="403186"/>
                      </a:cubicBezTo>
                      <a:lnTo>
                        <a:pt x="441586" y="477241"/>
                      </a:lnTo>
                      <a:cubicBezTo>
                        <a:pt x="501927" y="501926"/>
                        <a:pt x="567753" y="504669"/>
                        <a:pt x="628094" y="479983"/>
                      </a:cubicBezTo>
                      <a:lnTo>
                        <a:pt x="762490" y="425128"/>
                      </a:lnTo>
                      <a:cubicBezTo>
                        <a:pt x="762490" y="425128"/>
                        <a:pt x="765232" y="425128"/>
                        <a:pt x="765232" y="425128"/>
                      </a:cubicBezTo>
                      <a:lnTo>
                        <a:pt x="789918" y="419643"/>
                      </a:lnTo>
                      <a:cubicBezTo>
                        <a:pt x="847515" y="405929"/>
                        <a:pt x="896885" y="364788"/>
                        <a:pt x="921570" y="307190"/>
                      </a:cubicBezTo>
                      <a:lnTo>
                        <a:pt x="1039509" y="35656"/>
                      </a:lnTo>
                      <a:cubicBezTo>
                        <a:pt x="1009339" y="41141"/>
                        <a:pt x="981911" y="57598"/>
                        <a:pt x="962712" y="82283"/>
                      </a:cubicBezTo>
                      <a:lnTo>
                        <a:pt x="803631" y="266048"/>
                      </a:lnTo>
                      <a:cubicBezTo>
                        <a:pt x="803631" y="266048"/>
                        <a:pt x="803631" y="268791"/>
                        <a:pt x="803631" y="268791"/>
                      </a:cubicBezTo>
                      <a:cubicBezTo>
                        <a:pt x="803631" y="312676"/>
                        <a:pt x="767975" y="348331"/>
                        <a:pt x="724090" y="348331"/>
                      </a:cubicBezTo>
                      <a:lnTo>
                        <a:pt x="490955" y="348331"/>
                      </a:lnTo>
                      <a:cubicBezTo>
                        <a:pt x="460785" y="348331"/>
                        <a:pt x="430615" y="353817"/>
                        <a:pt x="400444" y="362045"/>
                      </a:cubicBezTo>
                      <a:lnTo>
                        <a:pt x="394958" y="345588"/>
                      </a:lnTo>
                      <a:lnTo>
                        <a:pt x="389473" y="329131"/>
                      </a:lnTo>
                      <a:lnTo>
                        <a:pt x="389473" y="329131"/>
                      </a:lnTo>
                      <a:cubicBezTo>
                        <a:pt x="422386" y="318161"/>
                        <a:pt x="455300" y="312676"/>
                        <a:pt x="490955" y="312676"/>
                      </a:cubicBezTo>
                      <a:lnTo>
                        <a:pt x="724090" y="312676"/>
                      </a:lnTo>
                      <a:cubicBezTo>
                        <a:pt x="748776" y="312676"/>
                        <a:pt x="767975" y="293476"/>
                        <a:pt x="767975" y="268791"/>
                      </a:cubicBezTo>
                      <a:cubicBezTo>
                        <a:pt x="767975" y="244107"/>
                        <a:pt x="748776" y="224907"/>
                        <a:pt x="724090" y="224907"/>
                      </a:cubicBezTo>
                      <a:lnTo>
                        <a:pt x="556782" y="224907"/>
                      </a:lnTo>
                      <a:cubicBezTo>
                        <a:pt x="512898" y="224907"/>
                        <a:pt x="469013" y="213936"/>
                        <a:pt x="433358" y="189251"/>
                      </a:cubicBezTo>
                      <a:cubicBezTo>
                        <a:pt x="392216" y="164566"/>
                        <a:pt x="329132" y="131653"/>
                        <a:pt x="249592" y="112453"/>
                      </a:cubicBezTo>
                      <a:cubicBezTo>
                        <a:pt x="134395" y="87769"/>
                        <a:pt x="52112" y="175537"/>
                        <a:pt x="35656" y="194736"/>
                      </a:cubicBezTo>
                      <a:lnTo>
                        <a:pt x="35656" y="348331"/>
                      </a:lnTo>
                      <a:lnTo>
                        <a:pt x="35656" y="348331"/>
                      </a:lnTo>
                      <a:close/>
                    </a:path>
                  </a:pathLst>
                </a:custGeom>
                <a:grpFill/>
                <a:ln w="27426"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F0A410CA-C542-B442-9AB2-027BE45F8D68}"/>
                    </a:ext>
                  </a:extLst>
                </p:cNvPr>
                <p:cNvSpPr/>
                <p:nvPr/>
              </p:nvSpPr>
              <p:spPr>
                <a:xfrm>
                  <a:off x="10994886" y="5609912"/>
                  <a:ext cx="249584" cy="264128"/>
                </a:xfrm>
                <a:custGeom>
                  <a:avLst/>
                  <a:gdLst>
                    <a:gd name="connsiteX0" fmla="*/ 109486 w 249584"/>
                    <a:gd name="connsiteY0" fmla="*/ 264128 h 264128"/>
                    <a:gd name="connsiteX1" fmla="*/ 18975 w 249584"/>
                    <a:gd name="connsiteY1" fmla="*/ 239443 h 264128"/>
                    <a:gd name="connsiteX2" fmla="*/ 10747 w 249584"/>
                    <a:gd name="connsiteY2" fmla="*/ 228472 h 264128"/>
                    <a:gd name="connsiteX3" fmla="*/ 27203 w 249584"/>
                    <a:gd name="connsiteY3" fmla="*/ 66649 h 264128"/>
                    <a:gd name="connsiteX4" fmla="*/ 232911 w 249584"/>
                    <a:gd name="connsiteY4" fmla="*/ 823 h 264128"/>
                    <a:gd name="connsiteX5" fmla="*/ 249368 w 249584"/>
                    <a:gd name="connsiteY5" fmla="*/ 17280 h 264128"/>
                    <a:gd name="connsiteX6" fmla="*/ 172571 w 249584"/>
                    <a:gd name="connsiteY6" fmla="*/ 244929 h 264128"/>
                    <a:gd name="connsiteX7" fmla="*/ 109486 w 249584"/>
                    <a:gd name="connsiteY7" fmla="*/ 264128 h 264128"/>
                    <a:gd name="connsiteX8" fmla="*/ 109486 w 249584"/>
                    <a:gd name="connsiteY8" fmla="*/ 264128 h 264128"/>
                    <a:gd name="connsiteX9" fmla="*/ 40917 w 249584"/>
                    <a:gd name="connsiteY9" fmla="*/ 209273 h 264128"/>
                    <a:gd name="connsiteX10" fmla="*/ 150628 w 249584"/>
                    <a:gd name="connsiteY10" fmla="*/ 214758 h 264128"/>
                    <a:gd name="connsiteX11" fmla="*/ 210969 w 249584"/>
                    <a:gd name="connsiteY11" fmla="*/ 33736 h 264128"/>
                    <a:gd name="connsiteX12" fmla="*/ 51889 w 249584"/>
                    <a:gd name="connsiteY12" fmla="*/ 85849 h 264128"/>
                    <a:gd name="connsiteX13" fmla="*/ 40917 w 249584"/>
                    <a:gd name="connsiteY13" fmla="*/ 209273 h 264128"/>
                    <a:gd name="connsiteX14" fmla="*/ 40917 w 249584"/>
                    <a:gd name="connsiteY14" fmla="*/ 209273 h 264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9583" h="264128">
                      <a:moveTo>
                        <a:pt x="109486" y="264128"/>
                      </a:moveTo>
                      <a:cubicBezTo>
                        <a:pt x="82059" y="264128"/>
                        <a:pt x="51889" y="255899"/>
                        <a:pt x="18975" y="239443"/>
                      </a:cubicBezTo>
                      <a:cubicBezTo>
                        <a:pt x="16232" y="236701"/>
                        <a:pt x="10747" y="233958"/>
                        <a:pt x="10747" y="228472"/>
                      </a:cubicBezTo>
                      <a:cubicBezTo>
                        <a:pt x="10747" y="225729"/>
                        <a:pt x="-22166" y="132475"/>
                        <a:pt x="27203" y="66649"/>
                      </a:cubicBezTo>
                      <a:cubicBezTo>
                        <a:pt x="62860" y="17280"/>
                        <a:pt x="131429" y="-4663"/>
                        <a:pt x="232911" y="823"/>
                      </a:cubicBezTo>
                      <a:cubicBezTo>
                        <a:pt x="241140" y="823"/>
                        <a:pt x="249368" y="9051"/>
                        <a:pt x="249368" y="17280"/>
                      </a:cubicBezTo>
                      <a:cubicBezTo>
                        <a:pt x="249368" y="25508"/>
                        <a:pt x="257597" y="190073"/>
                        <a:pt x="172571" y="244929"/>
                      </a:cubicBezTo>
                      <a:cubicBezTo>
                        <a:pt x="153371" y="258642"/>
                        <a:pt x="134172" y="264128"/>
                        <a:pt x="109486" y="264128"/>
                      </a:cubicBezTo>
                      <a:lnTo>
                        <a:pt x="109486" y="264128"/>
                      </a:lnTo>
                      <a:close/>
                      <a:moveTo>
                        <a:pt x="40917" y="209273"/>
                      </a:moveTo>
                      <a:cubicBezTo>
                        <a:pt x="87545" y="231215"/>
                        <a:pt x="125943" y="233958"/>
                        <a:pt x="150628" y="214758"/>
                      </a:cubicBezTo>
                      <a:cubicBezTo>
                        <a:pt x="199998" y="181845"/>
                        <a:pt x="210969" y="83106"/>
                        <a:pt x="210969" y="33736"/>
                      </a:cubicBezTo>
                      <a:cubicBezTo>
                        <a:pt x="134172" y="30993"/>
                        <a:pt x="79317" y="50192"/>
                        <a:pt x="51889" y="85849"/>
                      </a:cubicBezTo>
                      <a:cubicBezTo>
                        <a:pt x="24461" y="129732"/>
                        <a:pt x="35432" y="190073"/>
                        <a:pt x="40917" y="209273"/>
                      </a:cubicBezTo>
                      <a:lnTo>
                        <a:pt x="40917" y="209273"/>
                      </a:ln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0998A847-48A1-F443-EB7D-EE67E59994D4}"/>
                    </a:ext>
                  </a:extLst>
                </p:cNvPr>
                <p:cNvSpPr/>
                <p:nvPr/>
              </p:nvSpPr>
              <p:spPr>
                <a:xfrm>
                  <a:off x="10659296" y="5371716"/>
                  <a:ext cx="286439" cy="269189"/>
                </a:xfrm>
                <a:custGeom>
                  <a:avLst/>
                  <a:gdLst>
                    <a:gd name="connsiteX0" fmla="*/ 173542 w 286439"/>
                    <a:gd name="connsiteY0" fmla="*/ 269189 h 269189"/>
                    <a:gd name="connsiteX1" fmla="*/ 74802 w 286439"/>
                    <a:gd name="connsiteY1" fmla="*/ 239019 h 269189"/>
                    <a:gd name="connsiteX2" fmla="*/ 748 w 286439"/>
                    <a:gd name="connsiteY2" fmla="*/ 16855 h 269189"/>
                    <a:gd name="connsiteX3" fmla="*/ 17205 w 286439"/>
                    <a:gd name="connsiteY3" fmla="*/ 398 h 269189"/>
                    <a:gd name="connsiteX4" fmla="*/ 266796 w 286439"/>
                    <a:gd name="connsiteY4" fmla="*/ 82681 h 269189"/>
                    <a:gd name="connsiteX5" fmla="*/ 258568 w 286439"/>
                    <a:gd name="connsiteY5" fmla="*/ 249990 h 269189"/>
                    <a:gd name="connsiteX6" fmla="*/ 247597 w 286439"/>
                    <a:gd name="connsiteY6" fmla="*/ 258218 h 269189"/>
                    <a:gd name="connsiteX7" fmla="*/ 173542 w 286439"/>
                    <a:gd name="connsiteY7" fmla="*/ 269189 h 269189"/>
                    <a:gd name="connsiteX8" fmla="*/ 173542 w 286439"/>
                    <a:gd name="connsiteY8" fmla="*/ 269189 h 269189"/>
                    <a:gd name="connsiteX9" fmla="*/ 244854 w 286439"/>
                    <a:gd name="connsiteY9" fmla="*/ 239019 h 269189"/>
                    <a:gd name="connsiteX10" fmla="*/ 244854 w 286439"/>
                    <a:gd name="connsiteY10" fmla="*/ 239019 h 269189"/>
                    <a:gd name="connsiteX11" fmla="*/ 244854 w 286439"/>
                    <a:gd name="connsiteY11" fmla="*/ 239019 h 269189"/>
                    <a:gd name="connsiteX12" fmla="*/ 36404 w 286439"/>
                    <a:gd name="connsiteY12" fmla="*/ 36054 h 269189"/>
                    <a:gd name="connsiteX13" fmla="*/ 96745 w 286439"/>
                    <a:gd name="connsiteY13" fmla="*/ 211591 h 269189"/>
                    <a:gd name="connsiteX14" fmla="*/ 233883 w 286439"/>
                    <a:gd name="connsiteY14" fmla="*/ 225305 h 269189"/>
                    <a:gd name="connsiteX15" fmla="*/ 239368 w 286439"/>
                    <a:gd name="connsiteY15" fmla="*/ 101881 h 269189"/>
                    <a:gd name="connsiteX16" fmla="*/ 36404 w 286439"/>
                    <a:gd name="connsiteY16" fmla="*/ 36054 h 269189"/>
                    <a:gd name="connsiteX17" fmla="*/ 36404 w 286439"/>
                    <a:gd name="connsiteY17" fmla="*/ 36054 h 269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86439" h="269189">
                      <a:moveTo>
                        <a:pt x="173542" y="269189"/>
                      </a:moveTo>
                      <a:cubicBezTo>
                        <a:pt x="143372" y="269189"/>
                        <a:pt x="104973" y="263703"/>
                        <a:pt x="74802" y="239019"/>
                      </a:cubicBezTo>
                      <a:cubicBezTo>
                        <a:pt x="19947" y="200620"/>
                        <a:pt x="-4738" y="123822"/>
                        <a:pt x="748" y="16855"/>
                      </a:cubicBezTo>
                      <a:cubicBezTo>
                        <a:pt x="748" y="8627"/>
                        <a:pt x="8976" y="398"/>
                        <a:pt x="17205" y="398"/>
                      </a:cubicBezTo>
                      <a:cubicBezTo>
                        <a:pt x="25433" y="398"/>
                        <a:pt x="206456" y="-10573"/>
                        <a:pt x="266796" y="82681"/>
                      </a:cubicBezTo>
                      <a:cubicBezTo>
                        <a:pt x="294224" y="126565"/>
                        <a:pt x="294224" y="181421"/>
                        <a:pt x="258568" y="249990"/>
                      </a:cubicBezTo>
                      <a:cubicBezTo>
                        <a:pt x="255825" y="252732"/>
                        <a:pt x="253082" y="258218"/>
                        <a:pt x="247597" y="258218"/>
                      </a:cubicBezTo>
                      <a:cubicBezTo>
                        <a:pt x="250340" y="258218"/>
                        <a:pt x="217427" y="269189"/>
                        <a:pt x="173542" y="269189"/>
                      </a:cubicBezTo>
                      <a:lnTo>
                        <a:pt x="173542" y="269189"/>
                      </a:lnTo>
                      <a:close/>
                      <a:moveTo>
                        <a:pt x="244854" y="239019"/>
                      </a:moveTo>
                      <a:lnTo>
                        <a:pt x="244854" y="239019"/>
                      </a:lnTo>
                      <a:lnTo>
                        <a:pt x="244854" y="239019"/>
                      </a:lnTo>
                      <a:close/>
                      <a:moveTo>
                        <a:pt x="36404" y="36054"/>
                      </a:moveTo>
                      <a:cubicBezTo>
                        <a:pt x="33661" y="123822"/>
                        <a:pt x="55603" y="181421"/>
                        <a:pt x="96745" y="211591"/>
                      </a:cubicBezTo>
                      <a:cubicBezTo>
                        <a:pt x="146114" y="247247"/>
                        <a:pt x="211941" y="233533"/>
                        <a:pt x="233883" y="225305"/>
                      </a:cubicBezTo>
                      <a:cubicBezTo>
                        <a:pt x="258568" y="173193"/>
                        <a:pt x="261311" y="132051"/>
                        <a:pt x="239368" y="101881"/>
                      </a:cubicBezTo>
                      <a:cubicBezTo>
                        <a:pt x="200970" y="44282"/>
                        <a:pt x="94002" y="33312"/>
                        <a:pt x="36404" y="36054"/>
                      </a:cubicBezTo>
                      <a:lnTo>
                        <a:pt x="36404" y="36054"/>
                      </a:lnTo>
                      <a:close/>
                    </a:path>
                  </a:pathLst>
                </a:custGeom>
                <a:grpFill/>
                <a:ln w="27426" cap="flat">
                  <a:noFill/>
                  <a:prstDash val="solid"/>
                  <a:miter/>
                </a:ln>
              </p:spPr>
              <p:txBody>
                <a:bodyPr rtlCol="0" anchor="ctr"/>
                <a:lstStyle/>
                <a:p>
                  <a:endParaRPr lang="en-US"/>
                </a:p>
              </p:txBody>
            </p:sp>
          </p:grpSp>
          <p:sp>
            <p:nvSpPr>
              <p:cNvPr id="25" name="Freeform 24">
                <a:extLst>
                  <a:ext uri="{FF2B5EF4-FFF2-40B4-BE49-F238E27FC236}">
                    <a16:creationId xmlns:a16="http://schemas.microsoft.com/office/drawing/2014/main" id="{32A28D2E-A3A3-AAC3-DA80-298540B0DCFC}"/>
                  </a:ext>
                </a:extLst>
              </p:cNvPr>
              <p:cNvSpPr/>
              <p:nvPr/>
            </p:nvSpPr>
            <p:spPr>
              <a:xfrm>
                <a:off x="10770290" y="5482359"/>
                <a:ext cx="386306" cy="613843"/>
              </a:xfrm>
              <a:custGeom>
                <a:avLst/>
                <a:gdLst>
                  <a:gd name="connsiteX0" fmla="*/ 202430 w 386306"/>
                  <a:gd name="connsiteY0" fmla="*/ 613844 h 613843"/>
                  <a:gd name="connsiteX1" fmla="*/ 202430 w 386306"/>
                  <a:gd name="connsiteY1" fmla="*/ 613844 h 613843"/>
                  <a:gd name="connsiteX2" fmla="*/ 185973 w 386306"/>
                  <a:gd name="connsiteY2" fmla="*/ 594645 h 613843"/>
                  <a:gd name="connsiteX3" fmla="*/ 191459 w 386306"/>
                  <a:gd name="connsiteY3" fmla="*/ 534304 h 613843"/>
                  <a:gd name="connsiteX4" fmla="*/ 10436 w 386306"/>
                  <a:gd name="connsiteY4" fmla="*/ 35122 h 613843"/>
                  <a:gd name="connsiteX5" fmla="*/ 2208 w 386306"/>
                  <a:gd name="connsiteY5" fmla="*/ 10436 h 613843"/>
                  <a:gd name="connsiteX6" fmla="*/ 26893 w 386306"/>
                  <a:gd name="connsiteY6" fmla="*/ 2208 h 613843"/>
                  <a:gd name="connsiteX7" fmla="*/ 224372 w 386306"/>
                  <a:gd name="connsiteY7" fmla="*/ 345054 h 613843"/>
                  <a:gd name="connsiteX8" fmla="*/ 229858 w 386306"/>
                  <a:gd name="connsiteY8" fmla="*/ 391681 h 613843"/>
                  <a:gd name="connsiteX9" fmla="*/ 358768 w 386306"/>
                  <a:gd name="connsiteY9" fmla="*/ 221629 h 613843"/>
                  <a:gd name="connsiteX10" fmla="*/ 383453 w 386306"/>
                  <a:gd name="connsiteY10" fmla="*/ 227115 h 613843"/>
                  <a:gd name="connsiteX11" fmla="*/ 377967 w 386306"/>
                  <a:gd name="connsiteY11" fmla="*/ 251800 h 613843"/>
                  <a:gd name="connsiteX12" fmla="*/ 232601 w 386306"/>
                  <a:gd name="connsiteY12" fmla="*/ 531561 h 613843"/>
                  <a:gd name="connsiteX13" fmla="*/ 227115 w 386306"/>
                  <a:gd name="connsiteY13" fmla="*/ 591902 h 613843"/>
                  <a:gd name="connsiteX14" fmla="*/ 202430 w 386306"/>
                  <a:gd name="connsiteY14" fmla="*/ 613844 h 613843"/>
                  <a:gd name="connsiteX15" fmla="*/ 202430 w 386306"/>
                  <a:gd name="connsiteY15" fmla="*/ 613844 h 61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6306" h="613843">
                    <a:moveTo>
                      <a:pt x="202430" y="613844"/>
                    </a:moveTo>
                    <a:cubicBezTo>
                      <a:pt x="202430" y="613844"/>
                      <a:pt x="202430" y="613844"/>
                      <a:pt x="202430" y="613844"/>
                    </a:cubicBezTo>
                    <a:cubicBezTo>
                      <a:pt x="191459" y="613844"/>
                      <a:pt x="183230" y="605616"/>
                      <a:pt x="185973" y="594645"/>
                    </a:cubicBezTo>
                    <a:cubicBezTo>
                      <a:pt x="185973" y="572702"/>
                      <a:pt x="188716" y="553504"/>
                      <a:pt x="191459" y="534304"/>
                    </a:cubicBezTo>
                    <a:cubicBezTo>
                      <a:pt x="199687" y="408137"/>
                      <a:pt x="194202" y="117405"/>
                      <a:pt x="10436" y="35122"/>
                    </a:cubicBezTo>
                    <a:cubicBezTo>
                      <a:pt x="2208" y="32379"/>
                      <a:pt x="-3278" y="21408"/>
                      <a:pt x="2208" y="10436"/>
                    </a:cubicBezTo>
                    <a:cubicBezTo>
                      <a:pt x="4950" y="2208"/>
                      <a:pt x="15922" y="-3278"/>
                      <a:pt x="26893" y="2208"/>
                    </a:cubicBezTo>
                    <a:cubicBezTo>
                      <a:pt x="136604" y="48836"/>
                      <a:pt x="205173" y="169517"/>
                      <a:pt x="224372" y="345054"/>
                    </a:cubicBezTo>
                    <a:cubicBezTo>
                      <a:pt x="227115" y="361510"/>
                      <a:pt x="227115" y="375224"/>
                      <a:pt x="229858" y="391681"/>
                    </a:cubicBezTo>
                    <a:cubicBezTo>
                      <a:pt x="279227" y="268257"/>
                      <a:pt x="353282" y="224372"/>
                      <a:pt x="358768" y="221629"/>
                    </a:cubicBezTo>
                    <a:cubicBezTo>
                      <a:pt x="366996" y="216143"/>
                      <a:pt x="377967" y="218886"/>
                      <a:pt x="383453" y="227115"/>
                    </a:cubicBezTo>
                    <a:cubicBezTo>
                      <a:pt x="388938" y="235343"/>
                      <a:pt x="386196" y="246314"/>
                      <a:pt x="377967" y="251800"/>
                    </a:cubicBezTo>
                    <a:cubicBezTo>
                      <a:pt x="375224" y="251800"/>
                      <a:pt x="262771" y="320369"/>
                      <a:pt x="232601" y="531561"/>
                    </a:cubicBezTo>
                    <a:cubicBezTo>
                      <a:pt x="229858" y="567217"/>
                      <a:pt x="227115" y="591902"/>
                      <a:pt x="227115" y="591902"/>
                    </a:cubicBezTo>
                    <a:cubicBezTo>
                      <a:pt x="218887" y="605616"/>
                      <a:pt x="210658" y="613844"/>
                      <a:pt x="202430" y="613844"/>
                    </a:cubicBezTo>
                    <a:lnTo>
                      <a:pt x="202430" y="613844"/>
                    </a:lnTo>
                    <a:close/>
                  </a:path>
                </a:pathLst>
              </a:custGeom>
              <a:grpFill/>
              <a:ln w="2742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80532611"/>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289442"/>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a:solidFill>
                  <a:schemeClr val="bg1"/>
                </a:solidFill>
              </a:rPr>
              <a:t>03 </a:t>
            </a:r>
            <a:r>
              <a:rPr lang="en-US">
                <a:solidFill>
                  <a:schemeClr val="bg1"/>
                </a:solidFill>
              </a:rPr>
              <a:t>El Despertar </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750815"/>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225678" y="1918123"/>
            <a:ext cx="8957141" cy="4255886"/>
          </a:xfrm>
        </p:spPr>
        <p:txBody>
          <a:bodyPr>
            <a:normAutofit lnSpcReduction="10000"/>
          </a:bodyPr>
          <a:lstStyle/>
          <a:p>
            <a:pPr marL="12700" indent="-12700"/>
            <a:r>
              <a:rPr lang="en-US"/>
              <a:t>Ya no se puede negar la crisis. Se están aplicando medidas bajo una gran presión de tiempo. Esta es la fase más crítica.  Hay que centrarse en los detalles y planificar con claridad. Muchas empresas encuentran el camino de vuelta de la crisis. Para ello, tendrá que tomar algunas decisiones difíciles y tendrá que tomar medidas decisivas para salvar su negocio.</a:t>
            </a:r>
          </a:p>
          <a:p>
            <a:pPr marL="12700" indent="-12700"/>
            <a:r>
              <a:rPr lang="en-US"/>
              <a:t>Sea consciente de todas las personas, partes, interesados, clientes, empleados y proveedores, etc., que se verán afectados y cómo. Tome las medidas necesarias. La mayoría de las veces estas situaciones no se arreglan solas y hay un punto de no retorno. </a:t>
            </a:r>
          </a:p>
          <a:p>
            <a:pPr marL="12700" indent="-12700"/>
            <a:endParaRPr lang="en-US"/>
          </a:p>
          <a:p>
            <a:pPr marL="12700" indent="-12700"/>
            <a:r>
              <a:rPr lang="en-US" b="1">
                <a:solidFill>
                  <a:schemeClr val="bg2"/>
                </a:solidFill>
                <a:highlight>
                  <a:srgbClr val="F16924"/>
                </a:highlight>
              </a:rPr>
              <a:t>VER EL VALOR DEL APOYO EXTERNO MÁS ADELANTE EN ESTE MÓDULO</a:t>
            </a:r>
          </a:p>
        </p:txBody>
      </p:sp>
      <p:grpSp>
        <p:nvGrpSpPr>
          <p:cNvPr id="14" name="Group 13">
            <a:extLst>
              <a:ext uri="{FF2B5EF4-FFF2-40B4-BE49-F238E27FC236}">
                <a16:creationId xmlns:a16="http://schemas.microsoft.com/office/drawing/2014/main" id="{BD421ED6-85B8-736E-1A47-5826FE0DF382}"/>
              </a:ext>
            </a:extLst>
          </p:cNvPr>
          <p:cNvGrpSpPr/>
          <p:nvPr/>
        </p:nvGrpSpPr>
        <p:grpSpPr>
          <a:xfrm>
            <a:off x="444799" y="1912466"/>
            <a:ext cx="1205405" cy="1199810"/>
            <a:chOff x="3917171" y="3851610"/>
            <a:chExt cx="870324" cy="866284"/>
          </a:xfrm>
          <a:solidFill>
            <a:srgbClr val="595959"/>
          </a:solidFill>
        </p:grpSpPr>
        <p:sp>
          <p:nvSpPr>
            <p:cNvPr id="15" name="Freeform 14">
              <a:extLst>
                <a:ext uri="{FF2B5EF4-FFF2-40B4-BE49-F238E27FC236}">
                  <a16:creationId xmlns:a16="http://schemas.microsoft.com/office/drawing/2014/main" id="{006DE1C0-21F7-59F2-AFF3-0D48B6B28A9B}"/>
                </a:ext>
              </a:extLst>
            </p:cNvPr>
            <p:cNvSpPr/>
            <p:nvPr/>
          </p:nvSpPr>
          <p:spPr>
            <a:xfrm>
              <a:off x="4277058" y="4133446"/>
              <a:ext cx="172115" cy="288159"/>
            </a:xfrm>
            <a:custGeom>
              <a:avLst/>
              <a:gdLst>
                <a:gd name="connsiteX0" fmla="*/ 49263 w 172115"/>
                <a:gd name="connsiteY0" fmla="*/ 165308 h 288159"/>
                <a:gd name="connsiteX1" fmla="*/ 8614 w 172115"/>
                <a:gd name="connsiteY1" fmla="*/ 49683 h 288159"/>
                <a:gd name="connsiteX2" fmla="*/ 86300 w 172115"/>
                <a:gd name="connsiteY2" fmla="*/ 0 h 288159"/>
                <a:gd name="connsiteX3" fmla="*/ 93526 w 172115"/>
                <a:gd name="connsiteY3" fmla="*/ 0 h 288159"/>
                <a:gd name="connsiteX4" fmla="*/ 115206 w 172115"/>
                <a:gd name="connsiteY4" fmla="*/ 78589 h 288159"/>
                <a:gd name="connsiteX5" fmla="*/ 172115 w 172115"/>
                <a:gd name="connsiteY5" fmla="*/ 78589 h 288159"/>
                <a:gd name="connsiteX6" fmla="*/ 172115 w 172115"/>
                <a:gd name="connsiteY6" fmla="*/ 85816 h 288159"/>
                <a:gd name="connsiteX7" fmla="*/ 122432 w 172115"/>
                <a:gd name="connsiteY7" fmla="*/ 164405 h 288159"/>
                <a:gd name="connsiteX8" fmla="*/ 114303 w 172115"/>
                <a:gd name="connsiteY8" fmla="*/ 177051 h 288159"/>
                <a:gd name="connsiteX9" fmla="*/ 114303 w 172115"/>
                <a:gd name="connsiteY9" fmla="*/ 288160 h 288159"/>
                <a:gd name="connsiteX10" fmla="*/ 56490 w 172115"/>
                <a:gd name="connsiteY10" fmla="*/ 288160 h 288159"/>
                <a:gd name="connsiteX11" fmla="*/ 56490 w 172115"/>
                <a:gd name="connsiteY11" fmla="*/ 177051 h 288159"/>
                <a:gd name="connsiteX12" fmla="*/ 49263 w 172115"/>
                <a:gd name="connsiteY12" fmla="*/ 165308 h 288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2115" h="288159">
                  <a:moveTo>
                    <a:pt x="49263" y="165308"/>
                  </a:moveTo>
                  <a:cubicBezTo>
                    <a:pt x="5904" y="144531"/>
                    <a:pt x="-12162" y="93043"/>
                    <a:pt x="8614" y="49683"/>
                  </a:cubicBezTo>
                  <a:cubicBezTo>
                    <a:pt x="23067" y="19873"/>
                    <a:pt x="52877" y="0"/>
                    <a:pt x="86300" y="0"/>
                  </a:cubicBezTo>
                  <a:cubicBezTo>
                    <a:pt x="89010" y="0"/>
                    <a:pt x="91720" y="0"/>
                    <a:pt x="93526" y="0"/>
                  </a:cubicBezTo>
                  <a:cubicBezTo>
                    <a:pt x="78170" y="28003"/>
                    <a:pt x="87203" y="63233"/>
                    <a:pt x="115206" y="78589"/>
                  </a:cubicBezTo>
                  <a:cubicBezTo>
                    <a:pt x="133272" y="88526"/>
                    <a:pt x="154952" y="88526"/>
                    <a:pt x="172115" y="78589"/>
                  </a:cubicBezTo>
                  <a:cubicBezTo>
                    <a:pt x="172115" y="81299"/>
                    <a:pt x="172115" y="84009"/>
                    <a:pt x="172115" y="85816"/>
                  </a:cubicBezTo>
                  <a:cubicBezTo>
                    <a:pt x="172115" y="119239"/>
                    <a:pt x="153145" y="149952"/>
                    <a:pt x="122432" y="164405"/>
                  </a:cubicBezTo>
                  <a:cubicBezTo>
                    <a:pt x="117012" y="167114"/>
                    <a:pt x="114303" y="171631"/>
                    <a:pt x="114303" y="177051"/>
                  </a:cubicBezTo>
                  <a:lnTo>
                    <a:pt x="114303" y="288160"/>
                  </a:lnTo>
                  <a:lnTo>
                    <a:pt x="56490" y="288160"/>
                  </a:lnTo>
                  <a:lnTo>
                    <a:pt x="56490" y="177051"/>
                  </a:lnTo>
                  <a:cubicBezTo>
                    <a:pt x="57393" y="172535"/>
                    <a:pt x="54683" y="167114"/>
                    <a:pt x="49263" y="165308"/>
                  </a:cubicBez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16" name="Graphic 2">
              <a:extLst>
                <a:ext uri="{FF2B5EF4-FFF2-40B4-BE49-F238E27FC236}">
                  <a16:creationId xmlns:a16="http://schemas.microsoft.com/office/drawing/2014/main" id="{A6884616-87B8-AB37-05F6-630FDF213F53}"/>
                </a:ext>
              </a:extLst>
            </p:cNvPr>
            <p:cNvGrpSpPr/>
            <p:nvPr/>
          </p:nvGrpSpPr>
          <p:grpSpPr>
            <a:xfrm>
              <a:off x="3917171" y="3851610"/>
              <a:ext cx="870324" cy="866284"/>
              <a:chOff x="3917171" y="3851610"/>
              <a:chExt cx="870324" cy="866284"/>
            </a:xfrm>
            <a:grpFill/>
          </p:grpSpPr>
          <p:sp>
            <p:nvSpPr>
              <p:cNvPr id="17" name="Freeform 16">
                <a:extLst>
                  <a:ext uri="{FF2B5EF4-FFF2-40B4-BE49-F238E27FC236}">
                    <a16:creationId xmlns:a16="http://schemas.microsoft.com/office/drawing/2014/main" id="{25E0CC55-87CF-9AAC-29DD-9BECDD1C1FAE}"/>
                  </a:ext>
                </a:extLst>
              </p:cNvPr>
              <p:cNvSpPr/>
              <p:nvPr/>
            </p:nvSpPr>
            <p:spPr>
              <a:xfrm>
                <a:off x="4425802" y="3860759"/>
                <a:ext cx="46741" cy="84796"/>
              </a:xfrm>
              <a:custGeom>
                <a:avLst/>
                <a:gdLst>
                  <a:gd name="connsiteX0" fmla="*/ 10724 w 46741"/>
                  <a:gd name="connsiteY0" fmla="*/ 83893 h 84796"/>
                  <a:gd name="connsiteX1" fmla="*/ 15241 w 46741"/>
                  <a:gd name="connsiteY1" fmla="*/ 84797 h 84796"/>
                  <a:gd name="connsiteX2" fmla="*/ 28791 w 46741"/>
                  <a:gd name="connsiteY2" fmla="*/ 74860 h 84796"/>
                  <a:gd name="connsiteX3" fmla="*/ 45954 w 46741"/>
                  <a:gd name="connsiteY3" fmla="*/ 18854 h 84796"/>
                  <a:gd name="connsiteX4" fmla="*/ 36017 w 46741"/>
                  <a:gd name="connsiteY4" fmla="*/ 788 h 84796"/>
                  <a:gd name="connsiteX5" fmla="*/ 17951 w 46741"/>
                  <a:gd name="connsiteY5" fmla="*/ 10724 h 84796"/>
                  <a:gd name="connsiteX6" fmla="*/ 17951 w 46741"/>
                  <a:gd name="connsiteY6" fmla="*/ 10724 h 84796"/>
                  <a:gd name="connsiteX7" fmla="*/ 788 w 46741"/>
                  <a:gd name="connsiteY7" fmla="*/ 66730 h 84796"/>
                  <a:gd name="connsiteX8" fmla="*/ 10724 w 46741"/>
                  <a:gd name="connsiteY8" fmla="*/ 83893 h 84796"/>
                  <a:gd name="connsiteX9" fmla="*/ 10724 w 46741"/>
                  <a:gd name="connsiteY9" fmla="*/ 83893 h 8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41" h="84796">
                    <a:moveTo>
                      <a:pt x="10724" y="83893"/>
                    </a:moveTo>
                    <a:cubicBezTo>
                      <a:pt x="11628" y="83893"/>
                      <a:pt x="13434" y="84797"/>
                      <a:pt x="15241" y="84797"/>
                    </a:cubicBezTo>
                    <a:cubicBezTo>
                      <a:pt x="21564" y="84797"/>
                      <a:pt x="26984" y="80280"/>
                      <a:pt x="28791" y="74860"/>
                    </a:cubicBezTo>
                    <a:lnTo>
                      <a:pt x="45954" y="18854"/>
                    </a:lnTo>
                    <a:cubicBezTo>
                      <a:pt x="48664" y="11628"/>
                      <a:pt x="44147" y="3498"/>
                      <a:pt x="36017" y="788"/>
                    </a:cubicBezTo>
                    <a:cubicBezTo>
                      <a:pt x="27888" y="-1922"/>
                      <a:pt x="20661" y="2595"/>
                      <a:pt x="17951" y="10724"/>
                    </a:cubicBezTo>
                    <a:lnTo>
                      <a:pt x="17951" y="10724"/>
                    </a:lnTo>
                    <a:lnTo>
                      <a:pt x="788" y="66730"/>
                    </a:lnTo>
                    <a:cubicBezTo>
                      <a:pt x="-1922" y="73957"/>
                      <a:pt x="2594" y="82087"/>
                      <a:pt x="10724" y="83893"/>
                    </a:cubicBezTo>
                    <a:cubicBezTo>
                      <a:pt x="10724" y="83893"/>
                      <a:pt x="10724" y="83893"/>
                      <a:pt x="10724" y="8389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8" name="Freeform 17">
                <a:extLst>
                  <a:ext uri="{FF2B5EF4-FFF2-40B4-BE49-F238E27FC236}">
                    <a16:creationId xmlns:a16="http://schemas.microsoft.com/office/drawing/2014/main" id="{84FC622A-148C-96F4-C19E-641032889D6B}"/>
                  </a:ext>
                </a:extLst>
              </p:cNvPr>
              <p:cNvSpPr/>
              <p:nvPr/>
            </p:nvSpPr>
            <p:spPr>
              <a:xfrm>
                <a:off x="4523747" y="3889338"/>
                <a:ext cx="57122" cy="80418"/>
              </a:xfrm>
              <a:custGeom>
                <a:avLst/>
                <a:gdLst>
                  <a:gd name="connsiteX0" fmla="*/ 7628 w 57122"/>
                  <a:gd name="connsiteY0" fmla="*/ 78800 h 80418"/>
                  <a:gd name="connsiteX1" fmla="*/ 27501 w 57122"/>
                  <a:gd name="connsiteY1" fmla="*/ 73381 h 80418"/>
                  <a:gd name="connsiteX2" fmla="*/ 55504 w 57122"/>
                  <a:gd name="connsiteY2" fmla="*/ 21891 h 80418"/>
                  <a:gd name="connsiteX3" fmla="*/ 50084 w 57122"/>
                  <a:gd name="connsiteY3" fmla="*/ 2018 h 80418"/>
                  <a:gd name="connsiteX4" fmla="*/ 30211 w 57122"/>
                  <a:gd name="connsiteY4" fmla="*/ 7438 h 80418"/>
                  <a:gd name="connsiteX5" fmla="*/ 2208 w 57122"/>
                  <a:gd name="connsiteY5" fmla="*/ 58927 h 80418"/>
                  <a:gd name="connsiteX6" fmla="*/ 7628 w 57122"/>
                  <a:gd name="connsiteY6" fmla="*/ 78800 h 80418"/>
                  <a:gd name="connsiteX7" fmla="*/ 7628 w 57122"/>
                  <a:gd name="connsiteY7" fmla="*/ 78800 h 8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22" h="80418">
                    <a:moveTo>
                      <a:pt x="7628" y="78800"/>
                    </a:moveTo>
                    <a:cubicBezTo>
                      <a:pt x="14855" y="82414"/>
                      <a:pt x="22985" y="79704"/>
                      <a:pt x="27501" y="73381"/>
                    </a:cubicBezTo>
                    <a:lnTo>
                      <a:pt x="55504" y="21891"/>
                    </a:lnTo>
                    <a:cubicBezTo>
                      <a:pt x="59117" y="14665"/>
                      <a:pt x="56407" y="6535"/>
                      <a:pt x="50084" y="2018"/>
                    </a:cubicBezTo>
                    <a:cubicBezTo>
                      <a:pt x="43761" y="-2499"/>
                      <a:pt x="34728" y="1115"/>
                      <a:pt x="30211" y="7438"/>
                    </a:cubicBezTo>
                    <a:lnTo>
                      <a:pt x="2208" y="58927"/>
                    </a:lnTo>
                    <a:cubicBezTo>
                      <a:pt x="-2308" y="66154"/>
                      <a:pt x="401" y="75187"/>
                      <a:pt x="7628" y="78800"/>
                    </a:cubicBezTo>
                    <a:cubicBezTo>
                      <a:pt x="7628" y="78800"/>
                      <a:pt x="7628" y="78800"/>
                      <a:pt x="7628" y="7880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9" name="Freeform 18">
                <a:extLst>
                  <a:ext uri="{FF2B5EF4-FFF2-40B4-BE49-F238E27FC236}">
                    <a16:creationId xmlns:a16="http://schemas.microsoft.com/office/drawing/2014/main" id="{D09B4478-2C48-55ED-B170-5E43B9E66402}"/>
                  </a:ext>
                </a:extLst>
              </p:cNvPr>
              <p:cNvSpPr/>
              <p:nvPr/>
            </p:nvSpPr>
            <p:spPr>
              <a:xfrm>
                <a:off x="4624471" y="3940190"/>
                <a:ext cx="67640" cy="74921"/>
              </a:xfrm>
              <a:custGeom>
                <a:avLst/>
                <a:gdLst>
                  <a:gd name="connsiteX0" fmla="*/ 15302 w 67640"/>
                  <a:gd name="connsiteY0" fmla="*/ 74921 h 74921"/>
                  <a:gd name="connsiteX1" fmla="*/ 26142 w 67640"/>
                  <a:gd name="connsiteY1" fmla="*/ 69502 h 74921"/>
                  <a:gd name="connsiteX2" fmla="*/ 64081 w 67640"/>
                  <a:gd name="connsiteY2" fmla="*/ 24336 h 74921"/>
                  <a:gd name="connsiteX3" fmla="*/ 62275 w 67640"/>
                  <a:gd name="connsiteY3" fmla="*/ 3559 h 74921"/>
                  <a:gd name="connsiteX4" fmla="*/ 41498 w 67640"/>
                  <a:gd name="connsiteY4" fmla="*/ 5365 h 74921"/>
                  <a:gd name="connsiteX5" fmla="*/ 41498 w 67640"/>
                  <a:gd name="connsiteY5" fmla="*/ 5365 h 74921"/>
                  <a:gd name="connsiteX6" fmla="*/ 3559 w 67640"/>
                  <a:gd name="connsiteY6" fmla="*/ 50532 h 74921"/>
                  <a:gd name="connsiteX7" fmla="*/ 5365 w 67640"/>
                  <a:gd name="connsiteY7" fmla="*/ 71308 h 74921"/>
                  <a:gd name="connsiteX8" fmla="*/ 15302 w 67640"/>
                  <a:gd name="connsiteY8" fmla="*/ 74921 h 7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40" h="74921">
                    <a:moveTo>
                      <a:pt x="15302" y="74921"/>
                    </a:moveTo>
                    <a:cubicBezTo>
                      <a:pt x="19819" y="74921"/>
                      <a:pt x="23432" y="73115"/>
                      <a:pt x="26142" y="69502"/>
                    </a:cubicBezTo>
                    <a:lnTo>
                      <a:pt x="64081" y="24336"/>
                    </a:lnTo>
                    <a:cubicBezTo>
                      <a:pt x="69501" y="18012"/>
                      <a:pt x="68598" y="8979"/>
                      <a:pt x="62275" y="3559"/>
                    </a:cubicBezTo>
                    <a:cubicBezTo>
                      <a:pt x="55952" y="-1861"/>
                      <a:pt x="46918" y="-958"/>
                      <a:pt x="41498" y="5365"/>
                    </a:cubicBezTo>
                    <a:cubicBezTo>
                      <a:pt x="41498" y="5365"/>
                      <a:pt x="41498" y="5365"/>
                      <a:pt x="41498" y="5365"/>
                    </a:cubicBezTo>
                    <a:lnTo>
                      <a:pt x="3559" y="50532"/>
                    </a:lnTo>
                    <a:cubicBezTo>
                      <a:pt x="-1861" y="56855"/>
                      <a:pt x="-958" y="65888"/>
                      <a:pt x="5365" y="71308"/>
                    </a:cubicBezTo>
                    <a:cubicBezTo>
                      <a:pt x="8979" y="74018"/>
                      <a:pt x="11689" y="74921"/>
                      <a:pt x="15302" y="7492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0" name="Freeform 19">
                <a:extLst>
                  <a:ext uri="{FF2B5EF4-FFF2-40B4-BE49-F238E27FC236}">
                    <a16:creationId xmlns:a16="http://schemas.microsoft.com/office/drawing/2014/main" id="{63A59EE3-E24A-8818-8FEF-E342B56A1EB8}"/>
                  </a:ext>
                </a:extLst>
              </p:cNvPr>
              <p:cNvSpPr/>
              <p:nvPr/>
            </p:nvSpPr>
            <p:spPr>
              <a:xfrm>
                <a:off x="4713900" y="4020349"/>
                <a:ext cx="73594" cy="67027"/>
              </a:xfrm>
              <a:custGeom>
                <a:avLst/>
                <a:gdLst>
                  <a:gd name="connsiteX0" fmla="*/ 14399 w 73594"/>
                  <a:gd name="connsiteY0" fmla="*/ 67028 h 67027"/>
                  <a:gd name="connsiteX1" fmla="*/ 23432 w 73594"/>
                  <a:gd name="connsiteY1" fmla="*/ 63414 h 67027"/>
                  <a:gd name="connsiteX2" fmla="*/ 68598 w 73594"/>
                  <a:gd name="connsiteY2" fmla="*/ 25475 h 67027"/>
                  <a:gd name="connsiteX3" fmla="*/ 70405 w 73594"/>
                  <a:gd name="connsiteY3" fmla="*/ 4698 h 67027"/>
                  <a:gd name="connsiteX4" fmla="*/ 50531 w 73594"/>
                  <a:gd name="connsiteY4" fmla="*/ 2892 h 67027"/>
                  <a:gd name="connsiteX5" fmla="*/ 5365 w 73594"/>
                  <a:gd name="connsiteY5" fmla="*/ 40831 h 67027"/>
                  <a:gd name="connsiteX6" fmla="*/ 3559 w 73594"/>
                  <a:gd name="connsiteY6" fmla="*/ 61608 h 67027"/>
                  <a:gd name="connsiteX7" fmla="*/ 14399 w 73594"/>
                  <a:gd name="connsiteY7" fmla="*/ 67028 h 67027"/>
                  <a:gd name="connsiteX8" fmla="*/ 14399 w 73594"/>
                  <a:gd name="connsiteY8" fmla="*/ 67028 h 67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594" h="67027">
                    <a:moveTo>
                      <a:pt x="14399" y="67028"/>
                    </a:moveTo>
                    <a:cubicBezTo>
                      <a:pt x="18012" y="67028"/>
                      <a:pt x="20722" y="66124"/>
                      <a:pt x="23432" y="63414"/>
                    </a:cubicBezTo>
                    <a:lnTo>
                      <a:pt x="68598" y="25475"/>
                    </a:lnTo>
                    <a:cubicBezTo>
                      <a:pt x="74921" y="20055"/>
                      <a:pt x="74921" y="11022"/>
                      <a:pt x="70405" y="4698"/>
                    </a:cubicBezTo>
                    <a:cubicBezTo>
                      <a:pt x="64985" y="-722"/>
                      <a:pt x="56855" y="-1625"/>
                      <a:pt x="50531" y="2892"/>
                    </a:cubicBezTo>
                    <a:lnTo>
                      <a:pt x="5365" y="40831"/>
                    </a:lnTo>
                    <a:cubicBezTo>
                      <a:pt x="-958" y="46251"/>
                      <a:pt x="-1861" y="55285"/>
                      <a:pt x="3559" y="61608"/>
                    </a:cubicBezTo>
                    <a:cubicBezTo>
                      <a:pt x="5365" y="65221"/>
                      <a:pt x="9882" y="67028"/>
                      <a:pt x="14399" y="67028"/>
                    </a:cubicBezTo>
                    <a:lnTo>
                      <a:pt x="14399" y="6702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1" name="Freeform 20">
                <a:extLst>
                  <a:ext uri="{FF2B5EF4-FFF2-40B4-BE49-F238E27FC236}">
                    <a16:creationId xmlns:a16="http://schemas.microsoft.com/office/drawing/2014/main" id="{B59D4274-3590-1583-83E6-95B45C806D23}"/>
                  </a:ext>
                </a:extLst>
              </p:cNvPr>
              <p:cNvSpPr/>
              <p:nvPr/>
            </p:nvSpPr>
            <p:spPr>
              <a:xfrm>
                <a:off x="4011485" y="3940558"/>
                <a:ext cx="67271" cy="74498"/>
              </a:xfrm>
              <a:custGeom>
                <a:avLst/>
                <a:gdLst>
                  <a:gd name="connsiteX0" fmla="*/ 41130 w 67271"/>
                  <a:gd name="connsiteY0" fmla="*/ 69133 h 74498"/>
                  <a:gd name="connsiteX1" fmla="*/ 61906 w 67271"/>
                  <a:gd name="connsiteY1" fmla="*/ 70939 h 74498"/>
                  <a:gd name="connsiteX2" fmla="*/ 63713 w 67271"/>
                  <a:gd name="connsiteY2" fmla="*/ 50163 h 74498"/>
                  <a:gd name="connsiteX3" fmla="*/ 63713 w 67271"/>
                  <a:gd name="connsiteY3" fmla="*/ 50163 h 74498"/>
                  <a:gd name="connsiteX4" fmla="*/ 25773 w 67271"/>
                  <a:gd name="connsiteY4" fmla="*/ 4997 h 74498"/>
                  <a:gd name="connsiteX5" fmla="*/ 4997 w 67271"/>
                  <a:gd name="connsiteY5" fmla="*/ 3190 h 74498"/>
                  <a:gd name="connsiteX6" fmla="*/ 3190 w 67271"/>
                  <a:gd name="connsiteY6" fmla="*/ 23063 h 74498"/>
                  <a:gd name="connsiteX7" fmla="*/ 41130 w 67271"/>
                  <a:gd name="connsiteY7" fmla="*/ 69133 h 74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271" h="74498">
                    <a:moveTo>
                      <a:pt x="41130" y="69133"/>
                    </a:moveTo>
                    <a:cubicBezTo>
                      <a:pt x="46549" y="75456"/>
                      <a:pt x="55583" y="76359"/>
                      <a:pt x="61906" y="70939"/>
                    </a:cubicBezTo>
                    <a:cubicBezTo>
                      <a:pt x="68229" y="65519"/>
                      <a:pt x="69132" y="56486"/>
                      <a:pt x="63713" y="50163"/>
                    </a:cubicBezTo>
                    <a:cubicBezTo>
                      <a:pt x="63713" y="50163"/>
                      <a:pt x="63713" y="50163"/>
                      <a:pt x="63713" y="50163"/>
                    </a:cubicBezTo>
                    <a:lnTo>
                      <a:pt x="25773" y="4997"/>
                    </a:lnTo>
                    <a:cubicBezTo>
                      <a:pt x="20353" y="-1327"/>
                      <a:pt x="11320" y="-1327"/>
                      <a:pt x="4997" y="3190"/>
                    </a:cubicBezTo>
                    <a:cubicBezTo>
                      <a:pt x="-1327" y="8610"/>
                      <a:pt x="-1327" y="17643"/>
                      <a:pt x="3190" y="23063"/>
                    </a:cubicBezTo>
                    <a:lnTo>
                      <a:pt x="41130" y="69133"/>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2" name="Freeform 21">
                <a:extLst>
                  <a:ext uri="{FF2B5EF4-FFF2-40B4-BE49-F238E27FC236}">
                    <a16:creationId xmlns:a16="http://schemas.microsoft.com/office/drawing/2014/main" id="{B2A22498-AD73-AE46-D43A-CDA19F726ED6}"/>
                  </a:ext>
                </a:extLst>
              </p:cNvPr>
              <p:cNvSpPr/>
              <p:nvPr/>
            </p:nvSpPr>
            <p:spPr>
              <a:xfrm>
                <a:off x="4121769" y="3889148"/>
                <a:ext cx="57712" cy="81198"/>
              </a:xfrm>
              <a:custGeom>
                <a:avLst/>
                <a:gdLst>
                  <a:gd name="connsiteX0" fmla="*/ 30211 w 57712"/>
                  <a:gd name="connsiteY0" fmla="*/ 73571 h 81198"/>
                  <a:gd name="connsiteX1" fmla="*/ 50084 w 57712"/>
                  <a:gd name="connsiteY1" fmla="*/ 78990 h 81198"/>
                  <a:gd name="connsiteX2" fmla="*/ 55504 w 57712"/>
                  <a:gd name="connsiteY2" fmla="*/ 59117 h 81198"/>
                  <a:gd name="connsiteX3" fmla="*/ 27501 w 57712"/>
                  <a:gd name="connsiteY3" fmla="*/ 7628 h 81198"/>
                  <a:gd name="connsiteX4" fmla="*/ 7628 w 57712"/>
                  <a:gd name="connsiteY4" fmla="*/ 2208 h 81198"/>
                  <a:gd name="connsiteX5" fmla="*/ 2208 w 57712"/>
                  <a:gd name="connsiteY5" fmla="*/ 22081 h 81198"/>
                  <a:gd name="connsiteX6" fmla="*/ 30211 w 57712"/>
                  <a:gd name="connsiteY6" fmla="*/ 73571 h 8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711" h="81198">
                    <a:moveTo>
                      <a:pt x="30211" y="73571"/>
                    </a:moveTo>
                    <a:cubicBezTo>
                      <a:pt x="33824" y="80797"/>
                      <a:pt x="42858" y="83507"/>
                      <a:pt x="50084" y="78990"/>
                    </a:cubicBezTo>
                    <a:cubicBezTo>
                      <a:pt x="57311" y="74474"/>
                      <a:pt x="60021" y="66344"/>
                      <a:pt x="55504" y="59117"/>
                    </a:cubicBezTo>
                    <a:lnTo>
                      <a:pt x="27501" y="7628"/>
                    </a:lnTo>
                    <a:cubicBezTo>
                      <a:pt x="23888" y="401"/>
                      <a:pt x="14855" y="-2308"/>
                      <a:pt x="7628" y="2208"/>
                    </a:cubicBezTo>
                    <a:cubicBezTo>
                      <a:pt x="401" y="6725"/>
                      <a:pt x="-2308" y="14855"/>
                      <a:pt x="2208" y="22081"/>
                    </a:cubicBezTo>
                    <a:lnTo>
                      <a:pt x="30211" y="73571"/>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3" name="Freeform 22">
                <a:extLst>
                  <a:ext uri="{FF2B5EF4-FFF2-40B4-BE49-F238E27FC236}">
                    <a16:creationId xmlns:a16="http://schemas.microsoft.com/office/drawing/2014/main" id="{738F6CC6-8B27-E691-F9A2-D5989A4C09B2}"/>
                  </a:ext>
                </a:extLst>
              </p:cNvPr>
              <p:cNvSpPr/>
              <p:nvPr/>
            </p:nvSpPr>
            <p:spPr>
              <a:xfrm>
                <a:off x="3917171" y="4023295"/>
                <a:ext cx="73060" cy="64026"/>
              </a:xfrm>
              <a:custGeom>
                <a:avLst/>
                <a:gdLst>
                  <a:gd name="connsiteX0" fmla="*/ 48725 w 73060"/>
                  <a:gd name="connsiteY0" fmla="*/ 60468 h 64026"/>
                  <a:gd name="connsiteX1" fmla="*/ 69501 w 73060"/>
                  <a:gd name="connsiteY1" fmla="*/ 58662 h 64026"/>
                  <a:gd name="connsiteX2" fmla="*/ 67695 w 73060"/>
                  <a:gd name="connsiteY2" fmla="*/ 37885 h 64026"/>
                  <a:gd name="connsiteX3" fmla="*/ 66791 w 73060"/>
                  <a:gd name="connsiteY3" fmla="*/ 36982 h 64026"/>
                  <a:gd name="connsiteX4" fmla="*/ 24335 w 73060"/>
                  <a:gd name="connsiteY4" fmla="*/ 3559 h 64026"/>
                  <a:gd name="connsiteX5" fmla="*/ 3559 w 73060"/>
                  <a:gd name="connsiteY5" fmla="*/ 5365 h 64026"/>
                  <a:gd name="connsiteX6" fmla="*/ 5365 w 73060"/>
                  <a:gd name="connsiteY6" fmla="*/ 26142 h 64026"/>
                  <a:gd name="connsiteX7" fmla="*/ 6269 w 73060"/>
                  <a:gd name="connsiteY7" fmla="*/ 27045 h 64026"/>
                  <a:gd name="connsiteX8" fmla="*/ 48725 w 73060"/>
                  <a:gd name="connsiteY8" fmla="*/ 60468 h 6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060" h="64025">
                    <a:moveTo>
                      <a:pt x="48725" y="60468"/>
                    </a:moveTo>
                    <a:cubicBezTo>
                      <a:pt x="55048" y="65888"/>
                      <a:pt x="64081" y="64984"/>
                      <a:pt x="69501" y="58662"/>
                    </a:cubicBezTo>
                    <a:cubicBezTo>
                      <a:pt x="74921" y="52338"/>
                      <a:pt x="74018" y="43305"/>
                      <a:pt x="67695" y="37885"/>
                    </a:cubicBezTo>
                    <a:cubicBezTo>
                      <a:pt x="67695" y="37885"/>
                      <a:pt x="66791" y="37885"/>
                      <a:pt x="66791" y="36982"/>
                    </a:cubicBezTo>
                    <a:lnTo>
                      <a:pt x="24335" y="3559"/>
                    </a:lnTo>
                    <a:cubicBezTo>
                      <a:pt x="18012" y="-1861"/>
                      <a:pt x="8979" y="-958"/>
                      <a:pt x="3559" y="5365"/>
                    </a:cubicBezTo>
                    <a:cubicBezTo>
                      <a:pt x="-1861" y="11689"/>
                      <a:pt x="-958" y="20722"/>
                      <a:pt x="5365" y="26142"/>
                    </a:cubicBezTo>
                    <a:cubicBezTo>
                      <a:pt x="5365" y="26142"/>
                      <a:pt x="6269" y="26142"/>
                      <a:pt x="6269" y="27045"/>
                    </a:cubicBezTo>
                    <a:lnTo>
                      <a:pt x="48725" y="6046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4" name="Freeform 23">
                <a:extLst>
                  <a:ext uri="{FF2B5EF4-FFF2-40B4-BE49-F238E27FC236}">
                    <a16:creationId xmlns:a16="http://schemas.microsoft.com/office/drawing/2014/main" id="{88530A9B-75DC-55F4-924F-B8C7550B9960}"/>
                  </a:ext>
                </a:extLst>
              </p:cNvPr>
              <p:cNvSpPr/>
              <p:nvPr/>
            </p:nvSpPr>
            <p:spPr>
              <a:xfrm>
                <a:off x="4231016" y="3860245"/>
                <a:ext cx="46020" cy="85310"/>
              </a:xfrm>
              <a:custGeom>
                <a:avLst/>
                <a:gdLst>
                  <a:gd name="connsiteX0" fmla="*/ 17619 w 46020"/>
                  <a:gd name="connsiteY0" fmla="*/ 75374 h 85310"/>
                  <a:gd name="connsiteX1" fmla="*/ 31169 w 46020"/>
                  <a:gd name="connsiteY1" fmla="*/ 85310 h 85310"/>
                  <a:gd name="connsiteX2" fmla="*/ 35686 w 46020"/>
                  <a:gd name="connsiteY2" fmla="*/ 84407 h 85310"/>
                  <a:gd name="connsiteX3" fmla="*/ 45622 w 46020"/>
                  <a:gd name="connsiteY3" fmla="*/ 66341 h 85310"/>
                  <a:gd name="connsiteX4" fmla="*/ 45622 w 46020"/>
                  <a:gd name="connsiteY4" fmla="*/ 66341 h 85310"/>
                  <a:gd name="connsiteX5" fmla="*/ 28459 w 46020"/>
                  <a:gd name="connsiteY5" fmla="*/ 10335 h 85310"/>
                  <a:gd name="connsiteX6" fmla="*/ 10393 w 46020"/>
                  <a:gd name="connsiteY6" fmla="*/ 398 h 85310"/>
                  <a:gd name="connsiteX7" fmla="*/ 456 w 46020"/>
                  <a:gd name="connsiteY7" fmla="*/ 18465 h 85310"/>
                  <a:gd name="connsiteX8" fmla="*/ 17619 w 46020"/>
                  <a:gd name="connsiteY8" fmla="*/ 75374 h 85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020" h="85310">
                    <a:moveTo>
                      <a:pt x="17619" y="75374"/>
                    </a:moveTo>
                    <a:cubicBezTo>
                      <a:pt x="19426" y="81697"/>
                      <a:pt x="24846" y="85310"/>
                      <a:pt x="31169" y="85310"/>
                    </a:cubicBezTo>
                    <a:cubicBezTo>
                      <a:pt x="32976" y="85310"/>
                      <a:pt x="33879" y="85310"/>
                      <a:pt x="35686" y="84407"/>
                    </a:cubicBezTo>
                    <a:cubicBezTo>
                      <a:pt x="42912" y="81697"/>
                      <a:pt x="47429" y="74470"/>
                      <a:pt x="45622" y="66341"/>
                    </a:cubicBezTo>
                    <a:cubicBezTo>
                      <a:pt x="45622" y="66341"/>
                      <a:pt x="45622" y="66341"/>
                      <a:pt x="45622" y="66341"/>
                    </a:cubicBezTo>
                    <a:lnTo>
                      <a:pt x="28459" y="10335"/>
                    </a:lnTo>
                    <a:cubicBezTo>
                      <a:pt x="25749" y="3108"/>
                      <a:pt x="18522" y="-1408"/>
                      <a:pt x="10393" y="398"/>
                    </a:cubicBezTo>
                    <a:cubicBezTo>
                      <a:pt x="2263" y="2205"/>
                      <a:pt x="-1351" y="10335"/>
                      <a:pt x="456" y="18465"/>
                    </a:cubicBezTo>
                    <a:lnTo>
                      <a:pt x="17619" y="75374"/>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9" name="Freeform 28">
                <a:extLst>
                  <a:ext uri="{FF2B5EF4-FFF2-40B4-BE49-F238E27FC236}">
                    <a16:creationId xmlns:a16="http://schemas.microsoft.com/office/drawing/2014/main" id="{695EB752-7DEA-E92A-55F6-AFDDC40BF347}"/>
                  </a:ext>
                </a:extLst>
              </p:cNvPr>
              <p:cNvSpPr/>
              <p:nvPr/>
            </p:nvSpPr>
            <p:spPr>
              <a:xfrm>
                <a:off x="4337161" y="3851610"/>
                <a:ext cx="28906" cy="86718"/>
              </a:xfrm>
              <a:custGeom>
                <a:avLst/>
                <a:gdLst>
                  <a:gd name="connsiteX0" fmla="*/ 14453 w 28906"/>
                  <a:gd name="connsiteY0" fmla="*/ 86719 h 86718"/>
                  <a:gd name="connsiteX1" fmla="*/ 28906 w 28906"/>
                  <a:gd name="connsiteY1" fmla="*/ 72266 h 86718"/>
                  <a:gd name="connsiteX2" fmla="*/ 28906 w 28906"/>
                  <a:gd name="connsiteY2" fmla="*/ 14453 h 86718"/>
                  <a:gd name="connsiteX3" fmla="*/ 14453 w 28906"/>
                  <a:gd name="connsiteY3" fmla="*/ 0 h 86718"/>
                  <a:gd name="connsiteX4" fmla="*/ 0 w 28906"/>
                  <a:gd name="connsiteY4" fmla="*/ 14453 h 86718"/>
                  <a:gd name="connsiteX5" fmla="*/ 0 w 28906"/>
                  <a:gd name="connsiteY5" fmla="*/ 72266 h 86718"/>
                  <a:gd name="connsiteX6" fmla="*/ 14453 w 28906"/>
                  <a:gd name="connsiteY6" fmla="*/ 86719 h 86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05" h="86718">
                    <a:moveTo>
                      <a:pt x="14453" y="86719"/>
                    </a:moveTo>
                    <a:cubicBezTo>
                      <a:pt x="22583" y="86719"/>
                      <a:pt x="28906" y="80395"/>
                      <a:pt x="28906" y="72266"/>
                    </a:cubicBezTo>
                    <a:lnTo>
                      <a:pt x="28906" y="14453"/>
                    </a:lnTo>
                    <a:cubicBezTo>
                      <a:pt x="28906" y="6323"/>
                      <a:pt x="22583" y="0"/>
                      <a:pt x="14453" y="0"/>
                    </a:cubicBezTo>
                    <a:cubicBezTo>
                      <a:pt x="6323" y="0"/>
                      <a:pt x="0" y="6323"/>
                      <a:pt x="0" y="14453"/>
                    </a:cubicBezTo>
                    <a:lnTo>
                      <a:pt x="0" y="72266"/>
                    </a:lnTo>
                    <a:cubicBezTo>
                      <a:pt x="0" y="80395"/>
                      <a:pt x="6323" y="86719"/>
                      <a:pt x="14453" y="8671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0" name="Freeform 29">
                <a:extLst>
                  <a:ext uri="{FF2B5EF4-FFF2-40B4-BE49-F238E27FC236}">
                    <a16:creationId xmlns:a16="http://schemas.microsoft.com/office/drawing/2014/main" id="{C01959B8-6614-0EB5-566F-5ABA996940C5}"/>
                  </a:ext>
                </a:extLst>
              </p:cNvPr>
              <p:cNvSpPr/>
              <p:nvPr/>
            </p:nvSpPr>
            <p:spPr>
              <a:xfrm>
                <a:off x="3918020" y="4108040"/>
                <a:ext cx="245314" cy="306853"/>
              </a:xfrm>
              <a:custGeom>
                <a:avLst/>
                <a:gdLst>
                  <a:gd name="connsiteX0" fmla="*/ 236670 w 245314"/>
                  <a:gd name="connsiteY0" fmla="*/ 279239 h 306853"/>
                  <a:gd name="connsiteX1" fmla="*/ 32520 w 245314"/>
                  <a:gd name="connsiteY1" fmla="*/ 119351 h 306853"/>
                  <a:gd name="connsiteX2" fmla="*/ 126465 w 245314"/>
                  <a:gd name="connsiteY2" fmla="*/ 25406 h 306853"/>
                  <a:gd name="connsiteX3" fmla="*/ 129175 w 245314"/>
                  <a:gd name="connsiteY3" fmla="*/ 5533 h 306853"/>
                  <a:gd name="connsiteX4" fmla="*/ 109302 w 245314"/>
                  <a:gd name="connsiteY4" fmla="*/ 2823 h 306853"/>
                  <a:gd name="connsiteX5" fmla="*/ 2710 w 245314"/>
                  <a:gd name="connsiteY5" fmla="*/ 110318 h 306853"/>
                  <a:gd name="connsiteX6" fmla="*/ 2710 w 245314"/>
                  <a:gd name="connsiteY6" fmla="*/ 128385 h 306853"/>
                  <a:gd name="connsiteX7" fmla="*/ 224927 w 245314"/>
                  <a:gd name="connsiteY7" fmla="*/ 305435 h 306853"/>
                  <a:gd name="connsiteX8" fmla="*/ 243897 w 245314"/>
                  <a:gd name="connsiteY8" fmla="*/ 298209 h 306853"/>
                  <a:gd name="connsiteX9" fmla="*/ 236670 w 245314"/>
                  <a:gd name="connsiteY9" fmla="*/ 279239 h 306853"/>
                  <a:gd name="connsiteX10" fmla="*/ 236670 w 245314"/>
                  <a:gd name="connsiteY10" fmla="*/ 279239 h 30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5314" h="306853">
                    <a:moveTo>
                      <a:pt x="236670" y="279239"/>
                    </a:moveTo>
                    <a:cubicBezTo>
                      <a:pt x="157178" y="243107"/>
                      <a:pt x="86719" y="188004"/>
                      <a:pt x="32520" y="119351"/>
                    </a:cubicBezTo>
                    <a:cubicBezTo>
                      <a:pt x="60522" y="85025"/>
                      <a:pt x="92139" y="53409"/>
                      <a:pt x="126465" y="25406"/>
                    </a:cubicBezTo>
                    <a:cubicBezTo>
                      <a:pt x="132788" y="20889"/>
                      <a:pt x="133692" y="10953"/>
                      <a:pt x="129175" y="5533"/>
                    </a:cubicBezTo>
                    <a:cubicBezTo>
                      <a:pt x="124658" y="-790"/>
                      <a:pt x="114722" y="-1694"/>
                      <a:pt x="109302" y="2823"/>
                    </a:cubicBezTo>
                    <a:cubicBezTo>
                      <a:pt x="69556" y="34439"/>
                      <a:pt x="34326" y="70572"/>
                      <a:pt x="2710" y="110318"/>
                    </a:cubicBezTo>
                    <a:cubicBezTo>
                      <a:pt x="-903" y="115738"/>
                      <a:pt x="-903" y="122965"/>
                      <a:pt x="2710" y="128385"/>
                    </a:cubicBezTo>
                    <a:cubicBezTo>
                      <a:pt x="61426" y="205167"/>
                      <a:pt x="137305" y="265690"/>
                      <a:pt x="224927" y="305435"/>
                    </a:cubicBezTo>
                    <a:cubicBezTo>
                      <a:pt x="232154" y="309049"/>
                      <a:pt x="241187" y="305435"/>
                      <a:pt x="243897" y="298209"/>
                    </a:cubicBezTo>
                    <a:cubicBezTo>
                      <a:pt x="247510" y="290983"/>
                      <a:pt x="243897" y="282852"/>
                      <a:pt x="236670" y="279239"/>
                    </a:cubicBezTo>
                    <a:lnTo>
                      <a:pt x="236670" y="279239"/>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1" name="Freeform 30">
                <a:extLst>
                  <a:ext uri="{FF2B5EF4-FFF2-40B4-BE49-F238E27FC236}">
                    <a16:creationId xmlns:a16="http://schemas.microsoft.com/office/drawing/2014/main" id="{3BE1C44B-F02F-F8D0-37F2-50766C8295E5}"/>
                  </a:ext>
                </a:extLst>
              </p:cNvPr>
              <p:cNvSpPr/>
              <p:nvPr/>
            </p:nvSpPr>
            <p:spPr>
              <a:xfrm>
                <a:off x="4064825" y="3996141"/>
                <a:ext cx="719480" cy="721753"/>
              </a:xfrm>
              <a:custGeom>
                <a:avLst/>
                <a:gdLst>
                  <a:gd name="connsiteX0" fmla="*/ 716770 w 719480"/>
                  <a:gd name="connsiteY0" fmla="*/ 240283 h 721753"/>
                  <a:gd name="connsiteX1" fmla="*/ 716770 w 719480"/>
                  <a:gd name="connsiteY1" fmla="*/ 222217 h 721753"/>
                  <a:gd name="connsiteX2" fmla="*/ 285886 w 719480"/>
                  <a:gd name="connsiteY2" fmla="*/ 0 h 721753"/>
                  <a:gd name="connsiteX3" fmla="*/ 6759 w 719480"/>
                  <a:gd name="connsiteY3" fmla="*/ 83105 h 721753"/>
                  <a:gd name="connsiteX4" fmla="*/ 2243 w 719480"/>
                  <a:gd name="connsiteY4" fmla="*/ 102978 h 721753"/>
                  <a:gd name="connsiteX5" fmla="*/ 22116 w 719480"/>
                  <a:gd name="connsiteY5" fmla="*/ 107495 h 721753"/>
                  <a:gd name="connsiteX6" fmla="*/ 22116 w 719480"/>
                  <a:gd name="connsiteY6" fmla="*/ 107495 h 721753"/>
                  <a:gd name="connsiteX7" fmla="*/ 139548 w 719480"/>
                  <a:gd name="connsiteY7" fmla="*/ 52393 h 721753"/>
                  <a:gd name="connsiteX8" fmla="*/ 106125 w 719480"/>
                  <a:gd name="connsiteY8" fmla="*/ 376685 h 721753"/>
                  <a:gd name="connsiteX9" fmla="*/ 141354 w 719480"/>
                  <a:gd name="connsiteY9" fmla="*/ 411011 h 721753"/>
                  <a:gd name="connsiteX10" fmla="*/ 141354 w 719480"/>
                  <a:gd name="connsiteY10" fmla="*/ 432691 h 721753"/>
                  <a:gd name="connsiteX11" fmla="*/ 97995 w 719480"/>
                  <a:gd name="connsiteY11" fmla="*/ 476050 h 721753"/>
                  <a:gd name="connsiteX12" fmla="*/ 141354 w 719480"/>
                  <a:gd name="connsiteY12" fmla="*/ 519410 h 721753"/>
                  <a:gd name="connsiteX13" fmla="*/ 430417 w 719480"/>
                  <a:gd name="connsiteY13" fmla="*/ 519410 h 721753"/>
                  <a:gd name="connsiteX14" fmla="*/ 444870 w 719480"/>
                  <a:gd name="connsiteY14" fmla="*/ 533863 h 721753"/>
                  <a:gd name="connsiteX15" fmla="*/ 430417 w 719480"/>
                  <a:gd name="connsiteY15" fmla="*/ 548316 h 721753"/>
                  <a:gd name="connsiteX16" fmla="*/ 141354 w 719480"/>
                  <a:gd name="connsiteY16" fmla="*/ 548316 h 721753"/>
                  <a:gd name="connsiteX17" fmla="*/ 126901 w 719480"/>
                  <a:gd name="connsiteY17" fmla="*/ 562769 h 721753"/>
                  <a:gd name="connsiteX18" fmla="*/ 141354 w 719480"/>
                  <a:gd name="connsiteY18" fmla="*/ 577222 h 721753"/>
                  <a:gd name="connsiteX19" fmla="*/ 285886 w 719480"/>
                  <a:gd name="connsiteY19" fmla="*/ 721754 h 721753"/>
                  <a:gd name="connsiteX20" fmla="*/ 430417 w 719480"/>
                  <a:gd name="connsiteY20" fmla="*/ 577222 h 721753"/>
                  <a:gd name="connsiteX21" fmla="*/ 473777 w 719480"/>
                  <a:gd name="connsiteY21" fmla="*/ 533863 h 721753"/>
                  <a:gd name="connsiteX22" fmla="*/ 462937 w 719480"/>
                  <a:gd name="connsiteY22" fmla="*/ 504956 h 721753"/>
                  <a:gd name="connsiteX23" fmla="*/ 460227 w 719480"/>
                  <a:gd name="connsiteY23" fmla="*/ 443531 h 721753"/>
                  <a:gd name="connsiteX24" fmla="*/ 431321 w 719480"/>
                  <a:gd name="connsiteY24" fmla="*/ 432691 h 721753"/>
                  <a:gd name="connsiteX25" fmla="*/ 431321 w 719480"/>
                  <a:gd name="connsiteY25" fmla="*/ 411011 h 721753"/>
                  <a:gd name="connsiteX26" fmla="*/ 518039 w 719480"/>
                  <a:gd name="connsiteY26" fmla="*/ 230347 h 721753"/>
                  <a:gd name="connsiteX27" fmla="*/ 512620 w 719480"/>
                  <a:gd name="connsiteY27" fmla="*/ 180664 h 721753"/>
                  <a:gd name="connsiteX28" fmla="*/ 495456 w 719480"/>
                  <a:gd name="connsiteY28" fmla="*/ 169824 h 721753"/>
                  <a:gd name="connsiteX29" fmla="*/ 484617 w 719480"/>
                  <a:gd name="connsiteY29" fmla="*/ 186987 h 721753"/>
                  <a:gd name="connsiteX30" fmla="*/ 484617 w 719480"/>
                  <a:gd name="connsiteY30" fmla="*/ 186987 h 721753"/>
                  <a:gd name="connsiteX31" fmla="*/ 489133 w 719480"/>
                  <a:gd name="connsiteY31" fmla="*/ 230347 h 721753"/>
                  <a:gd name="connsiteX32" fmla="*/ 407834 w 719480"/>
                  <a:gd name="connsiteY32" fmla="*/ 392041 h 721753"/>
                  <a:gd name="connsiteX33" fmla="*/ 402414 w 719480"/>
                  <a:gd name="connsiteY33" fmla="*/ 403784 h 721753"/>
                  <a:gd name="connsiteX34" fmla="*/ 402414 w 719480"/>
                  <a:gd name="connsiteY34" fmla="*/ 432691 h 721753"/>
                  <a:gd name="connsiteX35" fmla="*/ 344602 w 719480"/>
                  <a:gd name="connsiteY35" fmla="*/ 432691 h 721753"/>
                  <a:gd name="connsiteX36" fmla="*/ 344602 w 719480"/>
                  <a:gd name="connsiteY36" fmla="*/ 330615 h 721753"/>
                  <a:gd name="connsiteX37" fmla="*/ 395188 w 719480"/>
                  <a:gd name="connsiteY37" fmla="*/ 190601 h 721753"/>
                  <a:gd name="connsiteX38" fmla="*/ 383444 w 719480"/>
                  <a:gd name="connsiteY38" fmla="*/ 181567 h 721753"/>
                  <a:gd name="connsiteX39" fmla="*/ 369895 w 719480"/>
                  <a:gd name="connsiteY39" fmla="*/ 188794 h 721753"/>
                  <a:gd name="connsiteX40" fmla="*/ 345505 w 719480"/>
                  <a:gd name="connsiteY40" fmla="*/ 202344 h 721753"/>
                  <a:gd name="connsiteX41" fmla="*/ 316599 w 719480"/>
                  <a:gd name="connsiteY41" fmla="*/ 173437 h 721753"/>
                  <a:gd name="connsiteX42" fmla="*/ 330149 w 719480"/>
                  <a:gd name="connsiteY42" fmla="*/ 149048 h 721753"/>
                  <a:gd name="connsiteX43" fmla="*/ 334665 w 719480"/>
                  <a:gd name="connsiteY43" fmla="*/ 129175 h 721753"/>
                  <a:gd name="connsiteX44" fmla="*/ 327439 w 719480"/>
                  <a:gd name="connsiteY44" fmla="*/ 122852 h 721753"/>
                  <a:gd name="connsiteX45" fmla="*/ 179294 w 719480"/>
                  <a:gd name="connsiteY45" fmla="*/ 190601 h 721753"/>
                  <a:gd name="connsiteX46" fmla="*/ 172067 w 719480"/>
                  <a:gd name="connsiteY46" fmla="*/ 231250 h 721753"/>
                  <a:gd name="connsiteX47" fmla="*/ 229880 w 719480"/>
                  <a:gd name="connsiteY47" fmla="*/ 331519 h 721753"/>
                  <a:gd name="connsiteX48" fmla="*/ 229880 w 719480"/>
                  <a:gd name="connsiteY48" fmla="*/ 433594 h 721753"/>
                  <a:gd name="connsiteX49" fmla="*/ 172067 w 719480"/>
                  <a:gd name="connsiteY49" fmla="*/ 433594 h 721753"/>
                  <a:gd name="connsiteX50" fmla="*/ 172067 w 719480"/>
                  <a:gd name="connsiteY50" fmla="*/ 404688 h 721753"/>
                  <a:gd name="connsiteX51" fmla="*/ 166647 w 719480"/>
                  <a:gd name="connsiteY51" fmla="*/ 392945 h 721753"/>
                  <a:gd name="connsiteX52" fmla="*/ 126901 w 719480"/>
                  <a:gd name="connsiteY52" fmla="*/ 110205 h 721753"/>
                  <a:gd name="connsiteX53" fmla="*/ 409641 w 719480"/>
                  <a:gd name="connsiteY53" fmla="*/ 70459 h 721753"/>
                  <a:gd name="connsiteX54" fmla="*/ 467453 w 719480"/>
                  <a:gd name="connsiteY54" fmla="*/ 138208 h 721753"/>
                  <a:gd name="connsiteX55" fmla="*/ 487326 w 719480"/>
                  <a:gd name="connsiteY55" fmla="*/ 144531 h 721753"/>
                  <a:gd name="connsiteX56" fmla="*/ 493650 w 719480"/>
                  <a:gd name="connsiteY56" fmla="*/ 124658 h 721753"/>
                  <a:gd name="connsiteX57" fmla="*/ 434934 w 719480"/>
                  <a:gd name="connsiteY57" fmla="*/ 53296 h 721753"/>
                  <a:gd name="connsiteX58" fmla="*/ 688767 w 719480"/>
                  <a:gd name="connsiteY58" fmla="*/ 232153 h 721753"/>
                  <a:gd name="connsiteX59" fmla="*/ 484617 w 719480"/>
                  <a:gd name="connsiteY59" fmla="*/ 392041 h 721753"/>
                  <a:gd name="connsiteX60" fmla="*/ 477390 w 719480"/>
                  <a:gd name="connsiteY60" fmla="*/ 411011 h 721753"/>
                  <a:gd name="connsiteX61" fmla="*/ 496360 w 719480"/>
                  <a:gd name="connsiteY61" fmla="*/ 418238 h 721753"/>
                  <a:gd name="connsiteX62" fmla="*/ 716770 w 719480"/>
                  <a:gd name="connsiteY62" fmla="*/ 240283 h 721753"/>
                  <a:gd name="connsiteX63" fmla="*/ 286789 w 719480"/>
                  <a:gd name="connsiteY63" fmla="*/ 693751 h 721753"/>
                  <a:gd name="connsiteX64" fmla="*/ 171164 w 719480"/>
                  <a:gd name="connsiteY64" fmla="*/ 578126 h 721753"/>
                  <a:gd name="connsiteX65" fmla="*/ 402414 w 719480"/>
                  <a:gd name="connsiteY65" fmla="*/ 578126 h 721753"/>
                  <a:gd name="connsiteX66" fmla="*/ 286789 w 719480"/>
                  <a:gd name="connsiteY66" fmla="*/ 693751 h 721753"/>
                  <a:gd name="connsiteX67" fmla="*/ 445774 w 719480"/>
                  <a:gd name="connsiteY67" fmla="*/ 476954 h 721753"/>
                  <a:gd name="connsiteX68" fmla="*/ 431321 w 719480"/>
                  <a:gd name="connsiteY68" fmla="*/ 491407 h 721753"/>
                  <a:gd name="connsiteX69" fmla="*/ 142258 w 719480"/>
                  <a:gd name="connsiteY69" fmla="*/ 491407 h 721753"/>
                  <a:gd name="connsiteX70" fmla="*/ 127805 w 719480"/>
                  <a:gd name="connsiteY70" fmla="*/ 476954 h 721753"/>
                  <a:gd name="connsiteX71" fmla="*/ 142258 w 719480"/>
                  <a:gd name="connsiteY71" fmla="*/ 462500 h 721753"/>
                  <a:gd name="connsiteX72" fmla="*/ 431321 w 719480"/>
                  <a:gd name="connsiteY72" fmla="*/ 462500 h 721753"/>
                  <a:gd name="connsiteX73" fmla="*/ 445774 w 719480"/>
                  <a:gd name="connsiteY73" fmla="*/ 476954 h 721753"/>
                  <a:gd name="connsiteX74" fmla="*/ 249753 w 719480"/>
                  <a:gd name="connsiteY74" fmla="*/ 309839 h 721753"/>
                  <a:gd name="connsiteX75" fmla="*/ 209104 w 719480"/>
                  <a:gd name="connsiteY75" fmla="*/ 194214 h 721753"/>
                  <a:gd name="connsiteX76" fmla="*/ 286789 w 719480"/>
                  <a:gd name="connsiteY76" fmla="*/ 144531 h 721753"/>
                  <a:gd name="connsiteX77" fmla="*/ 294016 w 719480"/>
                  <a:gd name="connsiteY77" fmla="*/ 144531 h 721753"/>
                  <a:gd name="connsiteX78" fmla="*/ 315695 w 719480"/>
                  <a:gd name="connsiteY78" fmla="*/ 223120 h 721753"/>
                  <a:gd name="connsiteX79" fmla="*/ 372605 w 719480"/>
                  <a:gd name="connsiteY79" fmla="*/ 223120 h 721753"/>
                  <a:gd name="connsiteX80" fmla="*/ 372605 w 719480"/>
                  <a:gd name="connsiteY80" fmla="*/ 230347 h 721753"/>
                  <a:gd name="connsiteX81" fmla="*/ 322922 w 719480"/>
                  <a:gd name="connsiteY81" fmla="*/ 308936 h 721753"/>
                  <a:gd name="connsiteX82" fmla="*/ 314792 w 719480"/>
                  <a:gd name="connsiteY82" fmla="*/ 321582 h 721753"/>
                  <a:gd name="connsiteX83" fmla="*/ 314792 w 719480"/>
                  <a:gd name="connsiteY83" fmla="*/ 432691 h 721753"/>
                  <a:gd name="connsiteX84" fmla="*/ 257883 w 719480"/>
                  <a:gd name="connsiteY84" fmla="*/ 432691 h 721753"/>
                  <a:gd name="connsiteX85" fmla="*/ 257883 w 719480"/>
                  <a:gd name="connsiteY85" fmla="*/ 321582 h 721753"/>
                  <a:gd name="connsiteX86" fmla="*/ 249753 w 719480"/>
                  <a:gd name="connsiteY86" fmla="*/ 309839 h 72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719480" h="721753">
                    <a:moveTo>
                      <a:pt x="716770" y="240283"/>
                    </a:moveTo>
                    <a:cubicBezTo>
                      <a:pt x="720384" y="234864"/>
                      <a:pt x="720384" y="227637"/>
                      <a:pt x="716770" y="222217"/>
                    </a:cubicBezTo>
                    <a:cubicBezTo>
                      <a:pt x="607468" y="81299"/>
                      <a:pt x="450290" y="0"/>
                      <a:pt x="285886" y="0"/>
                    </a:cubicBezTo>
                    <a:cubicBezTo>
                      <a:pt x="186520" y="0"/>
                      <a:pt x="89865" y="28906"/>
                      <a:pt x="6759" y="83105"/>
                    </a:cubicBezTo>
                    <a:cubicBezTo>
                      <a:pt x="436" y="87622"/>
                      <a:pt x="-2274" y="96655"/>
                      <a:pt x="2243" y="102978"/>
                    </a:cubicBezTo>
                    <a:cubicBezTo>
                      <a:pt x="6759" y="109302"/>
                      <a:pt x="15793" y="112012"/>
                      <a:pt x="22116" y="107495"/>
                    </a:cubicBezTo>
                    <a:lnTo>
                      <a:pt x="22116" y="107495"/>
                    </a:lnTo>
                    <a:cubicBezTo>
                      <a:pt x="59152" y="84009"/>
                      <a:pt x="97995" y="65942"/>
                      <a:pt x="139548" y="52393"/>
                    </a:cubicBezTo>
                    <a:cubicBezTo>
                      <a:pt x="41086" y="132788"/>
                      <a:pt x="25729" y="278223"/>
                      <a:pt x="106125" y="376685"/>
                    </a:cubicBezTo>
                    <a:cubicBezTo>
                      <a:pt x="116965" y="389331"/>
                      <a:pt x="128708" y="401074"/>
                      <a:pt x="141354" y="411011"/>
                    </a:cubicBezTo>
                    <a:lnTo>
                      <a:pt x="141354" y="432691"/>
                    </a:lnTo>
                    <a:cubicBezTo>
                      <a:pt x="116965" y="432691"/>
                      <a:pt x="97995" y="451661"/>
                      <a:pt x="97995" y="476050"/>
                    </a:cubicBezTo>
                    <a:cubicBezTo>
                      <a:pt x="97995" y="500440"/>
                      <a:pt x="116965" y="519410"/>
                      <a:pt x="141354" y="519410"/>
                    </a:cubicBezTo>
                    <a:lnTo>
                      <a:pt x="430417" y="519410"/>
                    </a:lnTo>
                    <a:cubicBezTo>
                      <a:pt x="438547" y="519410"/>
                      <a:pt x="444870" y="525733"/>
                      <a:pt x="444870" y="533863"/>
                    </a:cubicBezTo>
                    <a:cubicBezTo>
                      <a:pt x="444870" y="541993"/>
                      <a:pt x="438547" y="548316"/>
                      <a:pt x="430417" y="548316"/>
                    </a:cubicBezTo>
                    <a:lnTo>
                      <a:pt x="141354" y="548316"/>
                    </a:lnTo>
                    <a:cubicBezTo>
                      <a:pt x="133224" y="548316"/>
                      <a:pt x="126901" y="554639"/>
                      <a:pt x="126901" y="562769"/>
                    </a:cubicBezTo>
                    <a:cubicBezTo>
                      <a:pt x="126901" y="570899"/>
                      <a:pt x="133224" y="577222"/>
                      <a:pt x="141354" y="577222"/>
                    </a:cubicBezTo>
                    <a:cubicBezTo>
                      <a:pt x="141354" y="656714"/>
                      <a:pt x="206394" y="721754"/>
                      <a:pt x="285886" y="721754"/>
                    </a:cubicBezTo>
                    <a:cubicBezTo>
                      <a:pt x="365378" y="721754"/>
                      <a:pt x="430417" y="656714"/>
                      <a:pt x="430417" y="577222"/>
                    </a:cubicBezTo>
                    <a:cubicBezTo>
                      <a:pt x="453904" y="577222"/>
                      <a:pt x="473777" y="558253"/>
                      <a:pt x="473777" y="533863"/>
                    </a:cubicBezTo>
                    <a:cubicBezTo>
                      <a:pt x="473777" y="523023"/>
                      <a:pt x="470163" y="512183"/>
                      <a:pt x="462937" y="504956"/>
                    </a:cubicBezTo>
                    <a:cubicBezTo>
                      <a:pt x="479197" y="486890"/>
                      <a:pt x="477390" y="459790"/>
                      <a:pt x="460227" y="443531"/>
                    </a:cubicBezTo>
                    <a:cubicBezTo>
                      <a:pt x="452097" y="436304"/>
                      <a:pt x="442160" y="431788"/>
                      <a:pt x="431321" y="432691"/>
                    </a:cubicBezTo>
                    <a:lnTo>
                      <a:pt x="431321" y="411011"/>
                    </a:lnTo>
                    <a:cubicBezTo>
                      <a:pt x="486423" y="367651"/>
                      <a:pt x="518039" y="300806"/>
                      <a:pt x="518039" y="230347"/>
                    </a:cubicBezTo>
                    <a:cubicBezTo>
                      <a:pt x="518039" y="214087"/>
                      <a:pt x="516233" y="196924"/>
                      <a:pt x="512620" y="180664"/>
                    </a:cubicBezTo>
                    <a:cubicBezTo>
                      <a:pt x="510813" y="172534"/>
                      <a:pt x="503586" y="168018"/>
                      <a:pt x="495456" y="169824"/>
                    </a:cubicBezTo>
                    <a:cubicBezTo>
                      <a:pt x="487326" y="171631"/>
                      <a:pt x="482810" y="178858"/>
                      <a:pt x="484617" y="186987"/>
                    </a:cubicBezTo>
                    <a:cubicBezTo>
                      <a:pt x="484617" y="186987"/>
                      <a:pt x="484617" y="186987"/>
                      <a:pt x="484617" y="186987"/>
                    </a:cubicBezTo>
                    <a:cubicBezTo>
                      <a:pt x="487326" y="201441"/>
                      <a:pt x="489133" y="215894"/>
                      <a:pt x="489133" y="230347"/>
                    </a:cubicBezTo>
                    <a:cubicBezTo>
                      <a:pt x="489133" y="293579"/>
                      <a:pt x="459324" y="354102"/>
                      <a:pt x="407834" y="392041"/>
                    </a:cubicBezTo>
                    <a:cubicBezTo>
                      <a:pt x="404221" y="394751"/>
                      <a:pt x="402414" y="399268"/>
                      <a:pt x="402414" y="403784"/>
                    </a:cubicBezTo>
                    <a:lnTo>
                      <a:pt x="402414" y="432691"/>
                    </a:lnTo>
                    <a:lnTo>
                      <a:pt x="344602" y="432691"/>
                    </a:lnTo>
                    <a:lnTo>
                      <a:pt x="344602" y="330615"/>
                    </a:lnTo>
                    <a:cubicBezTo>
                      <a:pt x="393381" y="302613"/>
                      <a:pt x="415061" y="242993"/>
                      <a:pt x="395188" y="190601"/>
                    </a:cubicBezTo>
                    <a:cubicBezTo>
                      <a:pt x="393381" y="185181"/>
                      <a:pt x="388864" y="181567"/>
                      <a:pt x="383444" y="181567"/>
                    </a:cubicBezTo>
                    <a:cubicBezTo>
                      <a:pt x="378025" y="180664"/>
                      <a:pt x="372605" y="183374"/>
                      <a:pt x="369895" y="188794"/>
                    </a:cubicBezTo>
                    <a:cubicBezTo>
                      <a:pt x="364475" y="197827"/>
                      <a:pt x="355442" y="202344"/>
                      <a:pt x="345505" y="202344"/>
                    </a:cubicBezTo>
                    <a:cubicBezTo>
                      <a:pt x="329245" y="202344"/>
                      <a:pt x="316599" y="189698"/>
                      <a:pt x="316599" y="173437"/>
                    </a:cubicBezTo>
                    <a:cubicBezTo>
                      <a:pt x="316599" y="163501"/>
                      <a:pt x="322019" y="154468"/>
                      <a:pt x="330149" y="149048"/>
                    </a:cubicBezTo>
                    <a:cubicBezTo>
                      <a:pt x="337375" y="144531"/>
                      <a:pt x="339182" y="136401"/>
                      <a:pt x="334665" y="129175"/>
                    </a:cubicBezTo>
                    <a:cubicBezTo>
                      <a:pt x="332859" y="126465"/>
                      <a:pt x="330149" y="124658"/>
                      <a:pt x="327439" y="122852"/>
                    </a:cubicBezTo>
                    <a:cubicBezTo>
                      <a:pt x="267819" y="100268"/>
                      <a:pt x="200974" y="130982"/>
                      <a:pt x="179294" y="190601"/>
                    </a:cubicBezTo>
                    <a:cubicBezTo>
                      <a:pt x="174777" y="203247"/>
                      <a:pt x="172067" y="217700"/>
                      <a:pt x="172067" y="231250"/>
                    </a:cubicBezTo>
                    <a:cubicBezTo>
                      <a:pt x="172067" y="272803"/>
                      <a:pt x="194650" y="310742"/>
                      <a:pt x="229880" y="331519"/>
                    </a:cubicBezTo>
                    <a:lnTo>
                      <a:pt x="229880" y="433594"/>
                    </a:lnTo>
                    <a:lnTo>
                      <a:pt x="172067" y="433594"/>
                    </a:lnTo>
                    <a:lnTo>
                      <a:pt x="172067" y="404688"/>
                    </a:lnTo>
                    <a:cubicBezTo>
                      <a:pt x="172067" y="400171"/>
                      <a:pt x="170261" y="395655"/>
                      <a:pt x="166647" y="392945"/>
                    </a:cubicBezTo>
                    <a:cubicBezTo>
                      <a:pt x="77219" y="326099"/>
                      <a:pt x="59152" y="198731"/>
                      <a:pt x="126901" y="110205"/>
                    </a:cubicBezTo>
                    <a:cubicBezTo>
                      <a:pt x="193747" y="20776"/>
                      <a:pt x="321115" y="2710"/>
                      <a:pt x="409641" y="70459"/>
                    </a:cubicBezTo>
                    <a:cubicBezTo>
                      <a:pt x="434031" y="88525"/>
                      <a:pt x="453000" y="112012"/>
                      <a:pt x="467453" y="138208"/>
                    </a:cubicBezTo>
                    <a:cubicBezTo>
                      <a:pt x="471067" y="145435"/>
                      <a:pt x="480100" y="148144"/>
                      <a:pt x="487326" y="144531"/>
                    </a:cubicBezTo>
                    <a:cubicBezTo>
                      <a:pt x="494553" y="140918"/>
                      <a:pt x="497263" y="131885"/>
                      <a:pt x="493650" y="124658"/>
                    </a:cubicBezTo>
                    <a:cubicBezTo>
                      <a:pt x="479197" y="97559"/>
                      <a:pt x="459324" y="73169"/>
                      <a:pt x="434934" y="53296"/>
                    </a:cubicBezTo>
                    <a:cubicBezTo>
                      <a:pt x="535203" y="86719"/>
                      <a:pt x="623728" y="149048"/>
                      <a:pt x="688767" y="232153"/>
                    </a:cubicBezTo>
                    <a:cubicBezTo>
                      <a:pt x="634568" y="300806"/>
                      <a:pt x="564109" y="355908"/>
                      <a:pt x="484617" y="392041"/>
                    </a:cubicBezTo>
                    <a:cubicBezTo>
                      <a:pt x="477390" y="395655"/>
                      <a:pt x="473777" y="403784"/>
                      <a:pt x="477390" y="411011"/>
                    </a:cubicBezTo>
                    <a:cubicBezTo>
                      <a:pt x="481003" y="418238"/>
                      <a:pt x="489133" y="421851"/>
                      <a:pt x="496360" y="418238"/>
                    </a:cubicBezTo>
                    <a:cubicBezTo>
                      <a:pt x="582175" y="377588"/>
                      <a:pt x="658958" y="317066"/>
                      <a:pt x="716770" y="240283"/>
                    </a:cubicBezTo>
                    <a:close/>
                    <a:moveTo>
                      <a:pt x="286789" y="693751"/>
                    </a:moveTo>
                    <a:cubicBezTo>
                      <a:pt x="222653" y="693751"/>
                      <a:pt x="171164" y="642261"/>
                      <a:pt x="171164" y="578126"/>
                    </a:cubicBezTo>
                    <a:lnTo>
                      <a:pt x="402414" y="578126"/>
                    </a:lnTo>
                    <a:cubicBezTo>
                      <a:pt x="402414" y="642261"/>
                      <a:pt x="350022" y="693751"/>
                      <a:pt x="286789" y="693751"/>
                    </a:cubicBezTo>
                    <a:close/>
                    <a:moveTo>
                      <a:pt x="445774" y="476954"/>
                    </a:moveTo>
                    <a:cubicBezTo>
                      <a:pt x="445774" y="485083"/>
                      <a:pt x="439451" y="491407"/>
                      <a:pt x="431321" y="491407"/>
                    </a:cubicBezTo>
                    <a:lnTo>
                      <a:pt x="142258" y="491407"/>
                    </a:lnTo>
                    <a:cubicBezTo>
                      <a:pt x="134128" y="491407"/>
                      <a:pt x="127805" y="485083"/>
                      <a:pt x="127805" y="476954"/>
                    </a:cubicBezTo>
                    <a:cubicBezTo>
                      <a:pt x="127805" y="468824"/>
                      <a:pt x="134128" y="462500"/>
                      <a:pt x="142258" y="462500"/>
                    </a:cubicBezTo>
                    <a:lnTo>
                      <a:pt x="431321" y="462500"/>
                    </a:lnTo>
                    <a:cubicBezTo>
                      <a:pt x="439451" y="462500"/>
                      <a:pt x="445774" y="468824"/>
                      <a:pt x="445774" y="476954"/>
                    </a:cubicBezTo>
                    <a:close/>
                    <a:moveTo>
                      <a:pt x="249753" y="309839"/>
                    </a:moveTo>
                    <a:cubicBezTo>
                      <a:pt x="206394" y="289063"/>
                      <a:pt x="188327" y="237573"/>
                      <a:pt x="209104" y="194214"/>
                    </a:cubicBezTo>
                    <a:cubicBezTo>
                      <a:pt x="223557" y="164404"/>
                      <a:pt x="253366" y="144531"/>
                      <a:pt x="286789" y="144531"/>
                    </a:cubicBezTo>
                    <a:cubicBezTo>
                      <a:pt x="289499" y="144531"/>
                      <a:pt x="292209" y="144531"/>
                      <a:pt x="294016" y="144531"/>
                    </a:cubicBezTo>
                    <a:cubicBezTo>
                      <a:pt x="278659" y="172534"/>
                      <a:pt x="287692" y="207764"/>
                      <a:pt x="315695" y="223120"/>
                    </a:cubicBezTo>
                    <a:cubicBezTo>
                      <a:pt x="333762" y="233057"/>
                      <a:pt x="355442" y="233057"/>
                      <a:pt x="372605" y="223120"/>
                    </a:cubicBezTo>
                    <a:cubicBezTo>
                      <a:pt x="372605" y="225830"/>
                      <a:pt x="372605" y="228540"/>
                      <a:pt x="372605" y="230347"/>
                    </a:cubicBezTo>
                    <a:cubicBezTo>
                      <a:pt x="372605" y="263769"/>
                      <a:pt x="353635" y="294483"/>
                      <a:pt x="322922" y="308936"/>
                    </a:cubicBezTo>
                    <a:cubicBezTo>
                      <a:pt x="317502" y="311646"/>
                      <a:pt x="314792" y="316163"/>
                      <a:pt x="314792" y="321582"/>
                    </a:cubicBezTo>
                    <a:lnTo>
                      <a:pt x="314792" y="432691"/>
                    </a:lnTo>
                    <a:lnTo>
                      <a:pt x="257883" y="432691"/>
                    </a:lnTo>
                    <a:lnTo>
                      <a:pt x="257883" y="321582"/>
                    </a:lnTo>
                    <a:cubicBezTo>
                      <a:pt x="257883" y="317066"/>
                      <a:pt x="254270" y="311646"/>
                      <a:pt x="249753" y="30983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2" name="Freeform 31">
                <a:extLst>
                  <a:ext uri="{FF2B5EF4-FFF2-40B4-BE49-F238E27FC236}">
                    <a16:creationId xmlns:a16="http://schemas.microsoft.com/office/drawing/2014/main" id="{0C4F5F74-0B26-6BB6-3BE0-B7E7AA365A0F}"/>
                  </a:ext>
                </a:extLst>
              </p:cNvPr>
              <p:cNvSpPr/>
              <p:nvPr/>
            </p:nvSpPr>
            <p:spPr>
              <a:xfrm>
                <a:off x="4624471" y="4418950"/>
                <a:ext cx="67640" cy="74866"/>
              </a:xfrm>
              <a:custGeom>
                <a:avLst/>
                <a:gdLst>
                  <a:gd name="connsiteX0" fmla="*/ 26142 w 67640"/>
                  <a:gd name="connsiteY0" fmla="*/ 5365 h 74866"/>
                  <a:gd name="connsiteX1" fmla="*/ 5365 w 67640"/>
                  <a:gd name="connsiteY1" fmla="*/ 3559 h 74866"/>
                  <a:gd name="connsiteX2" fmla="*/ 3559 w 67640"/>
                  <a:gd name="connsiteY2" fmla="*/ 24336 h 74866"/>
                  <a:gd name="connsiteX3" fmla="*/ 41498 w 67640"/>
                  <a:gd name="connsiteY3" fmla="*/ 69502 h 74866"/>
                  <a:gd name="connsiteX4" fmla="*/ 62275 w 67640"/>
                  <a:gd name="connsiteY4" fmla="*/ 71308 h 74866"/>
                  <a:gd name="connsiteX5" fmla="*/ 64081 w 67640"/>
                  <a:gd name="connsiteY5" fmla="*/ 50532 h 74866"/>
                  <a:gd name="connsiteX6" fmla="*/ 26142 w 67640"/>
                  <a:gd name="connsiteY6" fmla="*/ 5365 h 7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640" h="74866">
                    <a:moveTo>
                      <a:pt x="26142" y="5365"/>
                    </a:moveTo>
                    <a:cubicBezTo>
                      <a:pt x="20722" y="-958"/>
                      <a:pt x="11689" y="-1861"/>
                      <a:pt x="5365" y="3559"/>
                    </a:cubicBezTo>
                    <a:cubicBezTo>
                      <a:pt x="-958" y="8979"/>
                      <a:pt x="-1861" y="18012"/>
                      <a:pt x="3559" y="24336"/>
                    </a:cubicBezTo>
                    <a:lnTo>
                      <a:pt x="41498" y="69502"/>
                    </a:lnTo>
                    <a:cubicBezTo>
                      <a:pt x="46918" y="75824"/>
                      <a:pt x="55952" y="76728"/>
                      <a:pt x="62275" y="71308"/>
                    </a:cubicBezTo>
                    <a:cubicBezTo>
                      <a:pt x="68598" y="65888"/>
                      <a:pt x="69501" y="56855"/>
                      <a:pt x="64081" y="50532"/>
                    </a:cubicBezTo>
                    <a:lnTo>
                      <a:pt x="26142" y="536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3" name="Freeform 32">
                <a:extLst>
                  <a:ext uri="{FF2B5EF4-FFF2-40B4-BE49-F238E27FC236}">
                    <a16:creationId xmlns:a16="http://schemas.microsoft.com/office/drawing/2014/main" id="{E07264BE-D76D-0B45-35AD-889033F992E9}"/>
                  </a:ext>
                </a:extLst>
              </p:cNvPr>
              <p:cNvSpPr/>
              <p:nvPr/>
            </p:nvSpPr>
            <p:spPr>
              <a:xfrm>
                <a:off x="4712914" y="4346602"/>
                <a:ext cx="73378" cy="67436"/>
              </a:xfrm>
              <a:custGeom>
                <a:avLst/>
                <a:gdLst>
                  <a:gd name="connsiteX0" fmla="*/ 24418 w 73378"/>
                  <a:gd name="connsiteY0" fmla="*/ 3641 h 67436"/>
                  <a:gd name="connsiteX1" fmla="*/ 3641 w 73378"/>
                  <a:gd name="connsiteY1" fmla="*/ 4545 h 67436"/>
                  <a:gd name="connsiteX2" fmla="*/ 4545 w 73378"/>
                  <a:gd name="connsiteY2" fmla="*/ 25321 h 67436"/>
                  <a:gd name="connsiteX3" fmla="*/ 5448 w 73378"/>
                  <a:gd name="connsiteY3" fmla="*/ 26224 h 67436"/>
                  <a:gd name="connsiteX4" fmla="*/ 50614 w 73378"/>
                  <a:gd name="connsiteY4" fmla="*/ 64164 h 67436"/>
                  <a:gd name="connsiteX5" fmla="*/ 70487 w 73378"/>
                  <a:gd name="connsiteY5" fmla="*/ 62357 h 67436"/>
                  <a:gd name="connsiteX6" fmla="*/ 68680 w 73378"/>
                  <a:gd name="connsiteY6" fmla="*/ 42485 h 67436"/>
                  <a:gd name="connsiteX7" fmla="*/ 24418 w 73378"/>
                  <a:gd name="connsiteY7" fmla="*/ 3641 h 6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378" h="67436">
                    <a:moveTo>
                      <a:pt x="24418" y="3641"/>
                    </a:moveTo>
                    <a:cubicBezTo>
                      <a:pt x="18095" y="-1778"/>
                      <a:pt x="9061" y="-875"/>
                      <a:pt x="3641" y="4545"/>
                    </a:cubicBezTo>
                    <a:cubicBezTo>
                      <a:pt x="-1779" y="10868"/>
                      <a:pt x="-875" y="19901"/>
                      <a:pt x="4545" y="25321"/>
                    </a:cubicBezTo>
                    <a:cubicBezTo>
                      <a:pt x="4545" y="25321"/>
                      <a:pt x="5448" y="25321"/>
                      <a:pt x="5448" y="26224"/>
                    </a:cubicBezTo>
                    <a:lnTo>
                      <a:pt x="50614" y="64164"/>
                    </a:lnTo>
                    <a:cubicBezTo>
                      <a:pt x="56937" y="69584"/>
                      <a:pt x="65971" y="67777"/>
                      <a:pt x="70487" y="62357"/>
                    </a:cubicBezTo>
                    <a:cubicBezTo>
                      <a:pt x="75004" y="56034"/>
                      <a:pt x="74100" y="47904"/>
                      <a:pt x="68680" y="42485"/>
                    </a:cubicBezTo>
                    <a:lnTo>
                      <a:pt x="24418" y="3641"/>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EE107353-6778-6423-9AE8-CE8E111ADE87}"/>
                  </a:ext>
                </a:extLst>
              </p:cNvPr>
              <p:cNvSpPr/>
              <p:nvPr/>
            </p:nvSpPr>
            <p:spPr>
              <a:xfrm>
                <a:off x="4011116" y="4418950"/>
                <a:ext cx="67640" cy="74866"/>
              </a:xfrm>
              <a:custGeom>
                <a:avLst/>
                <a:gdLst>
                  <a:gd name="connsiteX0" fmla="*/ 41498 w 67640"/>
                  <a:gd name="connsiteY0" fmla="*/ 5365 h 74866"/>
                  <a:gd name="connsiteX1" fmla="*/ 3559 w 67640"/>
                  <a:gd name="connsiteY1" fmla="*/ 50532 h 74866"/>
                  <a:gd name="connsiteX2" fmla="*/ 5366 w 67640"/>
                  <a:gd name="connsiteY2" fmla="*/ 71308 h 74866"/>
                  <a:gd name="connsiteX3" fmla="*/ 26142 w 67640"/>
                  <a:gd name="connsiteY3" fmla="*/ 69502 h 74866"/>
                  <a:gd name="connsiteX4" fmla="*/ 64081 w 67640"/>
                  <a:gd name="connsiteY4" fmla="*/ 24336 h 74866"/>
                  <a:gd name="connsiteX5" fmla="*/ 62275 w 67640"/>
                  <a:gd name="connsiteY5" fmla="*/ 3559 h 74866"/>
                  <a:gd name="connsiteX6" fmla="*/ 41498 w 67640"/>
                  <a:gd name="connsiteY6" fmla="*/ 5365 h 74866"/>
                  <a:gd name="connsiteX7" fmla="*/ 41498 w 67640"/>
                  <a:gd name="connsiteY7" fmla="*/ 5365 h 74866"/>
                  <a:gd name="connsiteX8" fmla="*/ 41498 w 67640"/>
                  <a:gd name="connsiteY8" fmla="*/ 5365 h 7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40" h="74866">
                    <a:moveTo>
                      <a:pt x="41498" y="5365"/>
                    </a:moveTo>
                    <a:lnTo>
                      <a:pt x="3559" y="50532"/>
                    </a:lnTo>
                    <a:cubicBezTo>
                      <a:pt x="-1861" y="56855"/>
                      <a:pt x="-958" y="65888"/>
                      <a:pt x="5366" y="71308"/>
                    </a:cubicBezTo>
                    <a:cubicBezTo>
                      <a:pt x="11689" y="76728"/>
                      <a:pt x="20722" y="75824"/>
                      <a:pt x="26142" y="69502"/>
                    </a:cubicBezTo>
                    <a:lnTo>
                      <a:pt x="64081" y="24336"/>
                    </a:lnTo>
                    <a:cubicBezTo>
                      <a:pt x="69501" y="18012"/>
                      <a:pt x="68598" y="8979"/>
                      <a:pt x="62275" y="3559"/>
                    </a:cubicBezTo>
                    <a:cubicBezTo>
                      <a:pt x="55951" y="-1861"/>
                      <a:pt x="46918" y="-958"/>
                      <a:pt x="41498" y="5365"/>
                    </a:cubicBezTo>
                    <a:cubicBezTo>
                      <a:pt x="41498" y="5365"/>
                      <a:pt x="41498" y="5365"/>
                      <a:pt x="41498" y="5365"/>
                    </a:cubicBezTo>
                    <a:lnTo>
                      <a:pt x="41498" y="536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5" name="Freeform 34">
                <a:extLst>
                  <a:ext uri="{FF2B5EF4-FFF2-40B4-BE49-F238E27FC236}">
                    <a16:creationId xmlns:a16="http://schemas.microsoft.com/office/drawing/2014/main" id="{45C9F13C-FAC1-2BF7-FAC7-DBA7266A8C26}"/>
                  </a:ext>
                </a:extLst>
              </p:cNvPr>
              <p:cNvSpPr/>
              <p:nvPr/>
            </p:nvSpPr>
            <p:spPr>
              <a:xfrm>
                <a:off x="3917317" y="4347034"/>
                <a:ext cx="71863" cy="62627"/>
              </a:xfrm>
              <a:custGeom>
                <a:avLst/>
                <a:gdLst>
                  <a:gd name="connsiteX0" fmla="*/ 48578 w 71863"/>
                  <a:gd name="connsiteY0" fmla="*/ 3209 h 62627"/>
                  <a:gd name="connsiteX1" fmla="*/ 6122 w 71863"/>
                  <a:gd name="connsiteY1" fmla="*/ 36632 h 62627"/>
                  <a:gd name="connsiteX2" fmla="*/ 2509 w 71863"/>
                  <a:gd name="connsiteY2" fmla="*/ 56505 h 62627"/>
                  <a:gd name="connsiteX3" fmla="*/ 22382 w 71863"/>
                  <a:gd name="connsiteY3" fmla="*/ 60119 h 62627"/>
                  <a:gd name="connsiteX4" fmla="*/ 23285 w 71863"/>
                  <a:gd name="connsiteY4" fmla="*/ 59215 h 62627"/>
                  <a:gd name="connsiteX5" fmla="*/ 65741 w 71863"/>
                  <a:gd name="connsiteY5" fmla="*/ 25792 h 62627"/>
                  <a:gd name="connsiteX6" fmla="*/ 69355 w 71863"/>
                  <a:gd name="connsiteY6" fmla="*/ 5919 h 62627"/>
                  <a:gd name="connsiteX7" fmla="*/ 48578 w 71863"/>
                  <a:gd name="connsiteY7" fmla="*/ 3209 h 62627"/>
                  <a:gd name="connsiteX8" fmla="*/ 48578 w 71863"/>
                  <a:gd name="connsiteY8" fmla="*/ 3209 h 62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63" h="62627">
                    <a:moveTo>
                      <a:pt x="48578" y="3209"/>
                    </a:moveTo>
                    <a:lnTo>
                      <a:pt x="6122" y="36632"/>
                    </a:lnTo>
                    <a:cubicBezTo>
                      <a:pt x="-201" y="41149"/>
                      <a:pt x="-2008" y="50182"/>
                      <a:pt x="2509" y="56505"/>
                    </a:cubicBezTo>
                    <a:cubicBezTo>
                      <a:pt x="7026" y="62829"/>
                      <a:pt x="16059" y="64635"/>
                      <a:pt x="22382" y="60119"/>
                    </a:cubicBezTo>
                    <a:cubicBezTo>
                      <a:pt x="22382" y="60119"/>
                      <a:pt x="23285" y="60119"/>
                      <a:pt x="23285" y="59215"/>
                    </a:cubicBezTo>
                    <a:lnTo>
                      <a:pt x="65741" y="25792"/>
                    </a:lnTo>
                    <a:cubicBezTo>
                      <a:pt x="72065" y="21275"/>
                      <a:pt x="73871" y="12242"/>
                      <a:pt x="69355" y="5919"/>
                    </a:cubicBezTo>
                    <a:cubicBezTo>
                      <a:pt x="64838" y="-404"/>
                      <a:pt x="55805" y="-2211"/>
                      <a:pt x="48578" y="3209"/>
                    </a:cubicBezTo>
                    <a:cubicBezTo>
                      <a:pt x="49482" y="3209"/>
                      <a:pt x="49482" y="3209"/>
                      <a:pt x="48578" y="32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262337312"/>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C33FB1A-88BC-51CB-23A3-197749DAD006}"/>
              </a:ext>
            </a:extLst>
          </p:cNvPr>
          <p:cNvSpPr/>
          <p:nvPr/>
        </p:nvSpPr>
        <p:spPr>
          <a:xfrm>
            <a:off x="0" y="0"/>
            <a:ext cx="12191999" cy="250681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57945C2B-E733-85D4-147B-D61F510FAFE2}"/>
              </a:ext>
            </a:extLst>
          </p:cNvPr>
          <p:cNvSpPr>
            <a:spLocks noGrp="1"/>
          </p:cNvSpPr>
          <p:nvPr>
            <p:ph type="body" sz="quarter" idx="18"/>
          </p:nvPr>
        </p:nvSpPr>
        <p:spPr>
          <a:xfrm>
            <a:off x="3976576" y="229133"/>
            <a:ext cx="7899737" cy="3275230"/>
          </a:xfrm>
        </p:spPr>
        <p:txBody>
          <a:bodyPr>
            <a:normAutofit/>
          </a:bodyPr>
          <a:lstStyle/>
          <a:p>
            <a:pPr marL="0" lvl="0" indent="0" algn="just" defTabSz="1087636">
              <a:lnSpc>
                <a:spcPts val="2240"/>
              </a:lnSpc>
              <a:spcBef>
                <a:spcPct val="0"/>
              </a:spcBef>
              <a:defRPr/>
            </a:pPr>
            <a:r>
              <a:rPr lang="en-GB" sz="2000">
                <a:solidFill>
                  <a:schemeClr val="bg1"/>
                </a:solidFill>
                <a:ea typeface="Open Sans Light" panose="020B0306030504020204" pitchFamily="34" charset="0"/>
                <a:cs typeface="Open Sans Light" panose="020B0306030504020204" pitchFamily="34" charset="0"/>
              </a:rPr>
              <a:t>Si se pregunta a la dirección de la PYME sobre las causas de la crisis, las personas que actúan suelen llegar a atribuciones de las causas completamente diferentes a las de los interesados externos. Mientras que la dirección tiende naturalmente a atribuir la crisis a factores externos y ve pocos errores a nivel interno, la visión externa de los consultores suele ser contradictoria.  Una visión objetiva desde el exterior es especialmente útil en una crisis.</a:t>
            </a:r>
            <a:endParaRPr lang="en-GB" sz="2000">
              <a:solidFill>
                <a:prstClr val="black"/>
              </a:solidFill>
              <a:ea typeface="Open Sans Light" panose="020B0306030504020204" pitchFamily="34" charset="0"/>
              <a:cs typeface="Open Sans Light" panose="020B0306030504020204" pitchFamily="34" charset="0"/>
            </a:endParaRPr>
          </a:p>
          <a:p>
            <a:endParaRPr lang="en-US"/>
          </a:p>
        </p:txBody>
      </p:sp>
      <p:sp>
        <p:nvSpPr>
          <p:cNvPr id="33" name="Textplatzhalter 32">
            <a:extLst>
              <a:ext uri="{FF2B5EF4-FFF2-40B4-BE49-F238E27FC236}">
                <a16:creationId xmlns:a16="http://schemas.microsoft.com/office/drawing/2014/main" id="{FCDA0349-4ACF-42A2-9A08-4FD30F57369C}"/>
              </a:ext>
            </a:extLst>
          </p:cNvPr>
          <p:cNvSpPr>
            <a:spLocks noGrp="1"/>
          </p:cNvSpPr>
          <p:nvPr>
            <p:ph type="body" sz="quarter" idx="16"/>
          </p:nvPr>
        </p:nvSpPr>
        <p:spPr>
          <a:xfrm>
            <a:off x="315685" y="382772"/>
            <a:ext cx="3660891" cy="2126512"/>
          </a:xfrm>
        </p:spPr>
        <p:txBody>
          <a:bodyPr>
            <a:noAutofit/>
          </a:bodyPr>
          <a:lstStyle/>
          <a:p>
            <a:pPr>
              <a:lnSpc>
                <a:spcPts val="3240"/>
              </a:lnSpc>
            </a:pPr>
            <a:r>
              <a:rPr lang="en-US" sz="2800">
                <a:solidFill>
                  <a:schemeClr val="bg1"/>
                </a:solidFill>
              </a:rPr>
              <a:t>Comprender el valor y el impacto de una visión externa objetiva en una crisis</a:t>
            </a:r>
          </a:p>
        </p:txBody>
      </p:sp>
      <p:graphicFrame>
        <p:nvGraphicFramePr>
          <p:cNvPr id="8" name="object 22">
            <a:extLst>
              <a:ext uri="{FF2B5EF4-FFF2-40B4-BE49-F238E27FC236}">
                <a16:creationId xmlns:a16="http://schemas.microsoft.com/office/drawing/2014/main" id="{C4F54718-0B00-2BDF-7E22-A8C609182361}"/>
              </a:ext>
            </a:extLst>
          </p:cNvPr>
          <p:cNvGraphicFramePr>
            <a:graphicFrameLocks noGrp="1"/>
          </p:cNvGraphicFramePr>
          <p:nvPr>
            <p:extLst>
              <p:ext uri="{D42A27DB-BD31-4B8C-83A1-F6EECF244321}">
                <p14:modId xmlns:p14="http://schemas.microsoft.com/office/powerpoint/2010/main" val="134572915"/>
              </p:ext>
            </p:extLst>
          </p:nvPr>
        </p:nvGraphicFramePr>
        <p:xfrm>
          <a:off x="315685" y="2451911"/>
          <a:ext cx="11560628" cy="3793611"/>
        </p:xfrm>
        <a:graphic>
          <a:graphicData uri="http://schemas.openxmlformats.org/drawingml/2006/table">
            <a:tbl>
              <a:tblPr firstRow="1" bandRow="1">
                <a:tableStyleId>{2D5ABB26-0587-4C30-8999-92F81FD0307C}</a:tableStyleId>
              </a:tblPr>
              <a:tblGrid>
                <a:gridCol w="4082377">
                  <a:extLst>
                    <a:ext uri="{9D8B030D-6E8A-4147-A177-3AD203B41FA5}">
                      <a16:colId xmlns:a16="http://schemas.microsoft.com/office/drawing/2014/main" val="20000"/>
                    </a:ext>
                  </a:extLst>
                </a:gridCol>
                <a:gridCol w="3024156">
                  <a:extLst>
                    <a:ext uri="{9D8B030D-6E8A-4147-A177-3AD203B41FA5}">
                      <a16:colId xmlns:a16="http://schemas.microsoft.com/office/drawing/2014/main" val="20001"/>
                    </a:ext>
                  </a:extLst>
                </a:gridCol>
                <a:gridCol w="4454095">
                  <a:extLst>
                    <a:ext uri="{9D8B030D-6E8A-4147-A177-3AD203B41FA5}">
                      <a16:colId xmlns:a16="http://schemas.microsoft.com/office/drawing/2014/main" val="20002"/>
                    </a:ext>
                  </a:extLst>
                </a:gridCol>
              </a:tblGrid>
              <a:tr h="379968">
                <a:tc>
                  <a:txBody>
                    <a:bodyPr/>
                    <a:lstStyle/>
                    <a:p>
                      <a:pPr marL="91440" algn="ctr">
                        <a:lnSpc>
                          <a:spcPct val="100000"/>
                        </a:lnSpc>
                        <a:spcBef>
                          <a:spcPts val="1145"/>
                        </a:spcBef>
                      </a:pPr>
                      <a:r>
                        <a:rPr lang="en-GB" sz="1800" b="1">
                          <a:solidFill>
                            <a:schemeClr val="bg1"/>
                          </a:solidFill>
                          <a:latin typeface="+mn-lt"/>
                          <a:cs typeface="Arial"/>
                        </a:rPr>
                        <a:t>FACTORES EXTERNOS</a:t>
                      </a:r>
                      <a:endParaRPr lang="en-GB" sz="1800">
                        <a:solidFill>
                          <a:schemeClr val="bg1"/>
                        </a:solidFill>
                        <a:latin typeface="+mn-lt"/>
                        <a:cs typeface="Arial"/>
                      </a:endParaRPr>
                    </a:p>
                  </a:txBody>
                  <a:tcPr marL="0" marR="0" marT="145415" marB="0" anchor="ctr">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B41F7A"/>
                      </a:solidFill>
                      <a:prstDash val="solid"/>
                      <a:round/>
                      <a:headEnd type="none" w="med" len="med"/>
                      <a:tailEnd type="none" w="med" len="med"/>
                    </a:lnB>
                    <a:solidFill>
                      <a:srgbClr val="F16924"/>
                    </a:solidFill>
                  </a:tcPr>
                </a:tc>
                <a:tc>
                  <a:txBody>
                    <a:bodyPr/>
                    <a:lstStyle/>
                    <a:p>
                      <a:pPr marL="146050" algn="ctr">
                        <a:lnSpc>
                          <a:spcPct val="100000"/>
                        </a:lnSpc>
                        <a:spcBef>
                          <a:spcPts val="840"/>
                        </a:spcBef>
                      </a:pPr>
                      <a:r>
                        <a:rPr lang="en-GB" sz="1800" b="1" spc="-10">
                          <a:solidFill>
                            <a:schemeClr val="bg1"/>
                          </a:solidFill>
                          <a:latin typeface="+mn-lt"/>
                          <a:cs typeface="Arial" panose="020B0604020202020204" pitchFamily="34" charset="0"/>
                        </a:rPr>
                        <a:t>PERCEPCIONES</a:t>
                      </a:r>
                      <a:endParaRPr lang="en-GB" sz="1800">
                        <a:solidFill>
                          <a:schemeClr val="bg1"/>
                        </a:solidFill>
                        <a:latin typeface="+mn-lt"/>
                        <a:cs typeface="Arial" panose="020B0604020202020204" pitchFamily="34" charset="0"/>
                      </a:endParaRPr>
                    </a:p>
                  </a:txBody>
                  <a:tcPr marL="0" marR="0" marT="106680" marB="0" anchor="ctr">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B41F7A"/>
                      </a:solidFill>
                      <a:prstDash val="solid"/>
                      <a:round/>
                      <a:headEnd type="none" w="med" len="med"/>
                      <a:tailEnd type="none" w="med" len="med"/>
                    </a:lnB>
                    <a:solidFill>
                      <a:srgbClr val="F16924"/>
                    </a:solidFill>
                  </a:tcPr>
                </a:tc>
                <a:tc>
                  <a:txBody>
                    <a:bodyPr/>
                    <a:lstStyle/>
                    <a:p>
                      <a:pPr marL="106680" algn="ctr">
                        <a:lnSpc>
                          <a:spcPct val="100000"/>
                        </a:lnSpc>
                        <a:spcBef>
                          <a:spcPts val="1155"/>
                        </a:spcBef>
                      </a:pPr>
                      <a:r>
                        <a:rPr lang="en-GB" sz="1800" b="1" spc="-5">
                          <a:solidFill>
                            <a:schemeClr val="bg1"/>
                          </a:solidFill>
                          <a:latin typeface="+mn-lt"/>
                          <a:cs typeface="Arial"/>
                        </a:rPr>
                        <a:t>FACTORES INTERNOS</a:t>
                      </a:r>
                      <a:endParaRPr lang="en-GB" sz="1800">
                        <a:solidFill>
                          <a:schemeClr val="bg1"/>
                        </a:solidFill>
                        <a:latin typeface="+mn-lt"/>
                        <a:cs typeface="Arial"/>
                      </a:endParaRPr>
                    </a:p>
                  </a:txBody>
                  <a:tcPr marL="0" marR="0" marT="146685" marB="0" anchor="ctr">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rgbClr val="B41F7A"/>
                      </a:solidFill>
                      <a:prstDash val="solid"/>
                      <a:round/>
                      <a:headEnd type="none" w="med" len="med"/>
                      <a:tailEnd type="none" w="med" len="med"/>
                    </a:lnB>
                    <a:solidFill>
                      <a:srgbClr val="F16924"/>
                    </a:solidFill>
                  </a:tcPr>
                </a:tc>
                <a:extLst>
                  <a:ext uri="{0D108BD9-81ED-4DB2-BD59-A6C34878D82A}">
                    <a16:rowId xmlns:a16="http://schemas.microsoft.com/office/drawing/2014/main" val="10000"/>
                  </a:ext>
                </a:extLst>
              </a:tr>
              <a:tr h="342499">
                <a:tc>
                  <a:txBody>
                    <a:bodyPr/>
                    <a:lstStyle/>
                    <a:p>
                      <a:pPr marL="91440" marR="480695" algn="ctr">
                        <a:lnSpc>
                          <a:spcPct val="100000"/>
                        </a:lnSpc>
                        <a:spcBef>
                          <a:spcPts val="414"/>
                        </a:spcBef>
                      </a:pPr>
                      <a:r>
                        <a:rPr lang="en-GB" sz="1800">
                          <a:solidFill>
                            <a:srgbClr val="595959"/>
                          </a:solidFill>
                          <a:latin typeface="+mn-lt"/>
                          <a:cs typeface="Arial"/>
                        </a:rPr>
                        <a:t>Mercados en contracción/saturación</a:t>
                      </a:r>
                    </a:p>
                  </a:txBody>
                  <a:tcPr marL="0" marR="0" marT="52704"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rowSpan="8">
                  <a:txBody>
                    <a:bodyPr/>
                    <a:lstStyle/>
                    <a:p>
                      <a:pPr algn="ctr">
                        <a:lnSpc>
                          <a:spcPct val="100000"/>
                        </a:lnSpc>
                      </a:pPr>
                      <a:endParaRPr lang="en-GB" sz="1800" baseline="2314">
                        <a:solidFill>
                          <a:srgbClr val="595959"/>
                        </a:solidFill>
                        <a:latin typeface="+mn-lt"/>
                        <a:cs typeface="Arial"/>
                      </a:endParaRPr>
                    </a:p>
                  </a:txBody>
                  <a:tcPr marL="0" marR="0" marT="0" marB="0">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noFill/>
                  </a:tcPr>
                </a:tc>
                <a:tc>
                  <a:txBody>
                    <a:bodyPr/>
                    <a:lstStyle/>
                    <a:p>
                      <a:pPr marL="106680" algn="ctr">
                        <a:lnSpc>
                          <a:spcPct val="100000"/>
                        </a:lnSpc>
                        <a:spcBef>
                          <a:spcPts val="835"/>
                        </a:spcBef>
                      </a:pPr>
                      <a:r>
                        <a:rPr lang="en-GB" sz="1800" spc="-5">
                          <a:solidFill>
                            <a:srgbClr val="595959"/>
                          </a:solidFill>
                          <a:latin typeface="+mn-lt"/>
                          <a:cs typeface="Arial"/>
                        </a:rPr>
                        <a:t>Déficit de estrategia</a:t>
                      </a:r>
                      <a:endParaRPr lang="en-GB" sz="1800">
                        <a:solidFill>
                          <a:srgbClr val="595959"/>
                        </a:solidFill>
                        <a:latin typeface="+mn-lt"/>
                        <a:cs typeface="Arial"/>
                      </a:endParaRPr>
                    </a:p>
                  </a:txBody>
                  <a:tcPr marL="0" marR="0" marT="10604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21294">
                <a:tc>
                  <a:txBody>
                    <a:bodyPr/>
                    <a:lstStyle/>
                    <a:p>
                      <a:pPr algn="ctr"/>
                      <a:r>
                        <a:rPr lang="en-GB" sz="1800">
                          <a:solidFill>
                            <a:srgbClr val="595959"/>
                          </a:solidFill>
                          <a:latin typeface="+mn-lt"/>
                          <a:cs typeface="Arial"/>
                        </a:rPr>
                        <a:t>  Digitalización</a:t>
                      </a:r>
                      <a:endParaRPr lang="en-GB" sz="1800">
                        <a:solidFill>
                          <a:srgbClr val="595959"/>
                        </a:solidFill>
                        <a:latin typeface="+mn-lt"/>
                      </a:endParaRPr>
                    </a:p>
                  </a:txBody>
                  <a:tcPr marL="0" marR="0" marT="11303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tcPr>
                </a:tc>
                <a:tc>
                  <a:txBody>
                    <a:bodyPr/>
                    <a:lstStyle/>
                    <a:p>
                      <a:pPr marL="15875" marR="678815" indent="0" algn="ctr">
                        <a:lnSpc>
                          <a:spcPct val="100000"/>
                        </a:lnSpc>
                        <a:spcBef>
                          <a:spcPts val="320"/>
                        </a:spcBef>
                      </a:pPr>
                      <a:r>
                        <a:rPr lang="en-GB" sz="1800">
                          <a:solidFill>
                            <a:srgbClr val="595959"/>
                          </a:solidFill>
                          <a:latin typeface="+mn-lt"/>
                          <a:cs typeface="Arial"/>
                        </a:rPr>
                        <a:t>Tecnología/productos obsoletos</a:t>
                      </a:r>
                    </a:p>
                  </a:txBody>
                  <a:tcPr marL="0" marR="0" marT="4064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60796">
                <a:tc>
                  <a:txBody>
                    <a:bodyPr/>
                    <a:lstStyle/>
                    <a:p>
                      <a:pPr algn="ctr">
                        <a:lnSpc>
                          <a:spcPct val="100000"/>
                        </a:lnSpc>
                        <a:spcBef>
                          <a:spcPts val="55"/>
                        </a:spcBef>
                      </a:pPr>
                      <a:r>
                        <a:rPr lang="en-GB" sz="1800">
                          <a:solidFill>
                            <a:srgbClr val="595959"/>
                          </a:solidFill>
                          <a:latin typeface="+mn-lt"/>
                          <a:cs typeface="Arial"/>
                        </a:rPr>
                        <a:t>  Cambios en la normativa</a:t>
                      </a:r>
                    </a:p>
                  </a:txBody>
                  <a:tcPr marL="0" marR="0" marT="698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gn="ctr">
                        <a:lnSpc>
                          <a:spcPct val="100000"/>
                        </a:lnSpc>
                        <a:spcBef>
                          <a:spcPts val="994"/>
                        </a:spcBef>
                      </a:pPr>
                      <a:r>
                        <a:rPr lang="en-GB" sz="1800">
                          <a:solidFill>
                            <a:srgbClr val="595959"/>
                          </a:solidFill>
                          <a:latin typeface="+mn-lt"/>
                          <a:cs typeface="Arial"/>
                        </a:rPr>
                        <a:t>Falta de eficacia operativa</a:t>
                      </a:r>
                    </a:p>
                  </a:txBody>
                  <a:tcPr marL="0" marR="0" marT="126364"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97564">
                <a:tc>
                  <a:txBody>
                    <a:bodyPr/>
                    <a:lstStyle/>
                    <a:p>
                      <a:pPr algn="ctr"/>
                      <a:r>
                        <a:rPr lang="en-GB" sz="1800">
                          <a:solidFill>
                            <a:srgbClr val="595959"/>
                          </a:solidFill>
                          <a:latin typeface="+mn-lt"/>
                          <a:cs typeface="Arial"/>
                        </a:rPr>
                        <a:t>  Saltos tecnológicos</a:t>
                      </a:r>
                      <a:endParaRPr lang="en-GB" sz="1800">
                        <a:solidFill>
                          <a:srgbClr val="595959"/>
                        </a:solidFill>
                        <a:latin typeface="+mn-lt"/>
                      </a:endParaRPr>
                    </a:p>
                  </a:txBody>
                  <a:tcPr marL="0" marR="0" marT="11366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tcPr>
                </a:tc>
                <a:tc>
                  <a:txBody>
                    <a:bodyPr/>
                    <a:lstStyle/>
                    <a:p>
                      <a:pPr marL="106680" marR="103505" algn="ctr">
                        <a:lnSpc>
                          <a:spcPct val="100000"/>
                        </a:lnSpc>
                        <a:spcBef>
                          <a:spcPts val="1160"/>
                        </a:spcBef>
                      </a:pPr>
                      <a:r>
                        <a:rPr lang="en-GB" sz="1800">
                          <a:solidFill>
                            <a:srgbClr val="595959"/>
                          </a:solidFill>
                          <a:latin typeface="+mn-lt"/>
                          <a:cs typeface="Arial"/>
                        </a:rPr>
                        <a:t>Gestión insuficiente. / calidad de liderazgo</a:t>
                      </a:r>
                    </a:p>
                  </a:txBody>
                  <a:tcPr marL="0" marR="0" marT="14732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21749">
                <a:tc>
                  <a:txBody>
                    <a:bodyPr/>
                    <a:lstStyle/>
                    <a:p>
                      <a:pPr algn="ctr"/>
                      <a:r>
                        <a:rPr lang="en-GB" sz="1800">
                          <a:solidFill>
                            <a:srgbClr val="595959"/>
                          </a:solidFill>
                          <a:latin typeface="+mn-lt"/>
                          <a:cs typeface="Arial"/>
                        </a:rPr>
                        <a:t>  Globalización</a:t>
                      </a:r>
                      <a:endParaRPr lang="en-GB" sz="1800">
                        <a:solidFill>
                          <a:srgbClr val="595959"/>
                        </a:solidFill>
                        <a:latin typeface="+mn-lt"/>
                      </a:endParaRPr>
                    </a:p>
                  </a:txBody>
                  <a:tcPr marL="0" marR="0" marT="113664"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marR="829310" algn="ctr">
                        <a:lnSpc>
                          <a:spcPct val="100000"/>
                        </a:lnSpc>
                        <a:spcBef>
                          <a:spcPts val="325"/>
                        </a:spcBef>
                      </a:pPr>
                      <a:r>
                        <a:rPr lang="en-GB" sz="1800" spc="-5">
                          <a:solidFill>
                            <a:srgbClr val="595959"/>
                          </a:solidFill>
                          <a:latin typeface="+mn-lt"/>
                          <a:cs typeface="Arial"/>
                        </a:rPr>
                        <a:t>Estructura de financiación desequilibrada</a:t>
                      </a:r>
                    </a:p>
                  </a:txBody>
                  <a:tcPr marL="0" marR="0" marT="4127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92245">
                <a:tc>
                  <a:txBody>
                    <a:bodyPr/>
                    <a:lstStyle/>
                    <a:p>
                      <a:pPr algn="ctr"/>
                      <a:r>
                        <a:rPr lang="en-GB" sz="1800">
                          <a:solidFill>
                            <a:srgbClr val="595959"/>
                          </a:solidFill>
                          <a:latin typeface="+mn-lt"/>
                          <a:cs typeface="Arial"/>
                        </a:rPr>
                        <a:t>  Nuevos productos / nuevos competidores</a:t>
                      </a:r>
                      <a:endParaRPr lang="en-GB" sz="1800">
                        <a:solidFill>
                          <a:srgbClr val="595959"/>
                        </a:solidFill>
                        <a:latin typeface="+mn-lt"/>
                      </a:endParaRPr>
                    </a:p>
                  </a:txBody>
                  <a:tcPr marL="0" marR="0" marT="16129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gn="ctr">
                        <a:lnSpc>
                          <a:spcPct val="100000"/>
                        </a:lnSpc>
                        <a:spcBef>
                          <a:spcPts val="825"/>
                        </a:spcBef>
                      </a:pPr>
                      <a:r>
                        <a:rPr lang="en-GB" sz="1800">
                          <a:solidFill>
                            <a:srgbClr val="595959"/>
                          </a:solidFill>
                          <a:latin typeface="+mn-lt"/>
                          <a:cs typeface="Arial"/>
                        </a:rPr>
                        <a:t>Adquisiciones sobrevaloradas</a:t>
                      </a:r>
                    </a:p>
                  </a:txBody>
                  <a:tcPr marL="0" marR="0" marT="10477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92816">
                <a:tc>
                  <a:txBody>
                    <a:bodyPr/>
                    <a:lstStyle/>
                    <a:p>
                      <a:pPr algn="ctr"/>
                      <a:r>
                        <a:rPr lang="en-GB" sz="1800">
                          <a:solidFill>
                            <a:srgbClr val="595959"/>
                          </a:solidFill>
                          <a:latin typeface="+mn-lt"/>
                          <a:cs typeface="Arial"/>
                        </a:rPr>
                        <a:t>  Precios de las materias primas / tipos de cambio</a:t>
                      </a:r>
                      <a:endParaRPr lang="en-GB" sz="1800">
                        <a:solidFill>
                          <a:srgbClr val="595959"/>
                        </a:solidFill>
                        <a:latin typeface="+mn-lt"/>
                      </a:endParaRPr>
                    </a:p>
                  </a:txBody>
                  <a:tcPr marL="0" marR="0" marT="16192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gn="ctr">
                        <a:lnSpc>
                          <a:spcPct val="100000"/>
                        </a:lnSpc>
                        <a:spcBef>
                          <a:spcPts val="1165"/>
                        </a:spcBef>
                      </a:pPr>
                      <a:r>
                        <a:rPr lang="en-GB" sz="1800" spc="-5">
                          <a:solidFill>
                            <a:srgbClr val="595959"/>
                          </a:solidFill>
                          <a:latin typeface="+mn-lt"/>
                          <a:cs typeface="Arial"/>
                        </a:rPr>
                        <a:t>Control insuficiente</a:t>
                      </a:r>
                    </a:p>
                  </a:txBody>
                  <a:tcPr marL="0" marR="0" marT="14795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r h="341356">
                <a:tc>
                  <a:txBody>
                    <a:bodyPr/>
                    <a:lstStyle/>
                    <a:p>
                      <a:pPr algn="ctr"/>
                      <a:r>
                        <a:rPr lang="en-GB" sz="1800">
                          <a:solidFill>
                            <a:srgbClr val="595959"/>
                          </a:solidFill>
                          <a:latin typeface="+mn-lt"/>
                          <a:cs typeface="Arial"/>
                        </a:rPr>
                        <a:t>  Insolvencias de clientes / proveedores</a:t>
                      </a:r>
                      <a:endParaRPr lang="en-GB" sz="1800">
                        <a:solidFill>
                          <a:srgbClr val="595959"/>
                        </a:solidFill>
                        <a:latin typeface="+mn-lt"/>
                      </a:endParaRPr>
                    </a:p>
                  </a:txBody>
                  <a:tcPr marL="0" marR="0" marT="69850"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no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gn="ctr">
                        <a:lnSpc>
                          <a:spcPct val="100000"/>
                        </a:lnSpc>
                        <a:spcBef>
                          <a:spcPts val="825"/>
                        </a:spcBef>
                      </a:pPr>
                      <a:r>
                        <a:rPr lang="en-GB" sz="1800" spc="-5">
                          <a:solidFill>
                            <a:srgbClr val="595959"/>
                          </a:solidFill>
                          <a:latin typeface="+mn-lt"/>
                          <a:cs typeface="Arial"/>
                        </a:rPr>
                        <a:t>Deficiencias organizativas</a:t>
                      </a:r>
                    </a:p>
                  </a:txBody>
                  <a:tcPr marL="0" marR="0" marT="104775" marB="0" anchor="ctr">
                    <a:lnL w="12700" cap="flat" cmpd="sng" algn="ctr">
                      <a:solidFill>
                        <a:srgbClr val="B41F7A"/>
                      </a:solidFill>
                      <a:prstDash val="solid"/>
                      <a:round/>
                      <a:headEnd type="none" w="med" len="med"/>
                      <a:tailEnd type="none" w="med" len="med"/>
                    </a:lnL>
                    <a:lnR w="12700" cap="flat" cmpd="sng" algn="ctr">
                      <a:solidFill>
                        <a:srgbClr val="B41F7A"/>
                      </a:solidFill>
                      <a:prstDash val="solid"/>
                      <a:round/>
                      <a:headEnd type="none" w="med" len="med"/>
                      <a:tailEnd type="none" w="med" len="med"/>
                    </a:lnR>
                    <a:lnT w="12700" cap="flat" cmpd="sng" algn="ctr">
                      <a:solidFill>
                        <a:srgbClr val="B41F7A"/>
                      </a:solidFill>
                      <a:prstDash val="solid"/>
                      <a:round/>
                      <a:headEnd type="none" w="med" len="med"/>
                      <a:tailEnd type="none" w="med" len="med"/>
                    </a:lnT>
                    <a:lnB w="12700" cap="flat" cmpd="sng" algn="ctr">
                      <a:solidFill>
                        <a:srgbClr val="B41F7A"/>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4"/>
                  </a:ext>
                </a:extLst>
              </a:tr>
            </a:tbl>
          </a:graphicData>
        </a:graphic>
      </p:graphicFrame>
      <p:sp>
        <p:nvSpPr>
          <p:cNvPr id="15" name="Textfeld 2">
            <a:extLst>
              <a:ext uri="{FF2B5EF4-FFF2-40B4-BE49-F238E27FC236}">
                <a16:creationId xmlns:a16="http://schemas.microsoft.com/office/drawing/2014/main" id="{254B833A-9E25-1197-4DA7-146025442994}"/>
              </a:ext>
            </a:extLst>
          </p:cNvPr>
          <p:cNvSpPr txBox="1"/>
          <p:nvPr/>
        </p:nvSpPr>
        <p:spPr>
          <a:xfrm rot="20469084">
            <a:off x="4811726" y="4646855"/>
            <a:ext cx="2101922"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GB" sz="1600" b="1" i="0" u="none" strike="noStrike" kern="1200" cap="none" spc="0" normalizeH="0" baseline="0" noProof="0">
                <a:ln>
                  <a:noFill/>
                </a:ln>
                <a:solidFill>
                  <a:srgbClr val="F16924"/>
                </a:solidFill>
                <a:effectLst/>
                <a:uLnTx/>
                <a:uFillTx/>
                <a:latin typeface="Calibri" panose="020F0502020204030204"/>
                <a:ea typeface="+mn-ea"/>
                <a:cs typeface="+mn-cs"/>
              </a:rPr>
              <a:t>Percepción de los asesores</a:t>
            </a:r>
          </a:p>
        </p:txBody>
      </p:sp>
      <p:sp>
        <p:nvSpPr>
          <p:cNvPr id="16" name="Textfeld 11">
            <a:extLst>
              <a:ext uri="{FF2B5EF4-FFF2-40B4-BE49-F238E27FC236}">
                <a16:creationId xmlns:a16="http://schemas.microsoft.com/office/drawing/2014/main" id="{CDAE1CEF-33A0-B10C-8774-06ADC9A127F8}"/>
              </a:ext>
            </a:extLst>
          </p:cNvPr>
          <p:cNvSpPr txBox="1"/>
          <p:nvPr/>
        </p:nvSpPr>
        <p:spPr>
          <a:xfrm rot="1159998">
            <a:off x="4779137" y="3190129"/>
            <a:ext cx="251229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GB" sz="1600" b="1" i="0" u="none" strike="noStrike" kern="1200" cap="none" spc="0" normalizeH="0" baseline="0" noProof="0">
                <a:ln>
                  <a:noFill/>
                </a:ln>
                <a:solidFill>
                  <a:srgbClr val="F16924"/>
                </a:solidFill>
                <a:effectLst/>
                <a:uLnTx/>
                <a:uFillTx/>
                <a:latin typeface="Calibri" panose="020F0502020204030204"/>
                <a:ea typeface="+mn-ea"/>
                <a:cs typeface="+mn-cs"/>
              </a:rPr>
              <a:t>Percepción de la gestión</a:t>
            </a:r>
          </a:p>
        </p:txBody>
      </p:sp>
      <p:grpSp>
        <p:nvGrpSpPr>
          <p:cNvPr id="17" name="Group 16">
            <a:extLst>
              <a:ext uri="{FF2B5EF4-FFF2-40B4-BE49-F238E27FC236}">
                <a16:creationId xmlns:a16="http://schemas.microsoft.com/office/drawing/2014/main" id="{D9E8AD8D-894B-93A3-B0E7-B7392260710F}"/>
              </a:ext>
            </a:extLst>
          </p:cNvPr>
          <p:cNvGrpSpPr/>
          <p:nvPr/>
        </p:nvGrpSpPr>
        <p:grpSpPr>
          <a:xfrm>
            <a:off x="4711806" y="4591785"/>
            <a:ext cx="2311077" cy="1552199"/>
            <a:chOff x="-2684985" y="4847393"/>
            <a:chExt cx="2311077" cy="1552199"/>
          </a:xfrm>
        </p:grpSpPr>
        <p:sp>
          <p:nvSpPr>
            <p:cNvPr id="18" name="Gleichschenkliges Dreieck 1">
              <a:extLst>
                <a:ext uri="{FF2B5EF4-FFF2-40B4-BE49-F238E27FC236}">
                  <a16:creationId xmlns:a16="http://schemas.microsoft.com/office/drawing/2014/main" id="{A1266FCB-8F94-1F03-365C-327B43CD8AF7}"/>
                </a:ext>
              </a:extLst>
            </p:cNvPr>
            <p:cNvSpPr/>
            <p:nvPr/>
          </p:nvSpPr>
          <p:spPr>
            <a:xfrm rot="16200000">
              <a:off x="-2317543" y="4479951"/>
              <a:ext cx="1552199" cy="2287084"/>
            </a:xfrm>
            <a:prstGeom prst="triangl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xtfeld 9">
              <a:extLst>
                <a:ext uri="{FF2B5EF4-FFF2-40B4-BE49-F238E27FC236}">
                  <a16:creationId xmlns:a16="http://schemas.microsoft.com/office/drawing/2014/main" id="{5CB0ED21-1D7C-A554-BF80-BB2C9A4B90F9}"/>
                </a:ext>
              </a:extLst>
            </p:cNvPr>
            <p:cNvSpPr txBox="1"/>
            <p:nvPr/>
          </p:nvSpPr>
          <p:spPr>
            <a:xfrm>
              <a:off x="-1183745" y="5614947"/>
              <a:ext cx="809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GB" sz="1200" b="0" i="0" u="none" strike="noStrike" kern="1200" cap="none" spc="0" normalizeH="0" baseline="0" noProof="0">
                  <a:ln>
                    <a:noFill/>
                  </a:ln>
                  <a:solidFill>
                    <a:schemeClr val="bg1"/>
                  </a:solidFill>
                  <a:effectLst/>
                  <a:uLnTx/>
                  <a:uFillTx/>
                  <a:latin typeface="Calibri" panose="020F0502020204030204"/>
                  <a:ea typeface="+mn-ea"/>
                  <a:cs typeface="+mn-cs"/>
                </a:rPr>
                <a:t>INTERNO</a:t>
              </a:r>
            </a:p>
          </p:txBody>
        </p:sp>
        <p:sp>
          <p:nvSpPr>
            <p:cNvPr id="20" name="Textfeld 9">
              <a:extLst>
                <a:ext uri="{FF2B5EF4-FFF2-40B4-BE49-F238E27FC236}">
                  <a16:creationId xmlns:a16="http://schemas.microsoft.com/office/drawing/2014/main" id="{085EFF05-3AAE-7A2A-48B4-47F07B15DCCD}"/>
                </a:ext>
              </a:extLst>
            </p:cNvPr>
            <p:cNvSpPr txBox="1"/>
            <p:nvPr/>
          </p:nvSpPr>
          <p:spPr>
            <a:xfrm>
              <a:off x="-1118542" y="5299343"/>
              <a:ext cx="71526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GB" sz="2400" b="1" i="0" u="none" strike="noStrike" kern="1200" cap="none" spc="0" normalizeH="0" baseline="0" noProof="0">
                  <a:ln>
                    <a:noFill/>
                  </a:ln>
                  <a:solidFill>
                    <a:schemeClr val="bg1"/>
                  </a:solidFill>
                  <a:effectLst/>
                  <a:uLnTx/>
                  <a:uFillTx/>
                  <a:latin typeface="Calibri" panose="020F0502020204030204"/>
                  <a:ea typeface="+mn-ea"/>
                  <a:cs typeface="+mn-cs"/>
                </a:rPr>
                <a:t>90%</a:t>
              </a:r>
            </a:p>
          </p:txBody>
        </p:sp>
        <p:sp>
          <p:nvSpPr>
            <p:cNvPr id="21" name="Textfeld 9">
              <a:extLst>
                <a:ext uri="{FF2B5EF4-FFF2-40B4-BE49-F238E27FC236}">
                  <a16:creationId xmlns:a16="http://schemas.microsoft.com/office/drawing/2014/main" id="{F9860DD1-33A1-D2A7-9F7D-E136F81E8BBE}"/>
                </a:ext>
              </a:extLst>
            </p:cNvPr>
            <p:cNvSpPr txBox="1"/>
            <p:nvPr/>
          </p:nvSpPr>
          <p:spPr>
            <a:xfrm>
              <a:off x="-2050225" y="5614947"/>
              <a:ext cx="82747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en-GB" sz="1200">
                  <a:solidFill>
                    <a:schemeClr val="bg1"/>
                  </a:solidFill>
                  <a:latin typeface="Calibri" panose="020F0502020204030204"/>
                </a:rPr>
                <a:t>EXTERIOR</a:t>
              </a:r>
            </a:p>
          </p:txBody>
        </p:sp>
        <p:sp>
          <p:nvSpPr>
            <p:cNvPr id="22" name="Textfeld 9">
              <a:extLst>
                <a:ext uri="{FF2B5EF4-FFF2-40B4-BE49-F238E27FC236}">
                  <a16:creationId xmlns:a16="http://schemas.microsoft.com/office/drawing/2014/main" id="{632C2541-1B01-42AE-D802-9F91DE03EB68}"/>
                </a:ext>
              </a:extLst>
            </p:cNvPr>
            <p:cNvSpPr txBox="1"/>
            <p:nvPr/>
          </p:nvSpPr>
          <p:spPr>
            <a:xfrm>
              <a:off x="-2002114" y="5299343"/>
              <a:ext cx="72006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GB" sz="2400" b="1" i="0" u="none" strike="noStrike" kern="1200" cap="none" spc="0" normalizeH="0" baseline="0" noProof="0">
                  <a:ln>
                    <a:noFill/>
                  </a:ln>
                  <a:solidFill>
                    <a:schemeClr val="bg1"/>
                  </a:solidFill>
                  <a:effectLst/>
                  <a:uLnTx/>
                  <a:uFillTx/>
                  <a:latin typeface="Calibri" panose="020F0502020204030204"/>
                  <a:ea typeface="+mn-ea"/>
                  <a:cs typeface="+mn-cs"/>
                </a:rPr>
                <a:t>10%</a:t>
              </a:r>
            </a:p>
          </p:txBody>
        </p:sp>
      </p:grpSp>
      <p:grpSp>
        <p:nvGrpSpPr>
          <p:cNvPr id="23" name="Group 22">
            <a:extLst>
              <a:ext uri="{FF2B5EF4-FFF2-40B4-BE49-F238E27FC236}">
                <a16:creationId xmlns:a16="http://schemas.microsoft.com/office/drawing/2014/main" id="{1EC733AA-BA67-0BF9-78EC-96DF65B55FE4}"/>
              </a:ext>
            </a:extLst>
          </p:cNvPr>
          <p:cNvGrpSpPr/>
          <p:nvPr/>
        </p:nvGrpSpPr>
        <p:grpSpPr>
          <a:xfrm>
            <a:off x="4811727" y="3107759"/>
            <a:ext cx="2287085" cy="1552199"/>
            <a:chOff x="-2050225" y="4821740"/>
            <a:chExt cx="2287085" cy="1552199"/>
          </a:xfrm>
        </p:grpSpPr>
        <p:sp>
          <p:nvSpPr>
            <p:cNvPr id="24" name="Gleichschenkliges Dreieck 1">
              <a:extLst>
                <a:ext uri="{FF2B5EF4-FFF2-40B4-BE49-F238E27FC236}">
                  <a16:creationId xmlns:a16="http://schemas.microsoft.com/office/drawing/2014/main" id="{ED8CF7FF-0A3C-E618-312D-8F94F2F1B62A}"/>
                </a:ext>
              </a:extLst>
            </p:cNvPr>
            <p:cNvSpPr/>
            <p:nvPr/>
          </p:nvSpPr>
          <p:spPr>
            <a:xfrm rot="5400000" flipH="1">
              <a:off x="-1682782" y="4454298"/>
              <a:ext cx="1552199" cy="2287084"/>
            </a:xfrm>
            <a:prstGeom prst="triangl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Textfeld 9">
              <a:extLst>
                <a:ext uri="{FF2B5EF4-FFF2-40B4-BE49-F238E27FC236}">
                  <a16:creationId xmlns:a16="http://schemas.microsoft.com/office/drawing/2014/main" id="{E3CFA779-90C6-9951-F780-6A0DF7F63185}"/>
                </a:ext>
              </a:extLst>
            </p:cNvPr>
            <p:cNvSpPr txBox="1"/>
            <p:nvPr/>
          </p:nvSpPr>
          <p:spPr>
            <a:xfrm>
              <a:off x="-1183745" y="5614947"/>
              <a:ext cx="809837"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GB" sz="1200" b="0" i="0" u="none" strike="noStrike" kern="1200" cap="none" spc="0" normalizeH="0" baseline="0" noProof="0">
                  <a:ln>
                    <a:noFill/>
                  </a:ln>
                  <a:solidFill>
                    <a:schemeClr val="bg1"/>
                  </a:solidFill>
                  <a:effectLst/>
                  <a:uLnTx/>
                  <a:uFillTx/>
                  <a:latin typeface="Calibri" panose="020F0502020204030204"/>
                  <a:ea typeface="+mn-ea"/>
                  <a:cs typeface="+mn-cs"/>
                </a:rPr>
                <a:t>INTERNO</a:t>
              </a:r>
            </a:p>
          </p:txBody>
        </p:sp>
        <p:sp>
          <p:nvSpPr>
            <p:cNvPr id="26" name="Textfeld 9">
              <a:extLst>
                <a:ext uri="{FF2B5EF4-FFF2-40B4-BE49-F238E27FC236}">
                  <a16:creationId xmlns:a16="http://schemas.microsoft.com/office/drawing/2014/main" id="{CA28D81F-E138-3828-43BD-54D6849878B4}"/>
                </a:ext>
              </a:extLst>
            </p:cNvPr>
            <p:cNvSpPr txBox="1"/>
            <p:nvPr/>
          </p:nvSpPr>
          <p:spPr>
            <a:xfrm>
              <a:off x="-1118542" y="5299343"/>
              <a:ext cx="72006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GB" sz="2400" b="1" i="0" u="none" strike="noStrike" kern="1200" cap="none" spc="0" normalizeH="0" baseline="0" noProof="0">
                  <a:ln>
                    <a:noFill/>
                  </a:ln>
                  <a:solidFill>
                    <a:schemeClr val="bg1"/>
                  </a:solidFill>
                  <a:effectLst/>
                  <a:uLnTx/>
                  <a:uFillTx/>
                  <a:latin typeface="Calibri" panose="020F0502020204030204"/>
                  <a:ea typeface="+mn-ea"/>
                  <a:cs typeface="+mn-cs"/>
                </a:rPr>
                <a:t>10%</a:t>
              </a:r>
            </a:p>
          </p:txBody>
        </p:sp>
        <p:sp>
          <p:nvSpPr>
            <p:cNvPr id="27" name="Textfeld 9">
              <a:extLst>
                <a:ext uri="{FF2B5EF4-FFF2-40B4-BE49-F238E27FC236}">
                  <a16:creationId xmlns:a16="http://schemas.microsoft.com/office/drawing/2014/main" id="{689E75F6-2082-D009-5C00-7215263273D3}"/>
                </a:ext>
              </a:extLst>
            </p:cNvPr>
            <p:cNvSpPr txBox="1"/>
            <p:nvPr/>
          </p:nvSpPr>
          <p:spPr>
            <a:xfrm>
              <a:off x="-2050225" y="5614947"/>
              <a:ext cx="82747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en-GB" sz="1200">
                  <a:solidFill>
                    <a:schemeClr val="bg1"/>
                  </a:solidFill>
                  <a:latin typeface="Calibri" panose="020F0502020204030204"/>
                </a:rPr>
                <a:t>EXTERIOR</a:t>
              </a:r>
            </a:p>
          </p:txBody>
        </p:sp>
        <p:sp>
          <p:nvSpPr>
            <p:cNvPr id="28" name="Textfeld 9">
              <a:extLst>
                <a:ext uri="{FF2B5EF4-FFF2-40B4-BE49-F238E27FC236}">
                  <a16:creationId xmlns:a16="http://schemas.microsoft.com/office/drawing/2014/main" id="{7450F520-2296-26AD-1CBE-A35ABDCE66CA}"/>
                </a:ext>
              </a:extLst>
            </p:cNvPr>
            <p:cNvSpPr txBox="1"/>
            <p:nvPr/>
          </p:nvSpPr>
          <p:spPr>
            <a:xfrm>
              <a:off x="-2002114" y="5299343"/>
              <a:ext cx="72006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ct val="0"/>
                </a:spcBef>
                <a:spcAft>
                  <a:spcPct val="0"/>
                </a:spcAft>
                <a:buClrTx/>
                <a:buSzTx/>
                <a:buFontTx/>
                <a:buNone/>
                <a:defRPr/>
              </a:pPr>
              <a:r>
                <a:rPr kumimoji="0" lang="en-GB" sz="2400" b="1" i="0" u="none" strike="noStrike" kern="1200" cap="none" spc="0" normalizeH="0" baseline="0" noProof="0">
                  <a:ln>
                    <a:noFill/>
                  </a:ln>
                  <a:solidFill>
                    <a:schemeClr val="bg1"/>
                  </a:solidFill>
                  <a:effectLst/>
                  <a:uLnTx/>
                  <a:uFillTx/>
                  <a:latin typeface="Calibri" panose="020F0502020204030204"/>
                  <a:ea typeface="+mn-ea"/>
                  <a:cs typeface="+mn-cs"/>
                </a:rPr>
                <a:t>90%</a:t>
              </a:r>
            </a:p>
          </p:txBody>
        </p:sp>
      </p:grpSp>
    </p:spTree>
    <p:extLst>
      <p:ext uri="{BB962C8B-B14F-4D97-AF65-F5344CB8AC3E}">
        <p14:creationId xmlns:p14="http://schemas.microsoft.com/office/powerpoint/2010/main" val="853091079"/>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5877067-4DF6-CAD3-9D51-E733FD7068E0}"/>
              </a:ext>
            </a:extLst>
          </p:cNvPr>
          <p:cNvSpPr/>
          <p:nvPr/>
        </p:nvSpPr>
        <p:spPr>
          <a:xfrm>
            <a:off x="1" y="0"/>
            <a:ext cx="5014912"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E0A991C1-66CD-9C4A-907D-EF168A14CA90}"/>
              </a:ext>
            </a:extLst>
          </p:cNvPr>
          <p:cNvSpPr>
            <a:spLocks noGrp="1"/>
          </p:cNvSpPr>
          <p:nvPr>
            <p:ph type="body" sz="quarter" idx="16"/>
          </p:nvPr>
        </p:nvSpPr>
        <p:spPr>
          <a:xfrm>
            <a:off x="273886" y="361641"/>
            <a:ext cx="3894451" cy="3097006"/>
          </a:xfrm>
        </p:spPr>
        <p:txBody>
          <a:bodyPr>
            <a:normAutofit/>
          </a:bodyPr>
          <a:lstStyle/>
          <a:p>
            <a:pPr>
              <a:lnSpc>
                <a:spcPts val="3620"/>
              </a:lnSpc>
            </a:pPr>
            <a:r>
              <a:rPr lang="en-IE">
                <a:solidFill>
                  <a:srgbClr val="EDA13E"/>
                </a:solidFill>
              </a:rPr>
              <a:t>Tres errores comunes</a:t>
            </a:r>
          </a:p>
        </p:txBody>
      </p:sp>
      <p:sp>
        <p:nvSpPr>
          <p:cNvPr id="6" name="Subtitle 2">
            <a:extLst>
              <a:ext uri="{FF2B5EF4-FFF2-40B4-BE49-F238E27FC236}">
                <a16:creationId xmlns:a16="http://schemas.microsoft.com/office/drawing/2014/main" id="{8A4CA383-4C97-AF9C-723E-AC0CB7603B14}"/>
              </a:ext>
            </a:extLst>
          </p:cNvPr>
          <p:cNvSpPr txBox="1"/>
          <p:nvPr/>
        </p:nvSpPr>
        <p:spPr>
          <a:xfrm>
            <a:off x="256806" y="1589370"/>
            <a:ext cx="3998078" cy="403615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spcBef>
                <a:spcPct val="0"/>
              </a:spcBef>
            </a:pPr>
            <a:r>
              <a:rPr lang="en-GB" sz="2200">
                <a:solidFill>
                  <a:schemeClr val="bg1"/>
                </a:solidFill>
                <a:latin typeface="+mn-lt"/>
                <a:ea typeface="Open Sans Light" panose="020B0306030504020204" pitchFamily="34" charset="0"/>
                <a:cs typeface="Open Sans Light" panose="020B0306030504020204" pitchFamily="34" charset="0"/>
              </a:rPr>
              <a:t>Al abordar la financiación durante una crisis, las empresas suelen cometer graves errores.  Un error importante es invertir el patrimonio privado demasiado pronto y de forma excesiva en la empresa. Incluso si la intención de los propietarios detrás de esto es loable, a menudo conduce a un daño irreparable.  Por lo tanto, es importante elaborar primero un plan de reestructuración completo y </a:t>
            </a:r>
            <a:r>
              <a:rPr lang="en-GB" sz="2200" b="1" u="sng">
                <a:solidFill>
                  <a:schemeClr val="bg1"/>
                </a:solidFill>
                <a:latin typeface="+mn-lt"/>
                <a:ea typeface="Open Sans Light" panose="020B0306030504020204" pitchFamily="34" charset="0"/>
                <a:cs typeface="Open Sans Light" panose="020B0306030504020204" pitchFamily="34" charset="0"/>
              </a:rPr>
              <a:t>luego </a:t>
            </a:r>
            <a:r>
              <a:rPr lang="en-GB" sz="2200">
                <a:solidFill>
                  <a:schemeClr val="bg1"/>
                </a:solidFill>
                <a:latin typeface="+mn-lt"/>
                <a:ea typeface="Open Sans Light" panose="020B0306030504020204" pitchFamily="34" charset="0"/>
                <a:cs typeface="Open Sans Light" panose="020B0306030504020204" pitchFamily="34" charset="0"/>
              </a:rPr>
              <a:t>financiarlo y aplicarlo junto con un socio financiero, por ejemplo, los bancos.</a:t>
            </a:r>
          </a:p>
        </p:txBody>
      </p:sp>
      <p:sp>
        <p:nvSpPr>
          <p:cNvPr id="17" name="TextBox 57">
            <a:extLst>
              <a:ext uri="{FF2B5EF4-FFF2-40B4-BE49-F238E27FC236}">
                <a16:creationId xmlns:a16="http://schemas.microsoft.com/office/drawing/2014/main" id="{124DCD05-6E90-5B25-21BC-81AA4F0B3BB9}"/>
              </a:ext>
            </a:extLst>
          </p:cNvPr>
          <p:cNvSpPr txBox="1"/>
          <p:nvPr/>
        </p:nvSpPr>
        <p:spPr>
          <a:xfrm>
            <a:off x="6096000" y="529773"/>
            <a:ext cx="5576888" cy="6825651"/>
          </a:xfrm>
          <a:prstGeom prst="rect">
            <a:avLst/>
          </a:prstGeom>
          <a:noFill/>
        </p:spPr>
        <p:txBody>
          <a:bodyPr wrap="square" rtlCol="0" anchor="t">
            <a:spAutoFit/>
          </a:bodyPr>
          <a:lstStyle/>
          <a:p>
            <a:pPr>
              <a:lnSpc>
                <a:spcPts val="2340"/>
              </a:lnSpc>
              <a:spcBef>
                <a:spcPts val="675"/>
              </a:spcBef>
            </a:pPr>
            <a:r>
              <a:rPr lang="en-US" sz="2200">
                <a:solidFill>
                  <a:srgbClr val="595959"/>
                </a:solidFill>
                <a:ea typeface="Lato Light" panose="020F0502020204030203" pitchFamily="34" charset="0"/>
                <a:cs typeface="Lato Light" panose="020F0502020204030203" pitchFamily="34" charset="0"/>
              </a:rPr>
              <a:t>El propietario invierte dinero privado en la crisis porque quiere salvar su empresa. Esperan que la situación vuelva a cambiar con el próximo gran contrato.</a:t>
            </a:r>
          </a:p>
          <a:p>
            <a:pPr>
              <a:lnSpc>
                <a:spcPts val="2340"/>
              </a:lnSpc>
              <a:spcBef>
                <a:spcPts val="675"/>
              </a:spcBef>
            </a:pPr>
            <a:endParaRPr lang="en-US" sz="2200">
              <a:solidFill>
                <a:srgbClr val="595959"/>
              </a:solidFill>
              <a:ea typeface="Lato Light" panose="020F0502020204030203" pitchFamily="34" charset="0"/>
              <a:cs typeface="Lato Light" panose="020F0502020204030203" pitchFamily="34" charset="0"/>
            </a:endParaRPr>
          </a:p>
          <a:p>
            <a:pPr>
              <a:lnSpc>
                <a:spcPts val="2340"/>
              </a:lnSpc>
              <a:spcBef>
                <a:spcPts val="675"/>
              </a:spcBef>
            </a:pPr>
            <a:r>
              <a:rPr lang="en-US" sz="2200">
                <a:solidFill>
                  <a:srgbClr val="595959"/>
                </a:solidFill>
                <a:ea typeface="Lato Light" panose="020F0502020204030203" pitchFamily="34" charset="0"/>
                <a:cs typeface="Lato Light" panose="020F0502020204030203" pitchFamily="34" charset="0"/>
              </a:rPr>
              <a:t>La situación de liquidez de la empresa vuelve a ser inicialmente más relajada. Sin embargo, por regla general, no se aplican medidas de reestructuración de gran alcance. Sigue prevaleciendo el principio de la esperanza: el problema sólo se pospone. </a:t>
            </a:r>
          </a:p>
          <a:p>
            <a:pPr>
              <a:lnSpc>
                <a:spcPts val="2340"/>
              </a:lnSpc>
              <a:spcBef>
                <a:spcPts val="675"/>
              </a:spcBef>
            </a:pPr>
            <a:endParaRPr lang="en-US" sz="2200">
              <a:solidFill>
                <a:srgbClr val="595959"/>
              </a:solidFill>
              <a:ea typeface="Lato Light" panose="020F0502020204030203" pitchFamily="34" charset="0"/>
              <a:cs typeface="Lato Light" panose="020F0502020204030203" pitchFamily="34" charset="0"/>
            </a:endParaRPr>
          </a:p>
          <a:p>
            <a:pPr>
              <a:lnSpc>
                <a:spcPts val="2340"/>
              </a:lnSpc>
              <a:spcBef>
                <a:spcPts val="675"/>
              </a:spcBef>
            </a:pPr>
            <a:r>
              <a:rPr lang="en-US" sz="2200">
                <a:solidFill>
                  <a:srgbClr val="595959"/>
                </a:solidFill>
                <a:ea typeface="Lato Light" panose="020F0502020204030203" pitchFamily="34" charset="0"/>
                <a:cs typeface="Lato Light" panose="020F0502020204030203" pitchFamily="34" charset="0"/>
              </a:rPr>
              <a:t>Cuando se han agotado las últimas reservas propias, el empresario busca capital en los bancos. Los bancos suelen exigir importantes aportaciones personales del propietario si quieren prestar su apoyo durante la crisis. Sin embargo, si la pólvora ya se ha agotado, esta opción queda denegada, y la insolvencia suele ser la consecuencia lógica.</a:t>
            </a:r>
          </a:p>
          <a:p>
            <a:pPr>
              <a:lnSpc>
                <a:spcPts val="2340"/>
              </a:lnSpc>
              <a:spcBef>
                <a:spcPts val="675"/>
              </a:spcBef>
            </a:pPr>
            <a:endParaRPr lang="en-US" sz="2200">
              <a:solidFill>
                <a:srgbClr val="595959"/>
              </a:solidFill>
              <a:ea typeface="Lato Light" panose="020F0502020204030203" pitchFamily="34" charset="0"/>
              <a:cs typeface="Lato Light" panose="020F0502020204030203" pitchFamily="34" charset="0"/>
            </a:endParaRPr>
          </a:p>
          <a:p>
            <a:pPr>
              <a:lnSpc>
                <a:spcPts val="2340"/>
              </a:lnSpc>
              <a:spcBef>
                <a:spcPts val="675"/>
              </a:spcBef>
            </a:pPr>
            <a:endParaRPr lang="en-US" sz="2200">
              <a:solidFill>
                <a:srgbClr val="595959"/>
              </a:solidFill>
              <a:ea typeface="Lato Light" panose="020F0502020204030203" pitchFamily="34" charset="0"/>
              <a:cs typeface="Lato Light" panose="020F0502020204030203" pitchFamily="34" charset="0"/>
            </a:endParaRPr>
          </a:p>
        </p:txBody>
      </p:sp>
      <p:cxnSp>
        <p:nvCxnSpPr>
          <p:cNvPr id="79" name="Straight Connector 78">
            <a:extLst>
              <a:ext uri="{FF2B5EF4-FFF2-40B4-BE49-F238E27FC236}">
                <a16:creationId xmlns:a16="http://schemas.microsoft.com/office/drawing/2014/main" id="{63CFBF68-2771-2571-D821-F2CCC76C215B}"/>
              </a:ext>
            </a:extLst>
          </p:cNvPr>
          <p:cNvCxnSpPr/>
          <p:nvPr/>
        </p:nvCxnSpPr>
        <p:spPr>
          <a:xfrm>
            <a:off x="5014913" y="3890811"/>
            <a:ext cx="7177087"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4898B6D4-BCE6-0B3F-E58C-B428D7928A56}"/>
              </a:ext>
            </a:extLst>
          </p:cNvPr>
          <p:cNvGrpSpPr/>
          <p:nvPr/>
        </p:nvGrpSpPr>
        <p:grpSpPr>
          <a:xfrm>
            <a:off x="4675222" y="529773"/>
            <a:ext cx="1205556" cy="1116749"/>
            <a:chOff x="3866507" y="700090"/>
            <a:chExt cx="1205556" cy="1116749"/>
          </a:xfrm>
        </p:grpSpPr>
        <p:sp>
          <p:nvSpPr>
            <p:cNvPr id="43" name="Rectangle 42">
              <a:extLst>
                <a:ext uri="{FF2B5EF4-FFF2-40B4-BE49-F238E27FC236}">
                  <a16:creationId xmlns:a16="http://schemas.microsoft.com/office/drawing/2014/main" id="{A88D5B21-63C2-28D4-29E2-E73F7FAE5EF4}"/>
                </a:ext>
              </a:extLst>
            </p:cNvPr>
            <p:cNvSpPr/>
            <p:nvPr/>
          </p:nvSpPr>
          <p:spPr>
            <a:xfrm>
              <a:off x="3866507" y="700090"/>
              <a:ext cx="1205556" cy="111674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84">
              <a:extLst>
                <a:ext uri="{FF2B5EF4-FFF2-40B4-BE49-F238E27FC236}">
                  <a16:creationId xmlns:a16="http://schemas.microsoft.com/office/drawing/2014/main" id="{B7FDD1B4-B783-A473-D9BE-FB757E1DFE11}"/>
                </a:ext>
              </a:extLst>
            </p:cNvPr>
            <p:cNvSpPr txBox="1"/>
            <p:nvPr/>
          </p:nvSpPr>
          <p:spPr>
            <a:xfrm>
              <a:off x="3956084" y="752336"/>
              <a:ext cx="996404" cy="461665"/>
            </a:xfrm>
            <a:prstGeom prst="rect">
              <a:avLst/>
            </a:prstGeom>
            <a:noFill/>
          </p:spPr>
          <p:txBody>
            <a:bodyPr wrap="square" rtlCol="0">
              <a:spAutoFit/>
            </a:bodyPr>
            <a:lstStyle/>
            <a:p>
              <a:pPr algn="ctr"/>
              <a:r>
                <a:rPr lang="en-GB" sz="2400">
                  <a:solidFill>
                    <a:schemeClr val="bg1"/>
                  </a:solidFill>
                  <a:latin typeface="Calibri" panose="020F0502020204030204" pitchFamily="34" charset="0"/>
                  <a:ea typeface="Roboto" charset="0"/>
                  <a:cs typeface="Calibri" panose="020F0502020204030204" pitchFamily="34" charset="0"/>
                </a:rPr>
                <a:t>STEP</a:t>
              </a:r>
            </a:p>
          </p:txBody>
        </p:sp>
        <p:sp>
          <p:nvSpPr>
            <p:cNvPr id="45" name="Rectangle 85">
              <a:extLst>
                <a:ext uri="{FF2B5EF4-FFF2-40B4-BE49-F238E27FC236}">
                  <a16:creationId xmlns:a16="http://schemas.microsoft.com/office/drawing/2014/main" id="{31F65602-2A35-6F95-A683-F18CC51A8DF3}"/>
                </a:ext>
              </a:extLst>
            </p:cNvPr>
            <p:cNvSpPr/>
            <p:nvPr/>
          </p:nvSpPr>
          <p:spPr bwMode="auto">
            <a:xfrm>
              <a:off x="4035912" y="1021023"/>
              <a:ext cx="851315" cy="738664"/>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p159="http://schemas.microsoft.com/office/powerpoint/2015/09/main" xmlns:p15="http://schemas.microsoft.com/office/powerpoint/2012/main" xmlns:wp="http://schemas.openxmlformats.org/drawingml/2006/wordprocessingDrawing" xmlns:w="http://schemas.openxmlformats.org/wordprocessingml/2006/main" xmlns:m="http://schemas.openxmlformats.org/officeDocument/2006/math"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p159="http://schemas.microsoft.com/office/powerpoint/2015/09/main" xmlns:p15="http://schemas.microsoft.com/office/powerpoint/2012/main" xmlns:wp="http://schemas.openxmlformats.org/drawingml/2006/wordprocessingDrawing" xmlns:w="http://schemas.openxmlformats.org/wordprocessingml/2006/main" xmlns:m="http://schemas.openxmlformats.org/officeDocument/2006/math" xmlns="" w="12700">
                  <a:solidFill>
                    <a:schemeClr val="tx1"/>
                  </a:solidFill>
                  <a:miter lim="800000"/>
                  <a:headEnd/>
                  <a:tailEnd/>
                </a14:hiddenLine>
              </a:ext>
            </a:extLst>
          </p:spPr>
          <p:txBody>
            <a:bodyPr wrap="square" lIns="0" tIns="0" rIns="0" bIns="0" anchor="ctr">
              <a:spAutoFit/>
            </a:bodyPr>
            <a:lstStyle/>
            <a:p>
              <a:pPr algn="ctr"/>
              <a:r>
                <a:rPr lang="en-GB" sz="4800" b="1" spc="113">
                  <a:solidFill>
                    <a:schemeClr val="bg1"/>
                  </a:solidFill>
                  <a:latin typeface="Calibri" panose="020F0502020204030204" pitchFamily="34" charset="0"/>
                  <a:ea typeface="Roboto" charset="0"/>
                  <a:cs typeface="Calibri" panose="020F0502020204030204" pitchFamily="34" charset="0"/>
                  <a:sym typeface="Bebas Neue" charset="0"/>
                </a:rPr>
                <a:t>01</a:t>
              </a:r>
            </a:p>
          </p:txBody>
        </p:sp>
      </p:grpSp>
      <p:cxnSp>
        <p:nvCxnSpPr>
          <p:cNvPr id="48" name="Straight Connector 47">
            <a:extLst>
              <a:ext uri="{FF2B5EF4-FFF2-40B4-BE49-F238E27FC236}">
                <a16:creationId xmlns:a16="http://schemas.microsoft.com/office/drawing/2014/main" id="{5E3AF840-F9EF-E312-501A-4279E6BB0737}"/>
              </a:ext>
            </a:extLst>
          </p:cNvPr>
          <p:cNvCxnSpPr/>
          <p:nvPr/>
        </p:nvCxnSpPr>
        <p:spPr>
          <a:xfrm>
            <a:off x="5014912" y="1928661"/>
            <a:ext cx="7177087"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6D1041E8-827C-288C-E17A-7D8E237F41DD}"/>
              </a:ext>
            </a:extLst>
          </p:cNvPr>
          <p:cNvGrpSpPr/>
          <p:nvPr/>
        </p:nvGrpSpPr>
        <p:grpSpPr>
          <a:xfrm>
            <a:off x="4675222" y="2200458"/>
            <a:ext cx="1205556" cy="1116749"/>
            <a:chOff x="3866507" y="700090"/>
            <a:chExt cx="1205556" cy="1116749"/>
          </a:xfrm>
        </p:grpSpPr>
        <p:sp>
          <p:nvSpPr>
            <p:cNvPr id="50" name="Rectangle 49">
              <a:extLst>
                <a:ext uri="{FF2B5EF4-FFF2-40B4-BE49-F238E27FC236}">
                  <a16:creationId xmlns:a16="http://schemas.microsoft.com/office/drawing/2014/main" id="{8E82B385-8A2F-C647-1C52-AEFB8E550AF0}"/>
                </a:ext>
              </a:extLst>
            </p:cNvPr>
            <p:cNvSpPr/>
            <p:nvPr/>
          </p:nvSpPr>
          <p:spPr>
            <a:xfrm>
              <a:off x="3866507" y="700090"/>
              <a:ext cx="1205556" cy="111674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84">
              <a:extLst>
                <a:ext uri="{FF2B5EF4-FFF2-40B4-BE49-F238E27FC236}">
                  <a16:creationId xmlns:a16="http://schemas.microsoft.com/office/drawing/2014/main" id="{6AFCE095-3444-5229-38D1-E5280FA60A8C}"/>
                </a:ext>
              </a:extLst>
            </p:cNvPr>
            <p:cNvSpPr txBox="1"/>
            <p:nvPr/>
          </p:nvSpPr>
          <p:spPr>
            <a:xfrm>
              <a:off x="3956084" y="752336"/>
              <a:ext cx="996404" cy="461665"/>
            </a:xfrm>
            <a:prstGeom prst="rect">
              <a:avLst/>
            </a:prstGeom>
            <a:noFill/>
          </p:spPr>
          <p:txBody>
            <a:bodyPr wrap="square" rtlCol="0">
              <a:spAutoFit/>
            </a:bodyPr>
            <a:lstStyle/>
            <a:p>
              <a:pPr algn="ctr"/>
              <a:r>
                <a:rPr lang="en-GB" sz="2400">
                  <a:solidFill>
                    <a:schemeClr val="bg1"/>
                  </a:solidFill>
                  <a:latin typeface="Calibri" panose="020F0502020204030204" pitchFamily="34" charset="0"/>
                  <a:ea typeface="Roboto" charset="0"/>
                  <a:cs typeface="Calibri" panose="020F0502020204030204" pitchFamily="34" charset="0"/>
                </a:rPr>
                <a:t>STEP</a:t>
              </a:r>
            </a:p>
          </p:txBody>
        </p:sp>
        <p:sp>
          <p:nvSpPr>
            <p:cNvPr id="52" name="Rectangle 85">
              <a:extLst>
                <a:ext uri="{FF2B5EF4-FFF2-40B4-BE49-F238E27FC236}">
                  <a16:creationId xmlns:a16="http://schemas.microsoft.com/office/drawing/2014/main" id="{6152F8ED-73B9-67BE-4A06-EF976C982B93}"/>
                </a:ext>
              </a:extLst>
            </p:cNvPr>
            <p:cNvSpPr/>
            <p:nvPr/>
          </p:nvSpPr>
          <p:spPr bwMode="auto">
            <a:xfrm>
              <a:off x="4035912" y="1021023"/>
              <a:ext cx="851315" cy="738664"/>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p159="http://schemas.microsoft.com/office/powerpoint/2015/09/main" xmlns:p15="http://schemas.microsoft.com/office/powerpoint/2012/main" xmlns:wp="http://schemas.openxmlformats.org/drawingml/2006/wordprocessingDrawing" xmlns:w="http://schemas.openxmlformats.org/wordprocessingml/2006/main" xmlns:m="http://schemas.openxmlformats.org/officeDocument/2006/math"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p159="http://schemas.microsoft.com/office/powerpoint/2015/09/main" xmlns:p15="http://schemas.microsoft.com/office/powerpoint/2012/main" xmlns:wp="http://schemas.openxmlformats.org/drawingml/2006/wordprocessingDrawing" xmlns:w="http://schemas.openxmlformats.org/wordprocessingml/2006/main" xmlns:m="http://schemas.openxmlformats.org/officeDocument/2006/math" xmlns="" w="12700">
                  <a:solidFill>
                    <a:schemeClr val="tx1"/>
                  </a:solidFill>
                  <a:miter lim="800000"/>
                  <a:headEnd/>
                  <a:tailEnd/>
                </a14:hiddenLine>
              </a:ext>
            </a:extLst>
          </p:spPr>
          <p:txBody>
            <a:bodyPr wrap="square" lIns="0" tIns="0" rIns="0" bIns="0" anchor="ctr">
              <a:spAutoFit/>
            </a:bodyPr>
            <a:lstStyle/>
            <a:p>
              <a:pPr algn="ctr"/>
              <a:r>
                <a:rPr lang="en-GB" sz="4800" b="1" spc="113">
                  <a:solidFill>
                    <a:schemeClr val="bg1"/>
                  </a:solidFill>
                  <a:latin typeface="Calibri" panose="020F0502020204030204" pitchFamily="34" charset="0"/>
                  <a:ea typeface="Roboto" charset="0"/>
                  <a:cs typeface="Calibri" panose="020F0502020204030204" pitchFamily="34" charset="0"/>
                  <a:sym typeface="Bebas Neue" charset="0"/>
                </a:rPr>
                <a:t>02</a:t>
              </a:r>
            </a:p>
          </p:txBody>
        </p:sp>
      </p:grpSp>
      <p:grpSp>
        <p:nvGrpSpPr>
          <p:cNvPr id="53" name="Group 52">
            <a:extLst>
              <a:ext uri="{FF2B5EF4-FFF2-40B4-BE49-F238E27FC236}">
                <a16:creationId xmlns:a16="http://schemas.microsoft.com/office/drawing/2014/main" id="{C268988E-BDA8-A79F-B01F-A3CAEEDD9733}"/>
              </a:ext>
            </a:extLst>
          </p:cNvPr>
          <p:cNvGrpSpPr/>
          <p:nvPr/>
        </p:nvGrpSpPr>
        <p:grpSpPr>
          <a:xfrm>
            <a:off x="4675222" y="4105455"/>
            <a:ext cx="1205556" cy="1116749"/>
            <a:chOff x="3866507" y="700090"/>
            <a:chExt cx="1205556" cy="1116749"/>
          </a:xfrm>
        </p:grpSpPr>
        <p:sp>
          <p:nvSpPr>
            <p:cNvPr id="54" name="Rectangle 53">
              <a:extLst>
                <a:ext uri="{FF2B5EF4-FFF2-40B4-BE49-F238E27FC236}">
                  <a16:creationId xmlns:a16="http://schemas.microsoft.com/office/drawing/2014/main" id="{2F42717B-BA08-E3FC-6FF3-0605861D6D66}"/>
                </a:ext>
              </a:extLst>
            </p:cNvPr>
            <p:cNvSpPr/>
            <p:nvPr/>
          </p:nvSpPr>
          <p:spPr>
            <a:xfrm>
              <a:off x="3866507" y="700090"/>
              <a:ext cx="1205556" cy="1116749"/>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TextBox 84">
              <a:extLst>
                <a:ext uri="{FF2B5EF4-FFF2-40B4-BE49-F238E27FC236}">
                  <a16:creationId xmlns:a16="http://schemas.microsoft.com/office/drawing/2014/main" id="{FA2BE469-48E3-A2CC-E448-D45C8E2D75BD}"/>
                </a:ext>
              </a:extLst>
            </p:cNvPr>
            <p:cNvSpPr txBox="1"/>
            <p:nvPr/>
          </p:nvSpPr>
          <p:spPr>
            <a:xfrm>
              <a:off x="3956084" y="752336"/>
              <a:ext cx="996404" cy="461665"/>
            </a:xfrm>
            <a:prstGeom prst="rect">
              <a:avLst/>
            </a:prstGeom>
            <a:noFill/>
          </p:spPr>
          <p:txBody>
            <a:bodyPr wrap="square" rtlCol="0">
              <a:spAutoFit/>
            </a:bodyPr>
            <a:lstStyle/>
            <a:p>
              <a:pPr algn="ctr"/>
              <a:r>
                <a:rPr lang="en-GB" sz="2400">
                  <a:solidFill>
                    <a:schemeClr val="bg1"/>
                  </a:solidFill>
                  <a:latin typeface="Calibri" panose="020F0502020204030204" pitchFamily="34" charset="0"/>
                  <a:ea typeface="Roboto" charset="0"/>
                  <a:cs typeface="Calibri" panose="020F0502020204030204" pitchFamily="34" charset="0"/>
                </a:rPr>
                <a:t>STEP</a:t>
              </a:r>
            </a:p>
          </p:txBody>
        </p:sp>
        <p:sp>
          <p:nvSpPr>
            <p:cNvPr id="56" name="Rectangle 85">
              <a:extLst>
                <a:ext uri="{FF2B5EF4-FFF2-40B4-BE49-F238E27FC236}">
                  <a16:creationId xmlns:a16="http://schemas.microsoft.com/office/drawing/2014/main" id="{2F57E5CC-5F3C-7881-6EAB-8E8D2118CFD9}"/>
                </a:ext>
              </a:extLst>
            </p:cNvPr>
            <p:cNvSpPr/>
            <p:nvPr/>
          </p:nvSpPr>
          <p:spPr bwMode="auto">
            <a:xfrm>
              <a:off x="4035912" y="1021023"/>
              <a:ext cx="851315" cy="738664"/>
            </a:xfrm>
            <a:prstGeom prst="rect">
              <a:avLst/>
            </a:prstGeom>
            <a:noFill/>
            <a:ln>
              <a:noFill/>
            </a:ln>
            <a:extLst>
              <a:ext uri="{909E8E84-426E-40dd-AFC4-6F175D3DCCD1}">
                <a14:hiddenFill xmlns:p14="http://schemas.microsoft.com/office/powerpoint/2010/main" xmlns:mc="http://schemas.openxmlformats.org/markup-compatibility/2006" xmlns:a14="http://schemas.microsoft.com/office/drawing/2010/main" xmlns:p159="http://schemas.microsoft.com/office/powerpoint/2015/09/main" xmlns:p15="http://schemas.microsoft.com/office/powerpoint/2012/main" xmlns:wp="http://schemas.openxmlformats.org/drawingml/2006/wordprocessingDrawing" xmlns:w="http://schemas.openxmlformats.org/wordprocessingml/2006/main" xmlns:m="http://schemas.openxmlformats.org/officeDocument/2006/math" xmlns="">
                  <a:solidFill>
                    <a:srgbClr val="FFFFFF"/>
                  </a:solidFill>
                </a14:hiddenFill>
              </a:ext>
              <a:ext uri="{91240B29-F687-4f45-9708-019B960494DF}">
                <a14:hiddenLine xmlns:p14="http://schemas.microsoft.com/office/powerpoint/2010/main" xmlns:mc="http://schemas.openxmlformats.org/markup-compatibility/2006" xmlns:a14="http://schemas.microsoft.com/office/drawing/2010/main" xmlns:p159="http://schemas.microsoft.com/office/powerpoint/2015/09/main" xmlns:p15="http://schemas.microsoft.com/office/powerpoint/2012/main" xmlns:wp="http://schemas.openxmlformats.org/drawingml/2006/wordprocessingDrawing" xmlns:w="http://schemas.openxmlformats.org/wordprocessingml/2006/main" xmlns:m="http://schemas.openxmlformats.org/officeDocument/2006/math" xmlns="" w="12700">
                  <a:solidFill>
                    <a:schemeClr val="tx1"/>
                  </a:solidFill>
                  <a:miter lim="800000"/>
                  <a:headEnd/>
                  <a:tailEnd/>
                </a14:hiddenLine>
              </a:ext>
            </a:extLst>
          </p:spPr>
          <p:txBody>
            <a:bodyPr wrap="square" lIns="0" tIns="0" rIns="0" bIns="0" anchor="ctr">
              <a:spAutoFit/>
            </a:bodyPr>
            <a:lstStyle/>
            <a:p>
              <a:pPr algn="ctr"/>
              <a:r>
                <a:rPr lang="en-GB" sz="4800" b="1" spc="113">
                  <a:solidFill>
                    <a:schemeClr val="bg1"/>
                  </a:solidFill>
                  <a:latin typeface="Calibri" panose="020F0502020204030204" pitchFamily="34" charset="0"/>
                  <a:ea typeface="Roboto" charset="0"/>
                  <a:cs typeface="Calibri" panose="020F0502020204030204" pitchFamily="34" charset="0"/>
                  <a:sym typeface="Bebas Neue" charset="0"/>
                </a:rPr>
                <a:t>03</a:t>
              </a:r>
            </a:p>
          </p:txBody>
        </p:sp>
      </p:grpSp>
    </p:spTree>
    <p:extLst>
      <p:ext uri="{BB962C8B-B14F-4D97-AF65-F5344CB8AC3E}">
        <p14:creationId xmlns:p14="http://schemas.microsoft.com/office/powerpoint/2010/main" val="2690352492"/>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41B82FEE-1C27-6425-3E2E-73E301035009}"/>
              </a:ext>
            </a:extLst>
          </p:cNvPr>
          <p:cNvSpPr>
            <a:spLocks noGrp="1"/>
          </p:cNvSpPr>
          <p:nvPr>
            <p:ph type="body" sz="quarter" idx="18"/>
          </p:nvPr>
        </p:nvSpPr>
        <p:spPr>
          <a:xfrm>
            <a:off x="3971925" y="605588"/>
            <a:ext cx="7631496" cy="5019127"/>
          </a:xfrm>
        </p:spPr>
        <p:txBody>
          <a:bodyPr numCol="1" spcCol="72000">
            <a:normAutofit lnSpcReduction="10000"/>
          </a:bodyPr>
          <a:lstStyle/>
          <a:p>
            <a:pPr marL="12700" indent="-12700" algn="just"/>
            <a:r>
              <a:rPr lang="en-US"/>
              <a:t>Algunas de las empresas más exitosas del mundo han estado muy cerca de la ruina financiera, pero se han recuperado de forma espectacular. Un ejemplo claro es Evernote, la empresa de software de San Francisco. La empresa se encontró con sólo tres semanas de efectivo en 2008, cuando un inversor clave se retiró al llegar la crisis financiera. Se tomó la dolorosa decisión de cerrar la empresa y ahorrar dinero para los costes legales que implicaba el cierre. Sin embargo, después de que un ávido usuario de Evernote en Suecia invirtiera medio millón de dólares, la empresa volvió a ponerse en marcha, acumuló 100 millones de usuarios en todo el mundo y fue valorada recientemente en 1.000 millones de dólares.</a:t>
            </a:r>
          </a:p>
          <a:p>
            <a:pPr marL="12700" indent="-12700"/>
            <a:endParaRPr lang="en-US"/>
          </a:p>
          <a:p>
            <a:pPr marL="12700" indent="-12700"/>
            <a:r>
              <a:rPr lang="en-GB" sz="2800" b="1">
                <a:solidFill>
                  <a:srgbClr val="B41F7A"/>
                </a:solidFill>
                <a:latin typeface="Calibri" panose="020F0502020204030204" pitchFamily="34" charset="0"/>
                <a:ea typeface="Lato Light" panose="020F0502020204030203" pitchFamily="34" charset="0"/>
                <a:cs typeface="Calibri" panose="020F0502020204030204" pitchFamily="34" charset="0"/>
              </a:rPr>
              <a:t>LEER: </a:t>
            </a:r>
          </a:p>
          <a:p>
            <a:pPr marL="12700" indent="-12700"/>
            <a:r>
              <a:rPr lang="en-GB" b="1">
                <a:solidFill>
                  <a:srgbClr val="B41F7A"/>
                </a:solidFill>
                <a:latin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Cómo 5 grandes marcas se recuperaron del borde del fracaso</a:t>
            </a:r>
            <a:endParaRPr lang="en-GB" b="1">
              <a:solidFill>
                <a:srgbClr val="B41F7A"/>
              </a:solidFill>
              <a:latin typeface="Calibri" panose="020F0502020204030204" pitchFamily="34" charset="0"/>
              <a:cs typeface="Calibri" panose="020F0502020204030204" pitchFamily="34" charset="0"/>
            </a:endParaRPr>
          </a:p>
          <a:p>
            <a:pPr marL="12700" indent="-12700"/>
            <a:endParaRPr lang="en-US"/>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479191" y="572475"/>
            <a:ext cx="2670642" cy="3253943"/>
          </a:xfrm>
        </p:spPr>
        <p:txBody>
          <a:bodyPr>
            <a:normAutofit/>
          </a:bodyPr>
          <a:lstStyle/>
          <a:p>
            <a:r>
              <a:rPr lang="en-US">
                <a:solidFill>
                  <a:schemeClr val="bg1"/>
                </a:solidFill>
              </a:rPr>
              <a:t>¿De vuelta del borde?</a:t>
            </a:r>
          </a:p>
          <a:p>
            <a:endParaRPr lang="en-US">
              <a:solidFill>
                <a:schemeClr val="bg1"/>
              </a:solidFill>
            </a:endParaRPr>
          </a:p>
          <a:p>
            <a:r>
              <a:rPr lang="en-US">
                <a:solidFill>
                  <a:srgbClr val="EDA13E"/>
                </a:solidFill>
              </a:rPr>
              <a:t>La historia de Evernote</a:t>
            </a:r>
          </a:p>
          <a:p>
            <a:endParaRPr lang="en-US"/>
          </a:p>
          <a:p>
            <a:endParaRPr lang="en-US"/>
          </a:p>
        </p:txBody>
      </p:sp>
      <p:pic>
        <p:nvPicPr>
          <p:cNvPr id="5" name="Picture 4">
            <a:extLst>
              <a:ext uri="{FF2B5EF4-FFF2-40B4-BE49-F238E27FC236}">
                <a16:creationId xmlns:a16="http://schemas.microsoft.com/office/drawing/2014/main" id="{DCAF31DA-A21E-1210-BD65-1EA75D691421}"/>
              </a:ext>
            </a:extLst>
          </p:cNvPr>
          <p:cNvPicPr>
            <a:picLocks noChangeAspect="1"/>
          </p:cNvPicPr>
          <p:nvPr/>
        </p:nvPicPr>
        <p:blipFill>
          <a:blip r:embed="rId3"/>
          <a:stretch>
            <a:fillRect/>
          </a:stretch>
        </p:blipFill>
        <p:spPr>
          <a:xfrm>
            <a:off x="-28574" y="4487228"/>
            <a:ext cx="3747874" cy="1137487"/>
          </a:xfrm>
          <a:prstGeom prst="rect">
            <a:avLst/>
          </a:prstGeom>
        </p:spPr>
      </p:pic>
    </p:spTree>
    <p:extLst>
      <p:ext uri="{BB962C8B-B14F-4D97-AF65-F5344CB8AC3E}">
        <p14:creationId xmlns:p14="http://schemas.microsoft.com/office/powerpoint/2010/main" val="17721390"/>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289442"/>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a:solidFill>
                  <a:schemeClr val="bg1"/>
                </a:solidFill>
              </a:rPr>
              <a:t>04 </a:t>
            </a:r>
            <a:r>
              <a:rPr lang="en-IE">
                <a:solidFill>
                  <a:schemeClr val="bg1"/>
                </a:solidFill>
              </a:rPr>
              <a:t>Señales de relajación</a:t>
            </a:r>
            <a:endParaRPr lang="en-US">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750815"/>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225677" y="1918123"/>
            <a:ext cx="9831643" cy="4255886"/>
          </a:xfrm>
        </p:spPr>
        <p:txBody>
          <a:bodyPr>
            <a:normAutofit/>
          </a:bodyPr>
          <a:lstStyle/>
          <a:p>
            <a:pPr marL="12700" indent="-12700"/>
            <a:r>
              <a:rPr lang="en-US"/>
              <a:t>Si las medidas aplicadas tienen éxito, ahora empiezan a aparecer los primeros signos de relajación. </a:t>
            </a:r>
          </a:p>
          <a:p>
            <a:pPr marL="12700" indent="-12700"/>
            <a:r>
              <a:rPr lang="en-US"/>
              <a:t>Sin embargo, la reestructuración debe seguir aplicándose de forma coherente. </a:t>
            </a:r>
          </a:p>
          <a:p>
            <a:pPr marL="12700" indent="-12700"/>
            <a:r>
              <a:rPr lang="en-US" b="1">
                <a:solidFill>
                  <a:srgbClr val="F16924"/>
                </a:solidFill>
              </a:rPr>
              <a:t>No te conformes.</a:t>
            </a:r>
          </a:p>
          <a:p>
            <a:pPr marL="12700" indent="-12700"/>
            <a:endParaRPr lang="en-US" b="1">
              <a:solidFill>
                <a:srgbClr val="F16924"/>
              </a:solidFill>
            </a:endParaRPr>
          </a:p>
          <a:p>
            <a:pPr marL="12700" indent="-12700"/>
            <a:r>
              <a:rPr lang="en-US" b="1">
                <a:solidFill>
                  <a:schemeClr val="bg1"/>
                </a:solidFill>
                <a:highlight>
                  <a:srgbClr val="F16924"/>
                </a:highlight>
              </a:rPr>
              <a:t>LEER </a:t>
            </a:r>
            <a:r>
              <a:rPr lang="en-US"/>
              <a:t>Artículo realmente interesante en LINKEDIN - </a:t>
            </a:r>
            <a:r>
              <a:rPr lang="en-GB"/>
              <a:t>Cómo la </a:t>
            </a:r>
            <a:r>
              <a:rPr lang="en-GB" b="1"/>
              <a:t>complacencia</a:t>
            </a:r>
            <a:r>
              <a:rPr lang="en-GB"/>
              <a:t> casi mata mi negocio - </a:t>
            </a:r>
            <a:r>
              <a:rPr lang="en-GB" b="1"/>
              <a:t>Cuando te vuelves complaciente pones tu negocio en riesgo. Estos siete peligros sugieren que necesitas reevaluar la forma en que diriges tu negocio. </a:t>
            </a:r>
            <a:r>
              <a:rPr lang="en-US" b="1">
                <a:solidFill>
                  <a:srgbClr val="F16924"/>
                </a:solidFill>
              </a:rPr>
              <a:t>https://www.linkedin.com/pulse/how-complacency-almost-killed-my-business-hassan-younes/?articleId=6541136148297846784</a:t>
            </a:r>
          </a:p>
        </p:txBody>
      </p:sp>
      <p:grpSp>
        <p:nvGrpSpPr>
          <p:cNvPr id="2" name="Group 1">
            <a:extLst>
              <a:ext uri="{FF2B5EF4-FFF2-40B4-BE49-F238E27FC236}">
                <a16:creationId xmlns:a16="http://schemas.microsoft.com/office/drawing/2014/main" id="{6560FC22-DF33-2D88-FAD5-D0E11B378B20}"/>
              </a:ext>
            </a:extLst>
          </p:cNvPr>
          <p:cNvGrpSpPr/>
          <p:nvPr/>
        </p:nvGrpSpPr>
        <p:grpSpPr>
          <a:xfrm>
            <a:off x="466113" y="1918123"/>
            <a:ext cx="1086135" cy="968195"/>
            <a:chOff x="4422991" y="1951890"/>
            <a:chExt cx="1086135" cy="968195"/>
          </a:xfrm>
          <a:solidFill>
            <a:srgbClr val="595959"/>
          </a:solidFill>
        </p:grpSpPr>
        <p:sp>
          <p:nvSpPr>
            <p:cNvPr id="3" name="Freeform 2">
              <a:extLst>
                <a:ext uri="{FF2B5EF4-FFF2-40B4-BE49-F238E27FC236}">
                  <a16:creationId xmlns:a16="http://schemas.microsoft.com/office/drawing/2014/main" id="{A2AA5479-47BC-FB75-A2CD-308581D51E9F}"/>
                </a:ext>
              </a:extLst>
            </p:cNvPr>
            <p:cNvSpPr/>
            <p:nvPr/>
          </p:nvSpPr>
          <p:spPr>
            <a:xfrm>
              <a:off x="4422991" y="1951890"/>
              <a:ext cx="1086135" cy="968195"/>
            </a:xfrm>
            <a:custGeom>
              <a:avLst/>
              <a:gdLst>
                <a:gd name="connsiteX0" fmla="*/ 704891 w 1086135"/>
                <a:gd name="connsiteY0" fmla="*/ 315418 h 968195"/>
                <a:gd name="connsiteX1" fmla="*/ 682949 w 1086135"/>
                <a:gd name="connsiteY1" fmla="*/ 293475 h 968195"/>
                <a:gd name="connsiteX2" fmla="*/ 614380 w 1086135"/>
                <a:gd name="connsiteY2" fmla="*/ 296218 h 968195"/>
                <a:gd name="connsiteX3" fmla="*/ 600666 w 1086135"/>
                <a:gd name="connsiteY3" fmla="*/ 329131 h 968195"/>
                <a:gd name="connsiteX4" fmla="*/ 614380 w 1086135"/>
                <a:gd name="connsiteY4" fmla="*/ 362045 h 968195"/>
                <a:gd name="connsiteX5" fmla="*/ 633579 w 1086135"/>
                <a:gd name="connsiteY5" fmla="*/ 381244 h 968195"/>
                <a:gd name="connsiteX6" fmla="*/ 658265 w 1086135"/>
                <a:gd name="connsiteY6" fmla="*/ 403186 h 968195"/>
                <a:gd name="connsiteX7" fmla="*/ 715862 w 1086135"/>
                <a:gd name="connsiteY7" fmla="*/ 458041 h 968195"/>
                <a:gd name="connsiteX8" fmla="*/ 748776 w 1086135"/>
                <a:gd name="connsiteY8" fmla="*/ 471755 h 968195"/>
                <a:gd name="connsiteX9" fmla="*/ 751519 w 1086135"/>
                <a:gd name="connsiteY9" fmla="*/ 471755 h 968195"/>
                <a:gd name="connsiteX10" fmla="*/ 784431 w 1086135"/>
                <a:gd name="connsiteY10" fmla="*/ 455299 h 968195"/>
                <a:gd name="connsiteX11" fmla="*/ 795403 w 1086135"/>
                <a:gd name="connsiteY11" fmla="*/ 441585 h 968195"/>
                <a:gd name="connsiteX12" fmla="*/ 795403 w 1086135"/>
                <a:gd name="connsiteY12" fmla="*/ 490955 h 968195"/>
                <a:gd name="connsiteX13" fmla="*/ 795403 w 1086135"/>
                <a:gd name="connsiteY13" fmla="*/ 493697 h 968195"/>
                <a:gd name="connsiteX14" fmla="*/ 809117 w 1086135"/>
                <a:gd name="connsiteY14" fmla="*/ 562266 h 968195"/>
                <a:gd name="connsiteX15" fmla="*/ 817345 w 1086135"/>
                <a:gd name="connsiteY15" fmla="*/ 650035 h 968195"/>
                <a:gd name="connsiteX16" fmla="*/ 817345 w 1086135"/>
                <a:gd name="connsiteY16" fmla="*/ 806372 h 968195"/>
                <a:gd name="connsiteX17" fmla="*/ 767975 w 1086135"/>
                <a:gd name="connsiteY17" fmla="*/ 863970 h 968195"/>
                <a:gd name="connsiteX18" fmla="*/ 767975 w 1086135"/>
                <a:gd name="connsiteY18" fmla="*/ 872198 h 968195"/>
                <a:gd name="connsiteX19" fmla="*/ 304447 w 1086135"/>
                <a:gd name="connsiteY19" fmla="*/ 872198 h 968195"/>
                <a:gd name="connsiteX20" fmla="*/ 304447 w 1086135"/>
                <a:gd name="connsiteY20" fmla="*/ 863970 h 968195"/>
                <a:gd name="connsiteX21" fmla="*/ 255077 w 1086135"/>
                <a:gd name="connsiteY21" fmla="*/ 806372 h 968195"/>
                <a:gd name="connsiteX22" fmla="*/ 255077 w 1086135"/>
                <a:gd name="connsiteY22" fmla="*/ 650035 h 968195"/>
                <a:gd name="connsiteX23" fmla="*/ 263306 w 1086135"/>
                <a:gd name="connsiteY23" fmla="*/ 562266 h 968195"/>
                <a:gd name="connsiteX24" fmla="*/ 277020 w 1086135"/>
                <a:gd name="connsiteY24" fmla="*/ 493697 h 968195"/>
                <a:gd name="connsiteX25" fmla="*/ 277020 w 1086135"/>
                <a:gd name="connsiteY25" fmla="*/ 490955 h 968195"/>
                <a:gd name="connsiteX26" fmla="*/ 277020 w 1086135"/>
                <a:gd name="connsiteY26" fmla="*/ 441585 h 968195"/>
                <a:gd name="connsiteX27" fmla="*/ 287991 w 1086135"/>
                <a:gd name="connsiteY27" fmla="*/ 455299 h 968195"/>
                <a:gd name="connsiteX28" fmla="*/ 320904 w 1086135"/>
                <a:gd name="connsiteY28" fmla="*/ 471755 h 968195"/>
                <a:gd name="connsiteX29" fmla="*/ 323647 w 1086135"/>
                <a:gd name="connsiteY29" fmla="*/ 471755 h 968195"/>
                <a:gd name="connsiteX30" fmla="*/ 356560 w 1086135"/>
                <a:gd name="connsiteY30" fmla="*/ 458041 h 968195"/>
                <a:gd name="connsiteX31" fmla="*/ 414158 w 1086135"/>
                <a:gd name="connsiteY31" fmla="*/ 403186 h 968195"/>
                <a:gd name="connsiteX32" fmla="*/ 438843 w 1086135"/>
                <a:gd name="connsiteY32" fmla="*/ 381244 h 968195"/>
                <a:gd name="connsiteX33" fmla="*/ 458042 w 1086135"/>
                <a:gd name="connsiteY33" fmla="*/ 362045 h 968195"/>
                <a:gd name="connsiteX34" fmla="*/ 471756 w 1086135"/>
                <a:gd name="connsiteY34" fmla="*/ 329131 h 968195"/>
                <a:gd name="connsiteX35" fmla="*/ 458042 w 1086135"/>
                <a:gd name="connsiteY35" fmla="*/ 296218 h 968195"/>
                <a:gd name="connsiteX36" fmla="*/ 389473 w 1086135"/>
                <a:gd name="connsiteY36" fmla="*/ 293475 h 968195"/>
                <a:gd name="connsiteX37" fmla="*/ 367531 w 1086135"/>
                <a:gd name="connsiteY37" fmla="*/ 315418 h 968195"/>
                <a:gd name="connsiteX38" fmla="*/ 345589 w 1086135"/>
                <a:gd name="connsiteY38" fmla="*/ 337360 h 968195"/>
                <a:gd name="connsiteX39" fmla="*/ 326390 w 1086135"/>
                <a:gd name="connsiteY39" fmla="*/ 356559 h 968195"/>
                <a:gd name="connsiteX40" fmla="*/ 274277 w 1086135"/>
                <a:gd name="connsiteY40" fmla="*/ 293475 h 968195"/>
                <a:gd name="connsiteX41" fmla="*/ 252335 w 1086135"/>
                <a:gd name="connsiteY41" fmla="*/ 252334 h 968195"/>
                <a:gd name="connsiteX42" fmla="*/ 244107 w 1086135"/>
                <a:gd name="connsiteY42" fmla="*/ 244106 h 968195"/>
                <a:gd name="connsiteX43" fmla="*/ 244107 w 1086135"/>
                <a:gd name="connsiteY43" fmla="*/ 200222 h 968195"/>
                <a:gd name="connsiteX44" fmla="*/ 277020 w 1086135"/>
                <a:gd name="connsiteY44" fmla="*/ 137138 h 968195"/>
                <a:gd name="connsiteX45" fmla="*/ 277020 w 1086135"/>
                <a:gd name="connsiteY45" fmla="*/ 117939 h 968195"/>
                <a:gd name="connsiteX46" fmla="*/ 312676 w 1086135"/>
                <a:gd name="connsiteY46" fmla="*/ 76797 h 968195"/>
                <a:gd name="connsiteX47" fmla="*/ 235878 w 1086135"/>
                <a:gd name="connsiteY47" fmla="*/ 0 h 968195"/>
                <a:gd name="connsiteX48" fmla="*/ 183765 w 1086135"/>
                <a:gd name="connsiteY48" fmla="*/ 0 h 968195"/>
                <a:gd name="connsiteX49" fmla="*/ 123425 w 1086135"/>
                <a:gd name="connsiteY49" fmla="*/ 24685 h 968195"/>
                <a:gd name="connsiteX50" fmla="*/ 98740 w 1086135"/>
                <a:gd name="connsiteY50" fmla="*/ 85026 h 968195"/>
                <a:gd name="connsiteX51" fmla="*/ 98740 w 1086135"/>
                <a:gd name="connsiteY51" fmla="*/ 145366 h 968195"/>
                <a:gd name="connsiteX52" fmla="*/ 150852 w 1086135"/>
                <a:gd name="connsiteY52" fmla="*/ 211193 h 968195"/>
                <a:gd name="connsiteX53" fmla="*/ 150852 w 1086135"/>
                <a:gd name="connsiteY53" fmla="*/ 244106 h 968195"/>
                <a:gd name="connsiteX54" fmla="*/ 120682 w 1086135"/>
                <a:gd name="connsiteY54" fmla="*/ 307189 h 968195"/>
                <a:gd name="connsiteX55" fmla="*/ 120682 w 1086135"/>
                <a:gd name="connsiteY55" fmla="*/ 496440 h 968195"/>
                <a:gd name="connsiteX56" fmla="*/ 145367 w 1086135"/>
                <a:gd name="connsiteY56" fmla="*/ 559524 h 968195"/>
                <a:gd name="connsiteX57" fmla="*/ 156338 w 1086135"/>
                <a:gd name="connsiteY57" fmla="*/ 581466 h 968195"/>
                <a:gd name="connsiteX58" fmla="*/ 159081 w 1086135"/>
                <a:gd name="connsiteY58" fmla="*/ 606151 h 968195"/>
                <a:gd name="connsiteX59" fmla="*/ 159081 w 1086135"/>
                <a:gd name="connsiteY59" fmla="*/ 685691 h 968195"/>
                <a:gd name="connsiteX60" fmla="*/ 175537 w 1086135"/>
                <a:gd name="connsiteY60" fmla="*/ 702147 h 968195"/>
                <a:gd name="connsiteX61" fmla="*/ 191994 w 1086135"/>
                <a:gd name="connsiteY61" fmla="*/ 685691 h 968195"/>
                <a:gd name="connsiteX62" fmla="*/ 191994 w 1086135"/>
                <a:gd name="connsiteY62" fmla="*/ 606151 h 968195"/>
                <a:gd name="connsiteX63" fmla="*/ 186508 w 1086135"/>
                <a:gd name="connsiteY63" fmla="*/ 573238 h 968195"/>
                <a:gd name="connsiteX64" fmla="*/ 170051 w 1086135"/>
                <a:gd name="connsiteY64" fmla="*/ 543067 h 968195"/>
                <a:gd name="connsiteX65" fmla="*/ 153595 w 1086135"/>
                <a:gd name="connsiteY65" fmla="*/ 507411 h 968195"/>
                <a:gd name="connsiteX66" fmla="*/ 244107 w 1086135"/>
                <a:gd name="connsiteY66" fmla="*/ 507411 h 968195"/>
                <a:gd name="connsiteX67" fmla="*/ 233135 w 1086135"/>
                <a:gd name="connsiteY67" fmla="*/ 556781 h 968195"/>
                <a:gd name="connsiteX68" fmla="*/ 222164 w 1086135"/>
                <a:gd name="connsiteY68" fmla="*/ 652778 h 968195"/>
                <a:gd name="connsiteX69" fmla="*/ 222164 w 1086135"/>
                <a:gd name="connsiteY69" fmla="*/ 809115 h 968195"/>
                <a:gd name="connsiteX70" fmla="*/ 200222 w 1086135"/>
                <a:gd name="connsiteY70" fmla="*/ 809115 h 968195"/>
                <a:gd name="connsiteX71" fmla="*/ 200222 w 1086135"/>
                <a:gd name="connsiteY71" fmla="*/ 757003 h 968195"/>
                <a:gd name="connsiteX72" fmla="*/ 183765 w 1086135"/>
                <a:gd name="connsiteY72" fmla="*/ 740546 h 968195"/>
                <a:gd name="connsiteX73" fmla="*/ 167309 w 1086135"/>
                <a:gd name="connsiteY73" fmla="*/ 757003 h 968195"/>
                <a:gd name="connsiteX74" fmla="*/ 167309 w 1086135"/>
                <a:gd name="connsiteY74" fmla="*/ 874941 h 968195"/>
                <a:gd name="connsiteX75" fmla="*/ 46627 w 1086135"/>
                <a:gd name="connsiteY75" fmla="*/ 874941 h 968195"/>
                <a:gd name="connsiteX76" fmla="*/ 0 w 1086135"/>
                <a:gd name="connsiteY76" fmla="*/ 921568 h 968195"/>
                <a:gd name="connsiteX77" fmla="*/ 46627 w 1086135"/>
                <a:gd name="connsiteY77" fmla="*/ 968195 h 968195"/>
                <a:gd name="connsiteX78" fmla="*/ 1039509 w 1086135"/>
                <a:gd name="connsiteY78" fmla="*/ 968195 h 968195"/>
                <a:gd name="connsiteX79" fmla="*/ 1086136 w 1086135"/>
                <a:gd name="connsiteY79" fmla="*/ 921568 h 968195"/>
                <a:gd name="connsiteX80" fmla="*/ 1039509 w 1086135"/>
                <a:gd name="connsiteY80" fmla="*/ 874941 h 968195"/>
                <a:gd name="connsiteX81" fmla="*/ 918828 w 1086135"/>
                <a:gd name="connsiteY81" fmla="*/ 874941 h 968195"/>
                <a:gd name="connsiteX82" fmla="*/ 918828 w 1086135"/>
                <a:gd name="connsiteY82" fmla="*/ 606151 h 968195"/>
                <a:gd name="connsiteX83" fmla="*/ 921570 w 1086135"/>
                <a:gd name="connsiteY83" fmla="*/ 581466 h 968195"/>
                <a:gd name="connsiteX84" fmla="*/ 932541 w 1086135"/>
                <a:gd name="connsiteY84" fmla="*/ 559524 h 968195"/>
                <a:gd name="connsiteX85" fmla="*/ 957226 w 1086135"/>
                <a:gd name="connsiteY85" fmla="*/ 496440 h 968195"/>
                <a:gd name="connsiteX86" fmla="*/ 957226 w 1086135"/>
                <a:gd name="connsiteY86" fmla="*/ 414157 h 968195"/>
                <a:gd name="connsiteX87" fmla="*/ 940769 w 1086135"/>
                <a:gd name="connsiteY87" fmla="*/ 397701 h 968195"/>
                <a:gd name="connsiteX88" fmla="*/ 924313 w 1086135"/>
                <a:gd name="connsiteY88" fmla="*/ 414157 h 968195"/>
                <a:gd name="connsiteX89" fmla="*/ 924313 w 1086135"/>
                <a:gd name="connsiteY89" fmla="*/ 474498 h 968195"/>
                <a:gd name="connsiteX90" fmla="*/ 831059 w 1086135"/>
                <a:gd name="connsiteY90" fmla="*/ 474498 h 968195"/>
                <a:gd name="connsiteX91" fmla="*/ 831059 w 1086135"/>
                <a:gd name="connsiteY91" fmla="*/ 403186 h 968195"/>
                <a:gd name="connsiteX92" fmla="*/ 880428 w 1086135"/>
                <a:gd name="connsiteY92" fmla="*/ 345588 h 968195"/>
                <a:gd name="connsiteX93" fmla="*/ 885914 w 1086135"/>
                <a:gd name="connsiteY93" fmla="*/ 340103 h 968195"/>
                <a:gd name="connsiteX94" fmla="*/ 885914 w 1086135"/>
                <a:gd name="connsiteY94" fmla="*/ 340103 h 968195"/>
                <a:gd name="connsiteX95" fmla="*/ 880428 w 1086135"/>
                <a:gd name="connsiteY95" fmla="*/ 274276 h 968195"/>
                <a:gd name="connsiteX96" fmla="*/ 861229 w 1086135"/>
                <a:gd name="connsiteY96" fmla="*/ 263305 h 968195"/>
                <a:gd name="connsiteX97" fmla="*/ 883171 w 1086135"/>
                <a:gd name="connsiteY97" fmla="*/ 257820 h 968195"/>
                <a:gd name="connsiteX98" fmla="*/ 929798 w 1086135"/>
                <a:gd name="connsiteY98" fmla="*/ 304447 h 968195"/>
                <a:gd name="connsiteX99" fmla="*/ 929798 w 1086135"/>
                <a:gd name="connsiteY99" fmla="*/ 345588 h 968195"/>
                <a:gd name="connsiteX100" fmla="*/ 946255 w 1086135"/>
                <a:gd name="connsiteY100" fmla="*/ 362045 h 968195"/>
                <a:gd name="connsiteX101" fmla="*/ 962711 w 1086135"/>
                <a:gd name="connsiteY101" fmla="*/ 345588 h 968195"/>
                <a:gd name="connsiteX102" fmla="*/ 962711 w 1086135"/>
                <a:gd name="connsiteY102" fmla="*/ 309932 h 968195"/>
                <a:gd name="connsiteX103" fmla="*/ 932541 w 1086135"/>
                <a:gd name="connsiteY103" fmla="*/ 246849 h 968195"/>
                <a:gd name="connsiteX104" fmla="*/ 932541 w 1086135"/>
                <a:gd name="connsiteY104" fmla="*/ 200222 h 968195"/>
                <a:gd name="connsiteX105" fmla="*/ 951740 w 1086135"/>
                <a:gd name="connsiteY105" fmla="*/ 181022 h 968195"/>
                <a:gd name="connsiteX106" fmla="*/ 984654 w 1086135"/>
                <a:gd name="connsiteY106" fmla="*/ 134396 h 968195"/>
                <a:gd name="connsiteX107" fmla="*/ 984654 w 1086135"/>
                <a:gd name="connsiteY107" fmla="*/ 63084 h 968195"/>
                <a:gd name="connsiteX108" fmla="*/ 965454 w 1086135"/>
                <a:gd name="connsiteY108" fmla="*/ 19199 h 968195"/>
                <a:gd name="connsiteX109" fmla="*/ 921570 w 1086135"/>
                <a:gd name="connsiteY109" fmla="*/ 0 h 968195"/>
                <a:gd name="connsiteX110" fmla="*/ 800888 w 1086135"/>
                <a:gd name="connsiteY110" fmla="*/ 0 h 968195"/>
                <a:gd name="connsiteX111" fmla="*/ 767975 w 1086135"/>
                <a:gd name="connsiteY111" fmla="*/ 32913 h 968195"/>
                <a:gd name="connsiteX112" fmla="*/ 803631 w 1086135"/>
                <a:gd name="connsiteY112" fmla="*/ 101482 h 968195"/>
                <a:gd name="connsiteX113" fmla="*/ 803631 w 1086135"/>
                <a:gd name="connsiteY113" fmla="*/ 134396 h 968195"/>
                <a:gd name="connsiteX114" fmla="*/ 836544 w 1086135"/>
                <a:gd name="connsiteY114" fmla="*/ 197479 h 968195"/>
                <a:gd name="connsiteX115" fmla="*/ 836544 w 1086135"/>
                <a:gd name="connsiteY115" fmla="*/ 244106 h 968195"/>
                <a:gd name="connsiteX116" fmla="*/ 828316 w 1086135"/>
                <a:gd name="connsiteY116" fmla="*/ 252334 h 968195"/>
                <a:gd name="connsiteX117" fmla="*/ 806374 w 1086135"/>
                <a:gd name="connsiteY117" fmla="*/ 293475 h 968195"/>
                <a:gd name="connsiteX118" fmla="*/ 754261 w 1086135"/>
                <a:gd name="connsiteY118" fmla="*/ 356559 h 968195"/>
                <a:gd name="connsiteX119" fmla="*/ 735062 w 1086135"/>
                <a:gd name="connsiteY119" fmla="*/ 337360 h 968195"/>
                <a:gd name="connsiteX120" fmla="*/ 927055 w 1086135"/>
                <a:gd name="connsiteY120" fmla="*/ 507411 h 968195"/>
                <a:gd name="connsiteX121" fmla="*/ 910599 w 1086135"/>
                <a:gd name="connsiteY121" fmla="*/ 543067 h 968195"/>
                <a:gd name="connsiteX122" fmla="*/ 894142 w 1086135"/>
                <a:gd name="connsiteY122" fmla="*/ 573238 h 968195"/>
                <a:gd name="connsiteX123" fmla="*/ 888657 w 1086135"/>
                <a:gd name="connsiteY123" fmla="*/ 606151 h 968195"/>
                <a:gd name="connsiteX124" fmla="*/ 888657 w 1086135"/>
                <a:gd name="connsiteY124" fmla="*/ 806372 h 968195"/>
                <a:gd name="connsiteX125" fmla="*/ 855743 w 1086135"/>
                <a:gd name="connsiteY125" fmla="*/ 806372 h 968195"/>
                <a:gd name="connsiteX126" fmla="*/ 855743 w 1086135"/>
                <a:gd name="connsiteY126" fmla="*/ 650035 h 968195"/>
                <a:gd name="connsiteX127" fmla="*/ 844772 w 1086135"/>
                <a:gd name="connsiteY127" fmla="*/ 554038 h 968195"/>
                <a:gd name="connsiteX128" fmla="*/ 833802 w 1086135"/>
                <a:gd name="connsiteY128" fmla="*/ 504669 h 968195"/>
                <a:gd name="connsiteX129" fmla="*/ 927055 w 1086135"/>
                <a:gd name="connsiteY129" fmla="*/ 504669 h 968195"/>
                <a:gd name="connsiteX130" fmla="*/ 896885 w 1086135"/>
                <a:gd name="connsiteY130" fmla="*/ 230392 h 968195"/>
                <a:gd name="connsiteX131" fmla="*/ 880428 w 1086135"/>
                <a:gd name="connsiteY131" fmla="*/ 227649 h 968195"/>
                <a:gd name="connsiteX132" fmla="*/ 863972 w 1086135"/>
                <a:gd name="connsiteY132" fmla="*/ 230392 h 968195"/>
                <a:gd name="connsiteX133" fmla="*/ 863972 w 1086135"/>
                <a:gd name="connsiteY133" fmla="*/ 213936 h 968195"/>
                <a:gd name="connsiteX134" fmla="*/ 880428 w 1086135"/>
                <a:gd name="connsiteY134" fmla="*/ 216678 h 968195"/>
                <a:gd name="connsiteX135" fmla="*/ 896885 w 1086135"/>
                <a:gd name="connsiteY135" fmla="*/ 213936 h 968195"/>
                <a:gd name="connsiteX136" fmla="*/ 896885 w 1086135"/>
                <a:gd name="connsiteY136" fmla="*/ 230392 h 968195"/>
                <a:gd name="connsiteX137" fmla="*/ 795403 w 1086135"/>
                <a:gd name="connsiteY137" fmla="*/ 32913 h 968195"/>
                <a:gd name="connsiteX138" fmla="*/ 916085 w 1086135"/>
                <a:gd name="connsiteY138" fmla="*/ 32913 h 968195"/>
                <a:gd name="connsiteX139" fmla="*/ 938026 w 1086135"/>
                <a:gd name="connsiteY139" fmla="*/ 41141 h 968195"/>
                <a:gd name="connsiteX140" fmla="*/ 946255 w 1086135"/>
                <a:gd name="connsiteY140" fmla="*/ 63084 h 968195"/>
                <a:gd name="connsiteX141" fmla="*/ 946255 w 1086135"/>
                <a:gd name="connsiteY141" fmla="*/ 134396 h 968195"/>
                <a:gd name="connsiteX142" fmla="*/ 929798 w 1086135"/>
                <a:gd name="connsiteY142" fmla="*/ 150852 h 968195"/>
                <a:gd name="connsiteX143" fmla="*/ 913342 w 1086135"/>
                <a:gd name="connsiteY143" fmla="*/ 134396 h 968195"/>
                <a:gd name="connsiteX144" fmla="*/ 866714 w 1086135"/>
                <a:gd name="connsiteY144" fmla="*/ 87768 h 968195"/>
                <a:gd name="connsiteX145" fmla="*/ 850258 w 1086135"/>
                <a:gd name="connsiteY145" fmla="*/ 87768 h 968195"/>
                <a:gd name="connsiteX146" fmla="*/ 795403 w 1086135"/>
                <a:gd name="connsiteY146" fmla="*/ 32913 h 968195"/>
                <a:gd name="connsiteX147" fmla="*/ 831059 w 1086135"/>
                <a:gd name="connsiteY147" fmla="*/ 134396 h 968195"/>
                <a:gd name="connsiteX148" fmla="*/ 831059 w 1086135"/>
                <a:gd name="connsiteY148" fmla="*/ 115196 h 968195"/>
                <a:gd name="connsiteX149" fmla="*/ 850258 w 1086135"/>
                <a:gd name="connsiteY149" fmla="*/ 117939 h 968195"/>
                <a:gd name="connsiteX150" fmla="*/ 866714 w 1086135"/>
                <a:gd name="connsiteY150" fmla="*/ 117939 h 968195"/>
                <a:gd name="connsiteX151" fmla="*/ 880428 w 1086135"/>
                <a:gd name="connsiteY151" fmla="*/ 131653 h 968195"/>
                <a:gd name="connsiteX152" fmla="*/ 905114 w 1086135"/>
                <a:gd name="connsiteY152" fmla="*/ 172794 h 968195"/>
                <a:gd name="connsiteX153" fmla="*/ 877686 w 1086135"/>
                <a:gd name="connsiteY153" fmla="*/ 181022 h 968195"/>
                <a:gd name="connsiteX154" fmla="*/ 831059 w 1086135"/>
                <a:gd name="connsiteY154" fmla="*/ 134396 h 968195"/>
                <a:gd name="connsiteX155" fmla="*/ 765232 w 1086135"/>
                <a:gd name="connsiteY155" fmla="*/ 436099 h 968195"/>
                <a:gd name="connsiteX156" fmla="*/ 765232 w 1086135"/>
                <a:gd name="connsiteY156" fmla="*/ 436099 h 968195"/>
                <a:gd name="connsiteX157" fmla="*/ 754261 w 1086135"/>
                <a:gd name="connsiteY157" fmla="*/ 441585 h 968195"/>
                <a:gd name="connsiteX158" fmla="*/ 743290 w 1086135"/>
                <a:gd name="connsiteY158" fmla="*/ 438842 h 968195"/>
                <a:gd name="connsiteX159" fmla="*/ 743290 w 1086135"/>
                <a:gd name="connsiteY159" fmla="*/ 438842 h 968195"/>
                <a:gd name="connsiteX160" fmla="*/ 641808 w 1086135"/>
                <a:gd name="connsiteY160" fmla="*/ 340103 h 968195"/>
                <a:gd name="connsiteX161" fmla="*/ 636322 w 1086135"/>
                <a:gd name="connsiteY161" fmla="*/ 329131 h 968195"/>
                <a:gd name="connsiteX162" fmla="*/ 641808 w 1086135"/>
                <a:gd name="connsiteY162" fmla="*/ 318161 h 968195"/>
                <a:gd name="connsiteX163" fmla="*/ 663750 w 1086135"/>
                <a:gd name="connsiteY163" fmla="*/ 318161 h 968195"/>
                <a:gd name="connsiteX164" fmla="*/ 743290 w 1086135"/>
                <a:gd name="connsiteY164" fmla="*/ 392215 h 968195"/>
                <a:gd name="connsiteX165" fmla="*/ 754261 w 1086135"/>
                <a:gd name="connsiteY165" fmla="*/ 397701 h 968195"/>
                <a:gd name="connsiteX166" fmla="*/ 765232 w 1086135"/>
                <a:gd name="connsiteY166" fmla="*/ 392215 h 968195"/>
                <a:gd name="connsiteX167" fmla="*/ 778946 w 1086135"/>
                <a:gd name="connsiteY167" fmla="*/ 375758 h 968195"/>
                <a:gd name="connsiteX168" fmla="*/ 803631 w 1086135"/>
                <a:gd name="connsiteY168" fmla="*/ 397701 h 968195"/>
                <a:gd name="connsiteX169" fmla="*/ 765232 w 1086135"/>
                <a:gd name="connsiteY169" fmla="*/ 436099 h 968195"/>
                <a:gd name="connsiteX170" fmla="*/ 820088 w 1086135"/>
                <a:gd name="connsiteY170" fmla="*/ 370273 h 968195"/>
                <a:gd name="connsiteX171" fmla="*/ 795403 w 1086135"/>
                <a:gd name="connsiteY171" fmla="*/ 348331 h 968195"/>
                <a:gd name="connsiteX172" fmla="*/ 833802 w 1086135"/>
                <a:gd name="connsiteY172" fmla="*/ 301704 h 968195"/>
                <a:gd name="connsiteX173" fmla="*/ 855743 w 1086135"/>
                <a:gd name="connsiteY173" fmla="*/ 298961 h 968195"/>
                <a:gd name="connsiteX174" fmla="*/ 858486 w 1086135"/>
                <a:gd name="connsiteY174" fmla="*/ 320903 h 968195"/>
                <a:gd name="connsiteX175" fmla="*/ 820088 w 1086135"/>
                <a:gd name="connsiteY175" fmla="*/ 370273 h 968195"/>
                <a:gd name="connsiteX176" fmla="*/ 806374 w 1086135"/>
                <a:gd name="connsiteY176" fmla="*/ 866713 h 968195"/>
                <a:gd name="connsiteX177" fmla="*/ 833802 w 1086135"/>
                <a:gd name="connsiteY177" fmla="*/ 839285 h 968195"/>
                <a:gd name="connsiteX178" fmla="*/ 888657 w 1086135"/>
                <a:gd name="connsiteY178" fmla="*/ 839285 h 968195"/>
                <a:gd name="connsiteX179" fmla="*/ 888657 w 1086135"/>
                <a:gd name="connsiteY179" fmla="*/ 874941 h 968195"/>
                <a:gd name="connsiteX180" fmla="*/ 809117 w 1086135"/>
                <a:gd name="connsiteY180" fmla="*/ 874941 h 968195"/>
                <a:gd name="connsiteX181" fmla="*/ 809117 w 1086135"/>
                <a:gd name="connsiteY181" fmla="*/ 866713 h 968195"/>
                <a:gd name="connsiteX182" fmla="*/ 326390 w 1086135"/>
                <a:gd name="connsiteY182" fmla="*/ 389472 h 968195"/>
                <a:gd name="connsiteX183" fmla="*/ 337360 w 1086135"/>
                <a:gd name="connsiteY183" fmla="*/ 394958 h 968195"/>
                <a:gd name="connsiteX184" fmla="*/ 348331 w 1086135"/>
                <a:gd name="connsiteY184" fmla="*/ 389472 h 968195"/>
                <a:gd name="connsiteX185" fmla="*/ 427872 w 1086135"/>
                <a:gd name="connsiteY185" fmla="*/ 315418 h 968195"/>
                <a:gd name="connsiteX186" fmla="*/ 449814 w 1086135"/>
                <a:gd name="connsiteY186" fmla="*/ 315418 h 968195"/>
                <a:gd name="connsiteX187" fmla="*/ 455300 w 1086135"/>
                <a:gd name="connsiteY187" fmla="*/ 326389 h 968195"/>
                <a:gd name="connsiteX188" fmla="*/ 449814 w 1086135"/>
                <a:gd name="connsiteY188" fmla="*/ 337360 h 968195"/>
                <a:gd name="connsiteX189" fmla="*/ 348331 w 1086135"/>
                <a:gd name="connsiteY189" fmla="*/ 436099 h 968195"/>
                <a:gd name="connsiteX190" fmla="*/ 348331 w 1086135"/>
                <a:gd name="connsiteY190" fmla="*/ 436099 h 968195"/>
                <a:gd name="connsiteX191" fmla="*/ 337360 w 1086135"/>
                <a:gd name="connsiteY191" fmla="*/ 438842 h 968195"/>
                <a:gd name="connsiteX192" fmla="*/ 326390 w 1086135"/>
                <a:gd name="connsiteY192" fmla="*/ 433357 h 968195"/>
                <a:gd name="connsiteX193" fmla="*/ 326390 w 1086135"/>
                <a:gd name="connsiteY193" fmla="*/ 433357 h 968195"/>
                <a:gd name="connsiteX194" fmla="*/ 290734 w 1086135"/>
                <a:gd name="connsiteY194" fmla="*/ 392215 h 968195"/>
                <a:gd name="connsiteX195" fmla="*/ 315418 w 1086135"/>
                <a:gd name="connsiteY195" fmla="*/ 370273 h 968195"/>
                <a:gd name="connsiteX196" fmla="*/ 326390 w 1086135"/>
                <a:gd name="connsiteY196" fmla="*/ 389472 h 968195"/>
                <a:gd name="connsiteX197" fmla="*/ 290734 w 1086135"/>
                <a:gd name="connsiteY197" fmla="*/ 348331 h 968195"/>
                <a:gd name="connsiteX198" fmla="*/ 266048 w 1086135"/>
                <a:gd name="connsiteY198" fmla="*/ 370273 h 968195"/>
                <a:gd name="connsiteX199" fmla="*/ 224907 w 1086135"/>
                <a:gd name="connsiteY199" fmla="*/ 323646 h 968195"/>
                <a:gd name="connsiteX200" fmla="*/ 227650 w 1086135"/>
                <a:gd name="connsiteY200" fmla="*/ 301704 h 968195"/>
                <a:gd name="connsiteX201" fmla="*/ 249592 w 1086135"/>
                <a:gd name="connsiteY201" fmla="*/ 304447 h 968195"/>
                <a:gd name="connsiteX202" fmla="*/ 290734 w 1086135"/>
                <a:gd name="connsiteY202" fmla="*/ 348331 h 968195"/>
                <a:gd name="connsiteX203" fmla="*/ 255077 w 1086135"/>
                <a:gd name="connsiteY203" fmla="*/ 134396 h 968195"/>
                <a:gd name="connsiteX204" fmla="*/ 208450 w 1086135"/>
                <a:gd name="connsiteY204" fmla="*/ 181022 h 968195"/>
                <a:gd name="connsiteX205" fmla="*/ 205708 w 1086135"/>
                <a:gd name="connsiteY205" fmla="*/ 181022 h 968195"/>
                <a:gd name="connsiteX206" fmla="*/ 205708 w 1086135"/>
                <a:gd name="connsiteY206" fmla="*/ 131653 h 968195"/>
                <a:gd name="connsiteX207" fmla="*/ 222164 w 1086135"/>
                <a:gd name="connsiteY207" fmla="*/ 115196 h 968195"/>
                <a:gd name="connsiteX208" fmla="*/ 257820 w 1086135"/>
                <a:gd name="connsiteY208" fmla="*/ 115196 h 968195"/>
                <a:gd name="connsiteX209" fmla="*/ 257820 w 1086135"/>
                <a:gd name="connsiteY209" fmla="*/ 134396 h 968195"/>
                <a:gd name="connsiteX210" fmla="*/ 222164 w 1086135"/>
                <a:gd name="connsiteY210" fmla="*/ 213936 h 968195"/>
                <a:gd name="connsiteX211" fmla="*/ 222164 w 1086135"/>
                <a:gd name="connsiteY211" fmla="*/ 230392 h 968195"/>
                <a:gd name="connsiteX212" fmla="*/ 205708 w 1086135"/>
                <a:gd name="connsiteY212" fmla="*/ 227649 h 968195"/>
                <a:gd name="connsiteX213" fmla="*/ 189251 w 1086135"/>
                <a:gd name="connsiteY213" fmla="*/ 230392 h 968195"/>
                <a:gd name="connsiteX214" fmla="*/ 189251 w 1086135"/>
                <a:gd name="connsiteY214" fmla="*/ 211193 h 968195"/>
                <a:gd name="connsiteX215" fmla="*/ 205708 w 1086135"/>
                <a:gd name="connsiteY215" fmla="*/ 213936 h 968195"/>
                <a:gd name="connsiteX216" fmla="*/ 222164 w 1086135"/>
                <a:gd name="connsiteY216" fmla="*/ 213936 h 968195"/>
                <a:gd name="connsiteX217" fmla="*/ 139881 w 1086135"/>
                <a:gd name="connsiteY217" fmla="*/ 145366 h 968195"/>
                <a:gd name="connsiteX218" fmla="*/ 139881 w 1086135"/>
                <a:gd name="connsiteY218" fmla="*/ 85026 h 968195"/>
                <a:gd name="connsiteX219" fmla="*/ 156338 w 1086135"/>
                <a:gd name="connsiteY219" fmla="*/ 46627 h 968195"/>
                <a:gd name="connsiteX220" fmla="*/ 194737 w 1086135"/>
                <a:gd name="connsiteY220" fmla="*/ 30171 h 968195"/>
                <a:gd name="connsiteX221" fmla="*/ 246849 w 1086135"/>
                <a:gd name="connsiteY221" fmla="*/ 30171 h 968195"/>
                <a:gd name="connsiteX222" fmla="*/ 293476 w 1086135"/>
                <a:gd name="connsiteY222" fmla="*/ 76797 h 968195"/>
                <a:gd name="connsiteX223" fmla="*/ 285248 w 1086135"/>
                <a:gd name="connsiteY223" fmla="*/ 85026 h 968195"/>
                <a:gd name="connsiteX224" fmla="*/ 222164 w 1086135"/>
                <a:gd name="connsiteY224" fmla="*/ 85026 h 968195"/>
                <a:gd name="connsiteX225" fmla="*/ 175537 w 1086135"/>
                <a:gd name="connsiteY225" fmla="*/ 131653 h 968195"/>
                <a:gd name="connsiteX226" fmla="*/ 175537 w 1086135"/>
                <a:gd name="connsiteY226" fmla="*/ 181022 h 968195"/>
                <a:gd name="connsiteX227" fmla="*/ 139881 w 1086135"/>
                <a:gd name="connsiteY227" fmla="*/ 145366 h 968195"/>
                <a:gd name="connsiteX228" fmla="*/ 159081 w 1086135"/>
                <a:gd name="connsiteY228" fmla="*/ 477241 h 968195"/>
                <a:gd name="connsiteX229" fmla="*/ 159081 w 1086135"/>
                <a:gd name="connsiteY229" fmla="*/ 309932 h 968195"/>
                <a:gd name="connsiteX230" fmla="*/ 205708 w 1086135"/>
                <a:gd name="connsiteY230" fmla="*/ 263305 h 968195"/>
                <a:gd name="connsiteX231" fmla="*/ 227650 w 1086135"/>
                <a:gd name="connsiteY231" fmla="*/ 268791 h 968195"/>
                <a:gd name="connsiteX232" fmla="*/ 208450 w 1086135"/>
                <a:gd name="connsiteY232" fmla="*/ 279762 h 968195"/>
                <a:gd name="connsiteX233" fmla="*/ 202965 w 1086135"/>
                <a:gd name="connsiteY233" fmla="*/ 345588 h 968195"/>
                <a:gd name="connsiteX234" fmla="*/ 202965 w 1086135"/>
                <a:gd name="connsiteY234" fmla="*/ 345588 h 968195"/>
                <a:gd name="connsiteX235" fmla="*/ 255077 w 1086135"/>
                <a:gd name="connsiteY235" fmla="*/ 408672 h 968195"/>
                <a:gd name="connsiteX236" fmla="*/ 255077 w 1086135"/>
                <a:gd name="connsiteY236" fmla="*/ 479983 h 968195"/>
                <a:gd name="connsiteX237" fmla="*/ 159081 w 1086135"/>
                <a:gd name="connsiteY237" fmla="*/ 479983 h 968195"/>
                <a:gd name="connsiteX238" fmla="*/ 200222 w 1086135"/>
                <a:gd name="connsiteY238" fmla="*/ 839285 h 968195"/>
                <a:gd name="connsiteX239" fmla="*/ 255077 w 1086135"/>
                <a:gd name="connsiteY239" fmla="*/ 839285 h 968195"/>
                <a:gd name="connsiteX240" fmla="*/ 282505 w 1086135"/>
                <a:gd name="connsiteY240" fmla="*/ 866713 h 968195"/>
                <a:gd name="connsiteX241" fmla="*/ 282505 w 1086135"/>
                <a:gd name="connsiteY241" fmla="*/ 874941 h 968195"/>
                <a:gd name="connsiteX242" fmla="*/ 200222 w 1086135"/>
                <a:gd name="connsiteY242" fmla="*/ 874941 h 968195"/>
                <a:gd name="connsiteX243" fmla="*/ 200222 w 1086135"/>
                <a:gd name="connsiteY243" fmla="*/ 839285 h 968195"/>
                <a:gd name="connsiteX244" fmla="*/ 1039509 w 1086135"/>
                <a:gd name="connsiteY244" fmla="*/ 940768 h 968195"/>
                <a:gd name="connsiteX245" fmla="*/ 46627 w 1086135"/>
                <a:gd name="connsiteY245" fmla="*/ 940768 h 968195"/>
                <a:gd name="connsiteX246" fmla="*/ 30171 w 1086135"/>
                <a:gd name="connsiteY246" fmla="*/ 924311 h 968195"/>
                <a:gd name="connsiteX247" fmla="*/ 46627 w 1086135"/>
                <a:gd name="connsiteY247" fmla="*/ 907854 h 968195"/>
                <a:gd name="connsiteX248" fmla="*/ 1039509 w 1086135"/>
                <a:gd name="connsiteY248" fmla="*/ 907854 h 968195"/>
                <a:gd name="connsiteX249" fmla="*/ 1055966 w 1086135"/>
                <a:gd name="connsiteY249" fmla="*/ 924311 h 968195"/>
                <a:gd name="connsiteX250" fmla="*/ 1039509 w 1086135"/>
                <a:gd name="connsiteY250" fmla="*/ 940768 h 96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1086135" h="968195">
                  <a:moveTo>
                    <a:pt x="704891" y="315418"/>
                  </a:moveTo>
                  <a:lnTo>
                    <a:pt x="682949" y="293475"/>
                  </a:lnTo>
                  <a:cubicBezTo>
                    <a:pt x="663750" y="274276"/>
                    <a:pt x="633579" y="277019"/>
                    <a:pt x="614380" y="296218"/>
                  </a:cubicBezTo>
                  <a:cubicBezTo>
                    <a:pt x="606152" y="304447"/>
                    <a:pt x="600666" y="318161"/>
                    <a:pt x="600666" y="329131"/>
                  </a:cubicBezTo>
                  <a:cubicBezTo>
                    <a:pt x="600666" y="342845"/>
                    <a:pt x="606152" y="353817"/>
                    <a:pt x="614380" y="362045"/>
                  </a:cubicBezTo>
                  <a:lnTo>
                    <a:pt x="633579" y="381244"/>
                  </a:lnTo>
                  <a:lnTo>
                    <a:pt x="658265" y="403186"/>
                  </a:lnTo>
                  <a:lnTo>
                    <a:pt x="715862" y="458041"/>
                  </a:lnTo>
                  <a:cubicBezTo>
                    <a:pt x="724091" y="466270"/>
                    <a:pt x="735062" y="471755"/>
                    <a:pt x="748776" y="471755"/>
                  </a:cubicBezTo>
                  <a:cubicBezTo>
                    <a:pt x="748776" y="471755"/>
                    <a:pt x="751519" y="471755"/>
                    <a:pt x="751519" y="471755"/>
                  </a:cubicBezTo>
                  <a:cubicBezTo>
                    <a:pt x="765232" y="471755"/>
                    <a:pt x="776203" y="466270"/>
                    <a:pt x="784431" y="455299"/>
                  </a:cubicBezTo>
                  <a:lnTo>
                    <a:pt x="795403" y="441585"/>
                  </a:lnTo>
                  <a:lnTo>
                    <a:pt x="795403" y="490955"/>
                  </a:lnTo>
                  <a:cubicBezTo>
                    <a:pt x="795403" y="490955"/>
                    <a:pt x="795403" y="493697"/>
                    <a:pt x="795403" y="493697"/>
                  </a:cubicBezTo>
                  <a:lnTo>
                    <a:pt x="809117" y="562266"/>
                  </a:lnTo>
                  <a:cubicBezTo>
                    <a:pt x="814602" y="592437"/>
                    <a:pt x="817345" y="619864"/>
                    <a:pt x="817345" y="650035"/>
                  </a:cubicBezTo>
                  <a:lnTo>
                    <a:pt x="817345" y="806372"/>
                  </a:lnTo>
                  <a:cubicBezTo>
                    <a:pt x="789917" y="811858"/>
                    <a:pt x="767975" y="833800"/>
                    <a:pt x="767975" y="863970"/>
                  </a:cubicBezTo>
                  <a:lnTo>
                    <a:pt x="767975" y="872198"/>
                  </a:lnTo>
                  <a:lnTo>
                    <a:pt x="304447" y="872198"/>
                  </a:lnTo>
                  <a:lnTo>
                    <a:pt x="304447" y="863970"/>
                  </a:lnTo>
                  <a:cubicBezTo>
                    <a:pt x="304447" y="833800"/>
                    <a:pt x="282505" y="811858"/>
                    <a:pt x="255077" y="806372"/>
                  </a:cubicBezTo>
                  <a:lnTo>
                    <a:pt x="255077" y="650035"/>
                  </a:lnTo>
                  <a:cubicBezTo>
                    <a:pt x="255077" y="619864"/>
                    <a:pt x="257820" y="589694"/>
                    <a:pt x="263306" y="562266"/>
                  </a:cubicBezTo>
                  <a:lnTo>
                    <a:pt x="277020" y="493697"/>
                  </a:lnTo>
                  <a:cubicBezTo>
                    <a:pt x="277020" y="493697"/>
                    <a:pt x="277020" y="490955"/>
                    <a:pt x="277020" y="490955"/>
                  </a:cubicBezTo>
                  <a:lnTo>
                    <a:pt x="277020" y="441585"/>
                  </a:lnTo>
                  <a:lnTo>
                    <a:pt x="287991" y="455299"/>
                  </a:lnTo>
                  <a:cubicBezTo>
                    <a:pt x="296219" y="466270"/>
                    <a:pt x="309933" y="471755"/>
                    <a:pt x="320904" y="471755"/>
                  </a:cubicBezTo>
                  <a:cubicBezTo>
                    <a:pt x="320904" y="471755"/>
                    <a:pt x="323647" y="471755"/>
                    <a:pt x="323647" y="471755"/>
                  </a:cubicBezTo>
                  <a:cubicBezTo>
                    <a:pt x="337360" y="471755"/>
                    <a:pt x="348331" y="466270"/>
                    <a:pt x="356560" y="458041"/>
                  </a:cubicBezTo>
                  <a:lnTo>
                    <a:pt x="414158" y="403186"/>
                  </a:lnTo>
                  <a:lnTo>
                    <a:pt x="438843" y="381244"/>
                  </a:lnTo>
                  <a:lnTo>
                    <a:pt x="458042" y="362045"/>
                  </a:lnTo>
                  <a:cubicBezTo>
                    <a:pt x="466270" y="353817"/>
                    <a:pt x="471756" y="340103"/>
                    <a:pt x="471756" y="329131"/>
                  </a:cubicBezTo>
                  <a:cubicBezTo>
                    <a:pt x="471756" y="315418"/>
                    <a:pt x="466270" y="304447"/>
                    <a:pt x="458042" y="296218"/>
                  </a:cubicBezTo>
                  <a:cubicBezTo>
                    <a:pt x="438843" y="277019"/>
                    <a:pt x="408673" y="277019"/>
                    <a:pt x="389473" y="293475"/>
                  </a:cubicBezTo>
                  <a:lnTo>
                    <a:pt x="367531" y="315418"/>
                  </a:lnTo>
                  <a:lnTo>
                    <a:pt x="345589" y="337360"/>
                  </a:lnTo>
                  <a:lnTo>
                    <a:pt x="326390" y="356559"/>
                  </a:lnTo>
                  <a:lnTo>
                    <a:pt x="274277" y="293475"/>
                  </a:lnTo>
                  <a:cubicBezTo>
                    <a:pt x="271534" y="277019"/>
                    <a:pt x="263306" y="263305"/>
                    <a:pt x="252335" y="252334"/>
                  </a:cubicBezTo>
                  <a:cubicBezTo>
                    <a:pt x="249592" y="249592"/>
                    <a:pt x="246849" y="246849"/>
                    <a:pt x="244107" y="244106"/>
                  </a:cubicBezTo>
                  <a:lnTo>
                    <a:pt x="244107" y="200222"/>
                  </a:lnTo>
                  <a:cubicBezTo>
                    <a:pt x="263306" y="186508"/>
                    <a:pt x="277020" y="161823"/>
                    <a:pt x="277020" y="137138"/>
                  </a:cubicBezTo>
                  <a:lnTo>
                    <a:pt x="277020" y="117939"/>
                  </a:lnTo>
                  <a:cubicBezTo>
                    <a:pt x="296219" y="115196"/>
                    <a:pt x="312676" y="98740"/>
                    <a:pt x="312676" y="76797"/>
                  </a:cubicBezTo>
                  <a:cubicBezTo>
                    <a:pt x="312676" y="32913"/>
                    <a:pt x="277020" y="0"/>
                    <a:pt x="235878" y="0"/>
                  </a:cubicBezTo>
                  <a:lnTo>
                    <a:pt x="183765" y="0"/>
                  </a:lnTo>
                  <a:cubicBezTo>
                    <a:pt x="161824" y="0"/>
                    <a:pt x="139881" y="8228"/>
                    <a:pt x="123425" y="24685"/>
                  </a:cubicBezTo>
                  <a:cubicBezTo>
                    <a:pt x="106968" y="41141"/>
                    <a:pt x="98740" y="63084"/>
                    <a:pt x="98740" y="85026"/>
                  </a:cubicBezTo>
                  <a:lnTo>
                    <a:pt x="98740" y="145366"/>
                  </a:lnTo>
                  <a:cubicBezTo>
                    <a:pt x="98740" y="178280"/>
                    <a:pt x="120682" y="202965"/>
                    <a:pt x="150852" y="211193"/>
                  </a:cubicBezTo>
                  <a:lnTo>
                    <a:pt x="150852" y="244106"/>
                  </a:lnTo>
                  <a:cubicBezTo>
                    <a:pt x="131653" y="257820"/>
                    <a:pt x="120682" y="282505"/>
                    <a:pt x="120682" y="307189"/>
                  </a:cubicBezTo>
                  <a:lnTo>
                    <a:pt x="120682" y="496440"/>
                  </a:lnTo>
                  <a:cubicBezTo>
                    <a:pt x="120682" y="521125"/>
                    <a:pt x="128910" y="543067"/>
                    <a:pt x="145367" y="559524"/>
                  </a:cubicBezTo>
                  <a:cubicBezTo>
                    <a:pt x="150852" y="565009"/>
                    <a:pt x="153595" y="573238"/>
                    <a:pt x="156338" y="581466"/>
                  </a:cubicBezTo>
                  <a:cubicBezTo>
                    <a:pt x="159081" y="589694"/>
                    <a:pt x="159081" y="597922"/>
                    <a:pt x="159081" y="606151"/>
                  </a:cubicBezTo>
                  <a:lnTo>
                    <a:pt x="159081" y="685691"/>
                  </a:lnTo>
                  <a:cubicBezTo>
                    <a:pt x="159081" y="693919"/>
                    <a:pt x="167309" y="702147"/>
                    <a:pt x="175537" y="702147"/>
                  </a:cubicBezTo>
                  <a:cubicBezTo>
                    <a:pt x="183765" y="702147"/>
                    <a:pt x="191994" y="693919"/>
                    <a:pt x="191994" y="685691"/>
                  </a:cubicBezTo>
                  <a:lnTo>
                    <a:pt x="191994" y="606151"/>
                  </a:lnTo>
                  <a:cubicBezTo>
                    <a:pt x="191994" y="595179"/>
                    <a:pt x="189251" y="584208"/>
                    <a:pt x="186508" y="573238"/>
                  </a:cubicBezTo>
                  <a:cubicBezTo>
                    <a:pt x="183765" y="562266"/>
                    <a:pt x="175537" y="551295"/>
                    <a:pt x="170051" y="543067"/>
                  </a:cubicBezTo>
                  <a:cubicBezTo>
                    <a:pt x="161824" y="532096"/>
                    <a:pt x="156338" y="521125"/>
                    <a:pt x="153595" y="507411"/>
                  </a:cubicBezTo>
                  <a:lnTo>
                    <a:pt x="244107" y="507411"/>
                  </a:lnTo>
                  <a:lnTo>
                    <a:pt x="233135" y="556781"/>
                  </a:lnTo>
                  <a:cubicBezTo>
                    <a:pt x="227650" y="586951"/>
                    <a:pt x="222164" y="619864"/>
                    <a:pt x="222164" y="652778"/>
                  </a:cubicBezTo>
                  <a:lnTo>
                    <a:pt x="222164" y="809115"/>
                  </a:lnTo>
                  <a:lnTo>
                    <a:pt x="200222" y="809115"/>
                  </a:lnTo>
                  <a:lnTo>
                    <a:pt x="200222" y="757003"/>
                  </a:lnTo>
                  <a:cubicBezTo>
                    <a:pt x="200222" y="748774"/>
                    <a:pt x="191994" y="740546"/>
                    <a:pt x="183765" y="740546"/>
                  </a:cubicBezTo>
                  <a:cubicBezTo>
                    <a:pt x="175537" y="740546"/>
                    <a:pt x="167309" y="748774"/>
                    <a:pt x="167309" y="757003"/>
                  </a:cubicBezTo>
                  <a:lnTo>
                    <a:pt x="167309" y="874941"/>
                  </a:lnTo>
                  <a:lnTo>
                    <a:pt x="46627" y="874941"/>
                  </a:lnTo>
                  <a:cubicBezTo>
                    <a:pt x="19199" y="874941"/>
                    <a:pt x="0" y="896883"/>
                    <a:pt x="0" y="921568"/>
                  </a:cubicBezTo>
                  <a:cubicBezTo>
                    <a:pt x="0" y="946253"/>
                    <a:pt x="21942" y="968195"/>
                    <a:pt x="46627" y="968195"/>
                  </a:cubicBezTo>
                  <a:lnTo>
                    <a:pt x="1039509" y="968195"/>
                  </a:lnTo>
                  <a:cubicBezTo>
                    <a:pt x="1066937" y="968195"/>
                    <a:pt x="1086136" y="946253"/>
                    <a:pt x="1086136" y="921568"/>
                  </a:cubicBezTo>
                  <a:cubicBezTo>
                    <a:pt x="1086136" y="896883"/>
                    <a:pt x="1064194" y="874941"/>
                    <a:pt x="1039509" y="874941"/>
                  </a:cubicBezTo>
                  <a:lnTo>
                    <a:pt x="918828" y="874941"/>
                  </a:lnTo>
                  <a:lnTo>
                    <a:pt x="918828" y="606151"/>
                  </a:lnTo>
                  <a:cubicBezTo>
                    <a:pt x="918828" y="597922"/>
                    <a:pt x="921570" y="589694"/>
                    <a:pt x="921570" y="581466"/>
                  </a:cubicBezTo>
                  <a:cubicBezTo>
                    <a:pt x="924313" y="573238"/>
                    <a:pt x="927055" y="567752"/>
                    <a:pt x="932541" y="559524"/>
                  </a:cubicBezTo>
                  <a:cubicBezTo>
                    <a:pt x="946255" y="540324"/>
                    <a:pt x="957226" y="518382"/>
                    <a:pt x="957226" y="496440"/>
                  </a:cubicBezTo>
                  <a:lnTo>
                    <a:pt x="957226" y="414157"/>
                  </a:lnTo>
                  <a:cubicBezTo>
                    <a:pt x="957226" y="405929"/>
                    <a:pt x="948997" y="397701"/>
                    <a:pt x="940769" y="397701"/>
                  </a:cubicBezTo>
                  <a:cubicBezTo>
                    <a:pt x="932541" y="397701"/>
                    <a:pt x="924313" y="405929"/>
                    <a:pt x="924313" y="414157"/>
                  </a:cubicBezTo>
                  <a:lnTo>
                    <a:pt x="924313" y="474498"/>
                  </a:lnTo>
                  <a:lnTo>
                    <a:pt x="831059" y="474498"/>
                  </a:lnTo>
                  <a:lnTo>
                    <a:pt x="831059" y="403186"/>
                  </a:lnTo>
                  <a:lnTo>
                    <a:pt x="880428" y="345588"/>
                  </a:lnTo>
                  <a:cubicBezTo>
                    <a:pt x="883171" y="342845"/>
                    <a:pt x="883171" y="342845"/>
                    <a:pt x="885914" y="340103"/>
                  </a:cubicBezTo>
                  <a:lnTo>
                    <a:pt x="885914" y="340103"/>
                  </a:lnTo>
                  <a:cubicBezTo>
                    <a:pt x="905114" y="315418"/>
                    <a:pt x="896885" y="287990"/>
                    <a:pt x="880428" y="274276"/>
                  </a:cubicBezTo>
                  <a:cubicBezTo>
                    <a:pt x="874943" y="268791"/>
                    <a:pt x="866714" y="266048"/>
                    <a:pt x="861229" y="263305"/>
                  </a:cubicBezTo>
                  <a:cubicBezTo>
                    <a:pt x="866714" y="260562"/>
                    <a:pt x="874943" y="257820"/>
                    <a:pt x="883171" y="257820"/>
                  </a:cubicBezTo>
                  <a:cubicBezTo>
                    <a:pt x="910599" y="257820"/>
                    <a:pt x="929798" y="279762"/>
                    <a:pt x="929798" y="304447"/>
                  </a:cubicBezTo>
                  <a:lnTo>
                    <a:pt x="929798" y="345588"/>
                  </a:lnTo>
                  <a:cubicBezTo>
                    <a:pt x="929798" y="353817"/>
                    <a:pt x="938026" y="362045"/>
                    <a:pt x="946255" y="362045"/>
                  </a:cubicBezTo>
                  <a:cubicBezTo>
                    <a:pt x="954483" y="362045"/>
                    <a:pt x="962711" y="353817"/>
                    <a:pt x="962711" y="345588"/>
                  </a:cubicBezTo>
                  <a:lnTo>
                    <a:pt x="962711" y="309932"/>
                  </a:lnTo>
                  <a:cubicBezTo>
                    <a:pt x="962711" y="285248"/>
                    <a:pt x="951740" y="260562"/>
                    <a:pt x="932541" y="246849"/>
                  </a:cubicBezTo>
                  <a:lnTo>
                    <a:pt x="932541" y="200222"/>
                  </a:lnTo>
                  <a:cubicBezTo>
                    <a:pt x="940769" y="194736"/>
                    <a:pt x="946255" y="189251"/>
                    <a:pt x="951740" y="181022"/>
                  </a:cubicBezTo>
                  <a:cubicBezTo>
                    <a:pt x="970940" y="175537"/>
                    <a:pt x="984654" y="156337"/>
                    <a:pt x="984654" y="134396"/>
                  </a:cubicBezTo>
                  <a:lnTo>
                    <a:pt x="984654" y="63084"/>
                  </a:lnTo>
                  <a:cubicBezTo>
                    <a:pt x="984654" y="46627"/>
                    <a:pt x="979168" y="30171"/>
                    <a:pt x="965454" y="19199"/>
                  </a:cubicBezTo>
                  <a:cubicBezTo>
                    <a:pt x="954483" y="8228"/>
                    <a:pt x="938026" y="0"/>
                    <a:pt x="921570" y="0"/>
                  </a:cubicBezTo>
                  <a:lnTo>
                    <a:pt x="800888" y="0"/>
                  </a:lnTo>
                  <a:cubicBezTo>
                    <a:pt x="784431" y="0"/>
                    <a:pt x="767975" y="13714"/>
                    <a:pt x="767975" y="32913"/>
                  </a:cubicBezTo>
                  <a:cubicBezTo>
                    <a:pt x="767975" y="60341"/>
                    <a:pt x="781689" y="87768"/>
                    <a:pt x="803631" y="101482"/>
                  </a:cubicBezTo>
                  <a:lnTo>
                    <a:pt x="803631" y="134396"/>
                  </a:lnTo>
                  <a:cubicBezTo>
                    <a:pt x="803631" y="161823"/>
                    <a:pt x="817345" y="183765"/>
                    <a:pt x="836544" y="197479"/>
                  </a:cubicBezTo>
                  <a:lnTo>
                    <a:pt x="836544" y="244106"/>
                  </a:lnTo>
                  <a:cubicBezTo>
                    <a:pt x="833802" y="246849"/>
                    <a:pt x="831059" y="249592"/>
                    <a:pt x="828316" y="252334"/>
                  </a:cubicBezTo>
                  <a:cubicBezTo>
                    <a:pt x="817345" y="263305"/>
                    <a:pt x="809117" y="277019"/>
                    <a:pt x="806374" y="293475"/>
                  </a:cubicBezTo>
                  <a:lnTo>
                    <a:pt x="754261" y="356559"/>
                  </a:lnTo>
                  <a:lnTo>
                    <a:pt x="735062" y="337360"/>
                  </a:lnTo>
                  <a:moveTo>
                    <a:pt x="927055" y="507411"/>
                  </a:moveTo>
                  <a:cubicBezTo>
                    <a:pt x="924313" y="521125"/>
                    <a:pt x="918828" y="532096"/>
                    <a:pt x="910599" y="543067"/>
                  </a:cubicBezTo>
                  <a:cubicBezTo>
                    <a:pt x="902371" y="551295"/>
                    <a:pt x="896885" y="562266"/>
                    <a:pt x="894142" y="573238"/>
                  </a:cubicBezTo>
                  <a:cubicBezTo>
                    <a:pt x="891400" y="584208"/>
                    <a:pt x="888657" y="595179"/>
                    <a:pt x="888657" y="606151"/>
                  </a:cubicBezTo>
                  <a:lnTo>
                    <a:pt x="888657" y="806372"/>
                  </a:lnTo>
                  <a:lnTo>
                    <a:pt x="855743" y="806372"/>
                  </a:lnTo>
                  <a:lnTo>
                    <a:pt x="855743" y="650035"/>
                  </a:lnTo>
                  <a:cubicBezTo>
                    <a:pt x="855743" y="617122"/>
                    <a:pt x="853000" y="586951"/>
                    <a:pt x="844772" y="554038"/>
                  </a:cubicBezTo>
                  <a:lnTo>
                    <a:pt x="833802" y="504669"/>
                  </a:lnTo>
                  <a:lnTo>
                    <a:pt x="927055" y="504669"/>
                  </a:lnTo>
                  <a:close/>
                  <a:moveTo>
                    <a:pt x="896885" y="230392"/>
                  </a:moveTo>
                  <a:cubicBezTo>
                    <a:pt x="891400" y="230392"/>
                    <a:pt x="885914" y="227649"/>
                    <a:pt x="880428" y="227649"/>
                  </a:cubicBezTo>
                  <a:cubicBezTo>
                    <a:pt x="874943" y="227649"/>
                    <a:pt x="869457" y="227649"/>
                    <a:pt x="863972" y="230392"/>
                  </a:cubicBezTo>
                  <a:lnTo>
                    <a:pt x="863972" y="213936"/>
                  </a:lnTo>
                  <a:cubicBezTo>
                    <a:pt x="869457" y="213936"/>
                    <a:pt x="874943" y="216678"/>
                    <a:pt x="880428" y="216678"/>
                  </a:cubicBezTo>
                  <a:cubicBezTo>
                    <a:pt x="885914" y="216678"/>
                    <a:pt x="891400" y="216678"/>
                    <a:pt x="896885" y="213936"/>
                  </a:cubicBezTo>
                  <a:lnTo>
                    <a:pt x="896885" y="230392"/>
                  </a:lnTo>
                  <a:close/>
                  <a:moveTo>
                    <a:pt x="795403" y="32913"/>
                  </a:moveTo>
                  <a:lnTo>
                    <a:pt x="916085" y="32913"/>
                  </a:lnTo>
                  <a:cubicBezTo>
                    <a:pt x="924313" y="32913"/>
                    <a:pt x="932541" y="35656"/>
                    <a:pt x="938026" y="41141"/>
                  </a:cubicBezTo>
                  <a:cubicBezTo>
                    <a:pt x="943512" y="46627"/>
                    <a:pt x="946255" y="54855"/>
                    <a:pt x="946255" y="63084"/>
                  </a:cubicBezTo>
                  <a:lnTo>
                    <a:pt x="946255" y="134396"/>
                  </a:lnTo>
                  <a:cubicBezTo>
                    <a:pt x="946255" y="142624"/>
                    <a:pt x="938026" y="150852"/>
                    <a:pt x="929798" y="150852"/>
                  </a:cubicBezTo>
                  <a:cubicBezTo>
                    <a:pt x="921570" y="150852"/>
                    <a:pt x="913342" y="142624"/>
                    <a:pt x="913342" y="134396"/>
                  </a:cubicBezTo>
                  <a:cubicBezTo>
                    <a:pt x="913342" y="109710"/>
                    <a:pt x="891400" y="87768"/>
                    <a:pt x="866714" y="87768"/>
                  </a:cubicBezTo>
                  <a:lnTo>
                    <a:pt x="850258" y="87768"/>
                  </a:lnTo>
                  <a:cubicBezTo>
                    <a:pt x="820088" y="85026"/>
                    <a:pt x="795403" y="63084"/>
                    <a:pt x="795403" y="32913"/>
                  </a:cubicBezTo>
                  <a:close/>
                  <a:moveTo>
                    <a:pt x="831059" y="134396"/>
                  </a:moveTo>
                  <a:lnTo>
                    <a:pt x="831059" y="115196"/>
                  </a:lnTo>
                  <a:cubicBezTo>
                    <a:pt x="836544" y="117939"/>
                    <a:pt x="844772" y="117939"/>
                    <a:pt x="850258" y="117939"/>
                  </a:cubicBezTo>
                  <a:lnTo>
                    <a:pt x="866714" y="117939"/>
                  </a:lnTo>
                  <a:cubicBezTo>
                    <a:pt x="874943" y="117939"/>
                    <a:pt x="880428" y="123424"/>
                    <a:pt x="880428" y="131653"/>
                  </a:cubicBezTo>
                  <a:cubicBezTo>
                    <a:pt x="880428" y="148109"/>
                    <a:pt x="888657" y="164566"/>
                    <a:pt x="905114" y="172794"/>
                  </a:cubicBezTo>
                  <a:cubicBezTo>
                    <a:pt x="896885" y="178280"/>
                    <a:pt x="888657" y="181022"/>
                    <a:pt x="877686" y="181022"/>
                  </a:cubicBezTo>
                  <a:cubicBezTo>
                    <a:pt x="853000" y="183765"/>
                    <a:pt x="831059" y="161823"/>
                    <a:pt x="831059" y="134396"/>
                  </a:cubicBezTo>
                  <a:close/>
                  <a:moveTo>
                    <a:pt x="765232" y="436099"/>
                  </a:moveTo>
                  <a:cubicBezTo>
                    <a:pt x="762489" y="436099"/>
                    <a:pt x="762489" y="436099"/>
                    <a:pt x="765232" y="436099"/>
                  </a:cubicBezTo>
                  <a:cubicBezTo>
                    <a:pt x="762489" y="438842"/>
                    <a:pt x="757004" y="441585"/>
                    <a:pt x="754261" y="441585"/>
                  </a:cubicBezTo>
                  <a:cubicBezTo>
                    <a:pt x="748776" y="441585"/>
                    <a:pt x="746033" y="441585"/>
                    <a:pt x="743290" y="438842"/>
                  </a:cubicBezTo>
                  <a:cubicBezTo>
                    <a:pt x="743290" y="438842"/>
                    <a:pt x="743290" y="438842"/>
                    <a:pt x="743290" y="438842"/>
                  </a:cubicBezTo>
                  <a:lnTo>
                    <a:pt x="641808" y="340103"/>
                  </a:lnTo>
                  <a:cubicBezTo>
                    <a:pt x="639065" y="337360"/>
                    <a:pt x="636322" y="331874"/>
                    <a:pt x="636322" y="329131"/>
                  </a:cubicBezTo>
                  <a:cubicBezTo>
                    <a:pt x="636322" y="323646"/>
                    <a:pt x="639065" y="320903"/>
                    <a:pt x="641808" y="318161"/>
                  </a:cubicBezTo>
                  <a:cubicBezTo>
                    <a:pt x="647293" y="312675"/>
                    <a:pt x="658265" y="312675"/>
                    <a:pt x="663750" y="318161"/>
                  </a:cubicBezTo>
                  <a:lnTo>
                    <a:pt x="743290" y="392215"/>
                  </a:lnTo>
                  <a:cubicBezTo>
                    <a:pt x="746033" y="394958"/>
                    <a:pt x="751519" y="397701"/>
                    <a:pt x="754261" y="397701"/>
                  </a:cubicBezTo>
                  <a:cubicBezTo>
                    <a:pt x="759746" y="397701"/>
                    <a:pt x="762489" y="394958"/>
                    <a:pt x="765232" y="392215"/>
                  </a:cubicBezTo>
                  <a:lnTo>
                    <a:pt x="778946" y="375758"/>
                  </a:lnTo>
                  <a:cubicBezTo>
                    <a:pt x="787174" y="381244"/>
                    <a:pt x="792660" y="389472"/>
                    <a:pt x="803631" y="397701"/>
                  </a:cubicBezTo>
                  <a:cubicBezTo>
                    <a:pt x="778946" y="416900"/>
                    <a:pt x="765232" y="436099"/>
                    <a:pt x="765232" y="436099"/>
                  </a:cubicBezTo>
                  <a:close/>
                  <a:moveTo>
                    <a:pt x="820088" y="370273"/>
                  </a:moveTo>
                  <a:cubicBezTo>
                    <a:pt x="811859" y="362045"/>
                    <a:pt x="803631" y="353817"/>
                    <a:pt x="795403" y="348331"/>
                  </a:cubicBezTo>
                  <a:lnTo>
                    <a:pt x="833802" y="301704"/>
                  </a:lnTo>
                  <a:cubicBezTo>
                    <a:pt x="844772" y="290733"/>
                    <a:pt x="855743" y="298961"/>
                    <a:pt x="855743" y="298961"/>
                  </a:cubicBezTo>
                  <a:cubicBezTo>
                    <a:pt x="858486" y="301704"/>
                    <a:pt x="866714" y="309932"/>
                    <a:pt x="858486" y="320903"/>
                  </a:cubicBezTo>
                  <a:cubicBezTo>
                    <a:pt x="858486" y="326389"/>
                    <a:pt x="839287" y="345588"/>
                    <a:pt x="820088" y="370273"/>
                  </a:cubicBezTo>
                  <a:close/>
                  <a:moveTo>
                    <a:pt x="806374" y="866713"/>
                  </a:moveTo>
                  <a:cubicBezTo>
                    <a:pt x="806374" y="852999"/>
                    <a:pt x="817345" y="839285"/>
                    <a:pt x="833802" y="839285"/>
                  </a:cubicBezTo>
                  <a:lnTo>
                    <a:pt x="888657" y="839285"/>
                  </a:lnTo>
                  <a:lnTo>
                    <a:pt x="888657" y="874941"/>
                  </a:lnTo>
                  <a:lnTo>
                    <a:pt x="809117" y="874941"/>
                  </a:lnTo>
                  <a:lnTo>
                    <a:pt x="809117" y="866713"/>
                  </a:lnTo>
                  <a:close/>
                  <a:moveTo>
                    <a:pt x="326390" y="389472"/>
                  </a:moveTo>
                  <a:cubicBezTo>
                    <a:pt x="329132" y="392215"/>
                    <a:pt x="334618" y="394958"/>
                    <a:pt x="337360" y="394958"/>
                  </a:cubicBezTo>
                  <a:cubicBezTo>
                    <a:pt x="342846" y="394958"/>
                    <a:pt x="345589" y="394958"/>
                    <a:pt x="348331" y="389472"/>
                  </a:cubicBezTo>
                  <a:lnTo>
                    <a:pt x="427872" y="315418"/>
                  </a:lnTo>
                  <a:cubicBezTo>
                    <a:pt x="433357" y="309932"/>
                    <a:pt x="444328" y="309932"/>
                    <a:pt x="449814" y="315418"/>
                  </a:cubicBezTo>
                  <a:cubicBezTo>
                    <a:pt x="452557" y="318161"/>
                    <a:pt x="455300" y="323646"/>
                    <a:pt x="455300" y="326389"/>
                  </a:cubicBezTo>
                  <a:cubicBezTo>
                    <a:pt x="455300" y="331874"/>
                    <a:pt x="452557" y="334617"/>
                    <a:pt x="449814" y="337360"/>
                  </a:cubicBezTo>
                  <a:lnTo>
                    <a:pt x="348331" y="436099"/>
                  </a:lnTo>
                  <a:cubicBezTo>
                    <a:pt x="348331" y="436099"/>
                    <a:pt x="348331" y="436099"/>
                    <a:pt x="348331" y="436099"/>
                  </a:cubicBezTo>
                  <a:cubicBezTo>
                    <a:pt x="345589" y="438842"/>
                    <a:pt x="340103" y="441585"/>
                    <a:pt x="337360" y="438842"/>
                  </a:cubicBezTo>
                  <a:cubicBezTo>
                    <a:pt x="331875" y="438842"/>
                    <a:pt x="329132" y="436099"/>
                    <a:pt x="326390" y="433357"/>
                  </a:cubicBezTo>
                  <a:cubicBezTo>
                    <a:pt x="326390" y="433357"/>
                    <a:pt x="326390" y="433357"/>
                    <a:pt x="326390" y="433357"/>
                  </a:cubicBezTo>
                  <a:lnTo>
                    <a:pt x="290734" y="392215"/>
                  </a:lnTo>
                  <a:cubicBezTo>
                    <a:pt x="298962" y="383987"/>
                    <a:pt x="307190" y="375758"/>
                    <a:pt x="315418" y="370273"/>
                  </a:cubicBezTo>
                  <a:lnTo>
                    <a:pt x="326390" y="389472"/>
                  </a:lnTo>
                  <a:close/>
                  <a:moveTo>
                    <a:pt x="290734" y="348331"/>
                  </a:moveTo>
                  <a:cubicBezTo>
                    <a:pt x="282505" y="353817"/>
                    <a:pt x="277020" y="362045"/>
                    <a:pt x="266048" y="370273"/>
                  </a:cubicBezTo>
                  <a:lnTo>
                    <a:pt x="224907" y="323646"/>
                  </a:lnTo>
                  <a:cubicBezTo>
                    <a:pt x="216679" y="312675"/>
                    <a:pt x="224907" y="301704"/>
                    <a:pt x="227650" y="301704"/>
                  </a:cubicBezTo>
                  <a:cubicBezTo>
                    <a:pt x="230393" y="298961"/>
                    <a:pt x="238621" y="293475"/>
                    <a:pt x="249592" y="304447"/>
                  </a:cubicBezTo>
                  <a:lnTo>
                    <a:pt x="290734" y="348331"/>
                  </a:lnTo>
                  <a:close/>
                  <a:moveTo>
                    <a:pt x="255077" y="134396"/>
                  </a:moveTo>
                  <a:cubicBezTo>
                    <a:pt x="255077" y="161823"/>
                    <a:pt x="233135" y="181022"/>
                    <a:pt x="208450" y="181022"/>
                  </a:cubicBezTo>
                  <a:cubicBezTo>
                    <a:pt x="208450" y="181022"/>
                    <a:pt x="205708" y="181022"/>
                    <a:pt x="205708" y="181022"/>
                  </a:cubicBezTo>
                  <a:lnTo>
                    <a:pt x="205708" y="131653"/>
                  </a:lnTo>
                  <a:cubicBezTo>
                    <a:pt x="205708" y="123424"/>
                    <a:pt x="211193" y="115196"/>
                    <a:pt x="222164" y="115196"/>
                  </a:cubicBezTo>
                  <a:lnTo>
                    <a:pt x="257820" y="115196"/>
                  </a:lnTo>
                  <a:lnTo>
                    <a:pt x="257820" y="134396"/>
                  </a:lnTo>
                  <a:close/>
                  <a:moveTo>
                    <a:pt x="222164" y="213936"/>
                  </a:moveTo>
                  <a:lnTo>
                    <a:pt x="222164" y="230392"/>
                  </a:lnTo>
                  <a:cubicBezTo>
                    <a:pt x="216679" y="230392"/>
                    <a:pt x="211193" y="227649"/>
                    <a:pt x="205708" y="227649"/>
                  </a:cubicBezTo>
                  <a:cubicBezTo>
                    <a:pt x="200222" y="227649"/>
                    <a:pt x="194737" y="227649"/>
                    <a:pt x="189251" y="230392"/>
                  </a:cubicBezTo>
                  <a:lnTo>
                    <a:pt x="189251" y="211193"/>
                  </a:lnTo>
                  <a:cubicBezTo>
                    <a:pt x="194737" y="211193"/>
                    <a:pt x="200222" y="213936"/>
                    <a:pt x="205708" y="213936"/>
                  </a:cubicBezTo>
                  <a:cubicBezTo>
                    <a:pt x="213936" y="213936"/>
                    <a:pt x="216679" y="213936"/>
                    <a:pt x="222164" y="213936"/>
                  </a:cubicBezTo>
                  <a:close/>
                  <a:moveTo>
                    <a:pt x="139881" y="145366"/>
                  </a:moveTo>
                  <a:lnTo>
                    <a:pt x="139881" y="85026"/>
                  </a:lnTo>
                  <a:cubicBezTo>
                    <a:pt x="139881" y="71312"/>
                    <a:pt x="145367" y="57598"/>
                    <a:pt x="156338" y="46627"/>
                  </a:cubicBezTo>
                  <a:cubicBezTo>
                    <a:pt x="167309" y="35656"/>
                    <a:pt x="181023" y="30171"/>
                    <a:pt x="194737" y="30171"/>
                  </a:cubicBezTo>
                  <a:lnTo>
                    <a:pt x="246849" y="30171"/>
                  </a:lnTo>
                  <a:cubicBezTo>
                    <a:pt x="271534" y="30171"/>
                    <a:pt x="293476" y="49370"/>
                    <a:pt x="293476" y="76797"/>
                  </a:cubicBezTo>
                  <a:cubicBezTo>
                    <a:pt x="293476" y="82283"/>
                    <a:pt x="290734" y="85026"/>
                    <a:pt x="285248" y="85026"/>
                  </a:cubicBezTo>
                  <a:lnTo>
                    <a:pt x="222164" y="85026"/>
                  </a:lnTo>
                  <a:cubicBezTo>
                    <a:pt x="197479" y="85026"/>
                    <a:pt x="175537" y="106968"/>
                    <a:pt x="175537" y="131653"/>
                  </a:cubicBezTo>
                  <a:lnTo>
                    <a:pt x="175537" y="181022"/>
                  </a:lnTo>
                  <a:cubicBezTo>
                    <a:pt x="153595" y="181022"/>
                    <a:pt x="139881" y="164566"/>
                    <a:pt x="139881" y="145366"/>
                  </a:cubicBezTo>
                  <a:close/>
                  <a:moveTo>
                    <a:pt x="159081" y="477241"/>
                  </a:moveTo>
                  <a:lnTo>
                    <a:pt x="159081" y="309932"/>
                  </a:lnTo>
                  <a:cubicBezTo>
                    <a:pt x="159081" y="282505"/>
                    <a:pt x="181023" y="263305"/>
                    <a:pt x="205708" y="263305"/>
                  </a:cubicBezTo>
                  <a:cubicBezTo>
                    <a:pt x="213936" y="263305"/>
                    <a:pt x="219421" y="266048"/>
                    <a:pt x="227650" y="268791"/>
                  </a:cubicBezTo>
                  <a:cubicBezTo>
                    <a:pt x="219421" y="271534"/>
                    <a:pt x="213936" y="274276"/>
                    <a:pt x="208450" y="279762"/>
                  </a:cubicBezTo>
                  <a:cubicBezTo>
                    <a:pt x="191994" y="293475"/>
                    <a:pt x="183765" y="320903"/>
                    <a:pt x="202965" y="345588"/>
                  </a:cubicBezTo>
                  <a:cubicBezTo>
                    <a:pt x="202965" y="345588"/>
                    <a:pt x="202965" y="345588"/>
                    <a:pt x="202965" y="345588"/>
                  </a:cubicBezTo>
                  <a:lnTo>
                    <a:pt x="255077" y="408672"/>
                  </a:lnTo>
                  <a:lnTo>
                    <a:pt x="255077" y="479983"/>
                  </a:lnTo>
                  <a:lnTo>
                    <a:pt x="159081" y="479983"/>
                  </a:lnTo>
                  <a:close/>
                  <a:moveTo>
                    <a:pt x="200222" y="839285"/>
                  </a:moveTo>
                  <a:lnTo>
                    <a:pt x="255077" y="839285"/>
                  </a:lnTo>
                  <a:cubicBezTo>
                    <a:pt x="268791" y="839285"/>
                    <a:pt x="282505" y="850256"/>
                    <a:pt x="282505" y="866713"/>
                  </a:cubicBezTo>
                  <a:lnTo>
                    <a:pt x="282505" y="874941"/>
                  </a:lnTo>
                  <a:lnTo>
                    <a:pt x="200222" y="874941"/>
                  </a:lnTo>
                  <a:lnTo>
                    <a:pt x="200222" y="839285"/>
                  </a:lnTo>
                  <a:close/>
                  <a:moveTo>
                    <a:pt x="1039509" y="940768"/>
                  </a:moveTo>
                  <a:lnTo>
                    <a:pt x="46627" y="940768"/>
                  </a:lnTo>
                  <a:cubicBezTo>
                    <a:pt x="38399" y="940768"/>
                    <a:pt x="30171" y="932539"/>
                    <a:pt x="30171" y="924311"/>
                  </a:cubicBezTo>
                  <a:cubicBezTo>
                    <a:pt x="30171" y="916083"/>
                    <a:pt x="38399" y="907854"/>
                    <a:pt x="46627" y="907854"/>
                  </a:cubicBezTo>
                  <a:lnTo>
                    <a:pt x="1039509" y="907854"/>
                  </a:lnTo>
                  <a:cubicBezTo>
                    <a:pt x="1047737" y="907854"/>
                    <a:pt x="1055966" y="916083"/>
                    <a:pt x="1055966" y="924311"/>
                  </a:cubicBezTo>
                  <a:cubicBezTo>
                    <a:pt x="1055966" y="932539"/>
                    <a:pt x="1047737" y="940768"/>
                    <a:pt x="1039509" y="940768"/>
                  </a:cubicBezTo>
                  <a:close/>
                </a:path>
              </a:pathLst>
            </a:custGeom>
            <a:grpFill/>
            <a:ln w="27426" cap="flat">
              <a:noFill/>
              <a:prstDash val="solid"/>
              <a:miter/>
            </a:ln>
          </p:spPr>
          <p:txBody>
            <a:bodyPr rtlCol="0" anchor="ctr"/>
            <a:lstStyle/>
            <a:p>
              <a:endParaRPr lang="en-US"/>
            </a:p>
          </p:txBody>
        </p:sp>
        <p:grpSp>
          <p:nvGrpSpPr>
            <p:cNvPr id="5" name="Graphic 3">
              <a:extLst>
                <a:ext uri="{FF2B5EF4-FFF2-40B4-BE49-F238E27FC236}">
                  <a16:creationId xmlns:a16="http://schemas.microsoft.com/office/drawing/2014/main" id="{0EBD1E5F-2948-155A-3B57-661A30F685A7}"/>
                </a:ext>
              </a:extLst>
            </p:cNvPr>
            <p:cNvGrpSpPr/>
            <p:nvPr/>
          </p:nvGrpSpPr>
          <p:grpSpPr>
            <a:xfrm>
              <a:off x="4738409" y="2001259"/>
              <a:ext cx="466270" cy="416900"/>
              <a:chOff x="4738409" y="2001259"/>
              <a:chExt cx="466270" cy="416900"/>
            </a:xfrm>
            <a:grpFill/>
          </p:grpSpPr>
          <p:sp>
            <p:nvSpPr>
              <p:cNvPr id="8" name="Freeform 7">
                <a:extLst>
                  <a:ext uri="{FF2B5EF4-FFF2-40B4-BE49-F238E27FC236}">
                    <a16:creationId xmlns:a16="http://schemas.microsoft.com/office/drawing/2014/main" id="{F3840086-72FE-5068-B7E9-CD5561D6C574}"/>
                  </a:ext>
                </a:extLst>
              </p:cNvPr>
              <p:cNvSpPr/>
              <p:nvPr/>
            </p:nvSpPr>
            <p:spPr>
              <a:xfrm>
                <a:off x="4738409" y="2044063"/>
                <a:ext cx="69649" cy="247929"/>
              </a:xfrm>
              <a:custGeom>
                <a:avLst/>
                <a:gdLst>
                  <a:gd name="connsiteX0" fmla="*/ 43884 w 69649"/>
                  <a:gd name="connsiteY0" fmla="*/ 242443 h 247929"/>
                  <a:gd name="connsiteX1" fmla="*/ 43884 w 69649"/>
                  <a:gd name="connsiteY1" fmla="*/ 242443 h 247929"/>
                  <a:gd name="connsiteX2" fmla="*/ 49370 w 69649"/>
                  <a:gd name="connsiteY2" fmla="*/ 247929 h 247929"/>
                  <a:gd name="connsiteX3" fmla="*/ 68569 w 69649"/>
                  <a:gd name="connsiteY3" fmla="*/ 220501 h 247929"/>
                  <a:gd name="connsiteX4" fmla="*/ 32913 w 69649"/>
                  <a:gd name="connsiteY4" fmla="*/ 116276 h 247929"/>
                  <a:gd name="connsiteX5" fmla="*/ 65827 w 69649"/>
                  <a:gd name="connsiteY5" fmla="*/ 25765 h 247929"/>
                  <a:gd name="connsiteX6" fmla="*/ 63084 w 69649"/>
                  <a:gd name="connsiteY6" fmla="*/ 3823 h 247929"/>
                  <a:gd name="connsiteX7" fmla="*/ 41142 w 69649"/>
                  <a:gd name="connsiteY7" fmla="*/ 6566 h 247929"/>
                  <a:gd name="connsiteX8" fmla="*/ 0 w 69649"/>
                  <a:gd name="connsiteY8" fmla="*/ 119019 h 247929"/>
                  <a:gd name="connsiteX9" fmla="*/ 43884 w 69649"/>
                  <a:gd name="connsiteY9" fmla="*/ 242443 h 24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649" h="247929">
                    <a:moveTo>
                      <a:pt x="43884" y="242443"/>
                    </a:moveTo>
                    <a:cubicBezTo>
                      <a:pt x="43884" y="242443"/>
                      <a:pt x="43884" y="242443"/>
                      <a:pt x="43884" y="242443"/>
                    </a:cubicBezTo>
                    <a:cubicBezTo>
                      <a:pt x="46627" y="245186"/>
                      <a:pt x="46627" y="245186"/>
                      <a:pt x="49370" y="247929"/>
                    </a:cubicBezTo>
                    <a:cubicBezTo>
                      <a:pt x="54855" y="239701"/>
                      <a:pt x="60341" y="228729"/>
                      <a:pt x="68569" y="220501"/>
                    </a:cubicBezTo>
                    <a:cubicBezTo>
                      <a:pt x="41142" y="179360"/>
                      <a:pt x="32913" y="140961"/>
                      <a:pt x="32913" y="116276"/>
                    </a:cubicBezTo>
                    <a:cubicBezTo>
                      <a:pt x="32913" y="80620"/>
                      <a:pt x="43884" y="50450"/>
                      <a:pt x="65827" y="25765"/>
                    </a:cubicBezTo>
                    <a:cubicBezTo>
                      <a:pt x="71312" y="20280"/>
                      <a:pt x="71312" y="9308"/>
                      <a:pt x="63084" y="3823"/>
                    </a:cubicBezTo>
                    <a:cubicBezTo>
                      <a:pt x="57598" y="-1662"/>
                      <a:pt x="46627" y="-1662"/>
                      <a:pt x="41142" y="6566"/>
                    </a:cubicBezTo>
                    <a:cubicBezTo>
                      <a:pt x="13714" y="36736"/>
                      <a:pt x="0" y="75135"/>
                      <a:pt x="0" y="119019"/>
                    </a:cubicBezTo>
                    <a:cubicBezTo>
                      <a:pt x="0" y="146447"/>
                      <a:pt x="8228" y="190331"/>
                      <a:pt x="43884" y="242443"/>
                    </a:cubicBezTo>
                    <a:close/>
                  </a:path>
                </a:pathLst>
              </a:custGeom>
              <a:solidFill>
                <a:srgbClr val="F16924"/>
              </a:solidFill>
              <a:ln w="27426"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270DD39B-BC97-4983-83B0-4AC23E118E67}"/>
                  </a:ext>
                </a:extLst>
              </p:cNvPr>
              <p:cNvSpPr/>
              <p:nvPr/>
            </p:nvSpPr>
            <p:spPr>
              <a:xfrm>
                <a:off x="4848120" y="2330391"/>
                <a:ext cx="233135" cy="87768"/>
              </a:xfrm>
              <a:custGeom>
                <a:avLst/>
                <a:gdLst>
                  <a:gd name="connsiteX0" fmla="*/ 21942 w 233135"/>
                  <a:gd name="connsiteY0" fmla="*/ 5485 h 87768"/>
                  <a:gd name="connsiteX1" fmla="*/ 21942 w 233135"/>
                  <a:gd name="connsiteY1" fmla="*/ 5485 h 87768"/>
                  <a:gd name="connsiteX2" fmla="*/ 0 w 233135"/>
                  <a:gd name="connsiteY2" fmla="*/ 32913 h 87768"/>
                  <a:gd name="connsiteX3" fmla="*/ 5485 w 233135"/>
                  <a:gd name="connsiteY3" fmla="*/ 27428 h 87768"/>
                  <a:gd name="connsiteX4" fmla="*/ 93254 w 233135"/>
                  <a:gd name="connsiteY4" fmla="*/ 82283 h 87768"/>
                  <a:gd name="connsiteX5" fmla="*/ 120682 w 233135"/>
                  <a:gd name="connsiteY5" fmla="*/ 87768 h 87768"/>
                  <a:gd name="connsiteX6" fmla="*/ 148110 w 233135"/>
                  <a:gd name="connsiteY6" fmla="*/ 82283 h 87768"/>
                  <a:gd name="connsiteX7" fmla="*/ 233136 w 233135"/>
                  <a:gd name="connsiteY7" fmla="*/ 30171 h 87768"/>
                  <a:gd name="connsiteX8" fmla="*/ 211193 w 233135"/>
                  <a:gd name="connsiteY8" fmla="*/ 5485 h 87768"/>
                  <a:gd name="connsiteX9" fmla="*/ 134396 w 233135"/>
                  <a:gd name="connsiteY9" fmla="*/ 52112 h 87768"/>
                  <a:gd name="connsiteX10" fmla="*/ 109711 w 233135"/>
                  <a:gd name="connsiteY10" fmla="*/ 52112 h 87768"/>
                  <a:gd name="connsiteX11" fmla="*/ 30171 w 233135"/>
                  <a:gd name="connsiteY11" fmla="*/ 2743 h 87768"/>
                  <a:gd name="connsiteX12" fmla="*/ 32913 w 233135"/>
                  <a:gd name="connsiteY12" fmla="*/ 0 h 87768"/>
                  <a:gd name="connsiteX13" fmla="*/ 21942 w 233135"/>
                  <a:gd name="connsiteY13" fmla="*/ 5485 h 8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134" h="87768">
                    <a:moveTo>
                      <a:pt x="21942" y="5485"/>
                    </a:moveTo>
                    <a:cubicBezTo>
                      <a:pt x="21942" y="5485"/>
                      <a:pt x="21942" y="5485"/>
                      <a:pt x="21942" y="5485"/>
                    </a:cubicBezTo>
                    <a:cubicBezTo>
                      <a:pt x="13714" y="13714"/>
                      <a:pt x="8228" y="24685"/>
                      <a:pt x="0" y="32913"/>
                    </a:cubicBezTo>
                    <a:lnTo>
                      <a:pt x="5485" y="27428"/>
                    </a:lnTo>
                    <a:cubicBezTo>
                      <a:pt x="30171" y="46627"/>
                      <a:pt x="60341" y="65826"/>
                      <a:pt x="93254" y="82283"/>
                    </a:cubicBezTo>
                    <a:cubicBezTo>
                      <a:pt x="101482" y="87768"/>
                      <a:pt x="109711" y="87768"/>
                      <a:pt x="120682" y="87768"/>
                    </a:cubicBezTo>
                    <a:cubicBezTo>
                      <a:pt x="131653" y="87768"/>
                      <a:pt x="139881" y="85026"/>
                      <a:pt x="148110" y="82283"/>
                    </a:cubicBezTo>
                    <a:cubicBezTo>
                      <a:pt x="181023" y="65826"/>
                      <a:pt x="208450" y="49370"/>
                      <a:pt x="233136" y="30171"/>
                    </a:cubicBezTo>
                    <a:cubicBezTo>
                      <a:pt x="224907" y="21942"/>
                      <a:pt x="216679" y="16457"/>
                      <a:pt x="211193" y="5485"/>
                    </a:cubicBezTo>
                    <a:cubicBezTo>
                      <a:pt x="189251" y="21942"/>
                      <a:pt x="161824" y="38399"/>
                      <a:pt x="134396" y="52112"/>
                    </a:cubicBezTo>
                    <a:cubicBezTo>
                      <a:pt x="126167" y="54855"/>
                      <a:pt x="117939" y="54855"/>
                      <a:pt x="109711" y="52112"/>
                    </a:cubicBezTo>
                    <a:cubicBezTo>
                      <a:pt x="79541" y="35656"/>
                      <a:pt x="52113" y="19199"/>
                      <a:pt x="30171" y="2743"/>
                    </a:cubicBezTo>
                    <a:lnTo>
                      <a:pt x="32913" y="0"/>
                    </a:lnTo>
                    <a:cubicBezTo>
                      <a:pt x="30171" y="5485"/>
                      <a:pt x="24685" y="5485"/>
                      <a:pt x="21942" y="5485"/>
                    </a:cubicBezTo>
                    <a:close/>
                  </a:path>
                </a:pathLst>
              </a:custGeom>
              <a:solidFill>
                <a:srgbClr val="F16924"/>
              </a:solidFill>
              <a:ln w="27426"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D08478D-C114-ECC8-CEA1-EFF47A71C070}"/>
                  </a:ext>
                </a:extLst>
              </p:cNvPr>
              <p:cNvSpPr/>
              <p:nvPr/>
            </p:nvSpPr>
            <p:spPr>
              <a:xfrm>
                <a:off x="4828207" y="2001259"/>
                <a:ext cx="376472" cy="290732"/>
              </a:xfrm>
              <a:custGeom>
                <a:avLst/>
                <a:gdLst>
                  <a:gd name="connsiteX0" fmla="*/ 22656 w 376472"/>
                  <a:gd name="connsiteY0" fmla="*/ 35656 h 290732"/>
                  <a:gd name="connsiteX1" fmla="*/ 55569 w 376472"/>
                  <a:gd name="connsiteY1" fmla="*/ 30171 h 290732"/>
                  <a:gd name="connsiteX2" fmla="*/ 132366 w 376472"/>
                  <a:gd name="connsiteY2" fmla="*/ 54855 h 290732"/>
                  <a:gd name="connsiteX3" fmla="*/ 151566 w 376472"/>
                  <a:gd name="connsiteY3" fmla="*/ 54855 h 290732"/>
                  <a:gd name="connsiteX4" fmla="*/ 228363 w 376472"/>
                  <a:gd name="connsiteY4" fmla="*/ 30171 h 290732"/>
                  <a:gd name="connsiteX5" fmla="*/ 343559 w 376472"/>
                  <a:gd name="connsiteY5" fmla="*/ 159080 h 290732"/>
                  <a:gd name="connsiteX6" fmla="*/ 302418 w 376472"/>
                  <a:gd name="connsiteY6" fmla="*/ 268791 h 290732"/>
                  <a:gd name="connsiteX7" fmla="*/ 299675 w 376472"/>
                  <a:gd name="connsiteY7" fmla="*/ 266048 h 290732"/>
                  <a:gd name="connsiteX8" fmla="*/ 296932 w 376472"/>
                  <a:gd name="connsiteY8" fmla="*/ 271533 h 290732"/>
                  <a:gd name="connsiteX9" fmla="*/ 310646 w 376472"/>
                  <a:gd name="connsiteY9" fmla="*/ 285247 h 290732"/>
                  <a:gd name="connsiteX10" fmla="*/ 316132 w 376472"/>
                  <a:gd name="connsiteY10" fmla="*/ 290733 h 290732"/>
                  <a:gd name="connsiteX11" fmla="*/ 329846 w 376472"/>
                  <a:gd name="connsiteY11" fmla="*/ 290733 h 290732"/>
                  <a:gd name="connsiteX12" fmla="*/ 329846 w 376472"/>
                  <a:gd name="connsiteY12" fmla="*/ 290733 h 290732"/>
                  <a:gd name="connsiteX13" fmla="*/ 376473 w 376472"/>
                  <a:gd name="connsiteY13" fmla="*/ 161823 h 290732"/>
                  <a:gd name="connsiteX14" fmla="*/ 231106 w 376472"/>
                  <a:gd name="connsiteY14" fmla="*/ 0 h 290732"/>
                  <a:gd name="connsiteX15" fmla="*/ 143337 w 376472"/>
                  <a:gd name="connsiteY15" fmla="*/ 24685 h 290732"/>
                  <a:gd name="connsiteX16" fmla="*/ 55569 w 376472"/>
                  <a:gd name="connsiteY16" fmla="*/ 0 h 290732"/>
                  <a:gd name="connsiteX17" fmla="*/ 11684 w 376472"/>
                  <a:gd name="connsiteY17" fmla="*/ 5485 h 290732"/>
                  <a:gd name="connsiteX18" fmla="*/ 714 w 376472"/>
                  <a:gd name="connsiteY18" fmla="*/ 24685 h 290732"/>
                  <a:gd name="connsiteX19" fmla="*/ 22656 w 376472"/>
                  <a:gd name="connsiteY19" fmla="*/ 35656 h 290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6472" h="290732">
                    <a:moveTo>
                      <a:pt x="22656" y="35656"/>
                    </a:moveTo>
                    <a:cubicBezTo>
                      <a:pt x="33627" y="32913"/>
                      <a:pt x="44598" y="30171"/>
                      <a:pt x="55569" y="30171"/>
                    </a:cubicBezTo>
                    <a:cubicBezTo>
                      <a:pt x="91225" y="30171"/>
                      <a:pt x="115910" y="43884"/>
                      <a:pt x="132366" y="54855"/>
                    </a:cubicBezTo>
                    <a:cubicBezTo>
                      <a:pt x="137852" y="57598"/>
                      <a:pt x="146080" y="57598"/>
                      <a:pt x="151566" y="54855"/>
                    </a:cubicBezTo>
                    <a:cubicBezTo>
                      <a:pt x="168023" y="43884"/>
                      <a:pt x="195450" y="30171"/>
                      <a:pt x="228363" y="30171"/>
                    </a:cubicBezTo>
                    <a:cubicBezTo>
                      <a:pt x="291447" y="30171"/>
                      <a:pt x="343559" y="87768"/>
                      <a:pt x="343559" y="159080"/>
                    </a:cubicBezTo>
                    <a:cubicBezTo>
                      <a:pt x="343559" y="186508"/>
                      <a:pt x="335331" y="224906"/>
                      <a:pt x="302418" y="268791"/>
                    </a:cubicBezTo>
                    <a:lnTo>
                      <a:pt x="299675" y="266048"/>
                    </a:lnTo>
                    <a:cubicBezTo>
                      <a:pt x="299675" y="268791"/>
                      <a:pt x="299675" y="268791"/>
                      <a:pt x="296932" y="271533"/>
                    </a:cubicBezTo>
                    <a:cubicBezTo>
                      <a:pt x="302418" y="277019"/>
                      <a:pt x="305161" y="282505"/>
                      <a:pt x="310646" y="285247"/>
                    </a:cubicBezTo>
                    <a:cubicBezTo>
                      <a:pt x="313389" y="287990"/>
                      <a:pt x="313389" y="287990"/>
                      <a:pt x="316132" y="290733"/>
                    </a:cubicBezTo>
                    <a:cubicBezTo>
                      <a:pt x="321618" y="290733"/>
                      <a:pt x="327103" y="290733"/>
                      <a:pt x="329846" y="290733"/>
                    </a:cubicBezTo>
                    <a:cubicBezTo>
                      <a:pt x="329846" y="290733"/>
                      <a:pt x="329846" y="290733"/>
                      <a:pt x="329846" y="290733"/>
                    </a:cubicBezTo>
                    <a:cubicBezTo>
                      <a:pt x="368244" y="238620"/>
                      <a:pt x="376473" y="191993"/>
                      <a:pt x="376473" y="161823"/>
                    </a:cubicBezTo>
                    <a:cubicBezTo>
                      <a:pt x="376473" y="71312"/>
                      <a:pt x="313389" y="0"/>
                      <a:pt x="231106" y="0"/>
                    </a:cubicBezTo>
                    <a:cubicBezTo>
                      <a:pt x="192707" y="0"/>
                      <a:pt x="165280" y="13714"/>
                      <a:pt x="143337" y="24685"/>
                    </a:cubicBezTo>
                    <a:cubicBezTo>
                      <a:pt x="124138" y="10971"/>
                      <a:pt x="93967" y="0"/>
                      <a:pt x="55569" y="0"/>
                    </a:cubicBezTo>
                    <a:cubicBezTo>
                      <a:pt x="41855" y="0"/>
                      <a:pt x="25398" y="2743"/>
                      <a:pt x="11684" y="5485"/>
                    </a:cubicBezTo>
                    <a:cubicBezTo>
                      <a:pt x="3456" y="8228"/>
                      <a:pt x="-2029" y="16457"/>
                      <a:pt x="714" y="24685"/>
                    </a:cubicBezTo>
                    <a:cubicBezTo>
                      <a:pt x="6199" y="32913"/>
                      <a:pt x="14427" y="38399"/>
                      <a:pt x="22656" y="35656"/>
                    </a:cubicBezTo>
                    <a:close/>
                  </a:path>
                </a:pathLst>
              </a:custGeom>
              <a:solidFill>
                <a:srgbClr val="F16924"/>
              </a:solidFill>
              <a:ln w="2742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860705059"/>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344234"/>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a:solidFill>
                  <a:schemeClr val="bg1"/>
                </a:solidFill>
              </a:rPr>
              <a:t>05 </a:t>
            </a:r>
            <a:r>
              <a:rPr lang="en-IE">
                <a:solidFill>
                  <a:schemeClr val="bg1"/>
                </a:solidFill>
              </a:rPr>
              <a:t>Aprendizaje y resiliencia </a:t>
            </a:r>
            <a:endParaRPr lang="en-US">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225678" y="1918123"/>
            <a:ext cx="9377743" cy="4255886"/>
          </a:xfrm>
        </p:spPr>
        <p:txBody>
          <a:bodyPr>
            <a:normAutofit/>
          </a:bodyPr>
          <a:lstStyle/>
          <a:p>
            <a:pPr marL="12700" indent="-12700" algn="just"/>
            <a:r>
              <a:rPr lang="en-GB">
                <a:latin typeface="Calibri" panose="020F0502020204030204" pitchFamily="34" charset="0"/>
                <a:ea typeface="Lato Light" panose="020F0502020204030203" pitchFamily="34" charset="0"/>
                <a:cs typeface="Calibri" panose="020F0502020204030204" pitchFamily="34" charset="0"/>
              </a:rPr>
              <a:t>Si la crisis se supera con éxito, hay que extraer el aprendizaje adecuado. Si esto tiene éxito, puede conducir a una resiliencia sostenible ante la crisis.</a:t>
            </a:r>
          </a:p>
        </p:txBody>
      </p:sp>
      <p:sp>
        <p:nvSpPr>
          <p:cNvPr id="2" name="TextBox 1">
            <a:extLst>
              <a:ext uri="{FF2B5EF4-FFF2-40B4-BE49-F238E27FC236}">
                <a16:creationId xmlns:a16="http://schemas.microsoft.com/office/drawing/2014/main" id="{5F287E9B-0697-9CFF-5766-567DB12E05B5}"/>
              </a:ext>
            </a:extLst>
          </p:cNvPr>
          <p:cNvSpPr txBox="1"/>
          <p:nvPr/>
        </p:nvSpPr>
        <p:spPr>
          <a:xfrm>
            <a:off x="2225677" y="3188929"/>
            <a:ext cx="8957141" cy="2554545"/>
          </a:xfrm>
          <a:prstGeom prst="rect">
            <a:avLst/>
          </a:prstGeom>
          <a:solidFill>
            <a:srgbClr val="F16924"/>
          </a:solidFill>
        </p:spPr>
        <p:txBody>
          <a:bodyPr wrap="square" anchor="ctr">
            <a:spAutoFit/>
          </a:bodyPr>
          <a:lstStyle/>
          <a:p>
            <a:pPr algn="ctr"/>
            <a:endParaRPr lang="en-GB" sz="2000" i="1">
              <a:solidFill>
                <a:schemeClr val="bg1"/>
              </a:solidFill>
              <a:latin typeface="Calibri" panose="020F0502020204030204" pitchFamily="34" charset="0"/>
              <a:cs typeface="Calibri" panose="020F0502020204030204" pitchFamily="34" charset="0"/>
            </a:endParaRPr>
          </a:p>
          <a:p>
            <a:pPr algn="ctr"/>
            <a:r>
              <a:rPr lang="en-GB" sz="2000" i="1">
                <a:solidFill>
                  <a:schemeClr val="bg1"/>
                </a:solidFill>
                <a:latin typeface="Calibri" panose="020F0502020204030204" pitchFamily="34" charset="0"/>
                <a:cs typeface="Calibri" panose="020F0502020204030204" pitchFamily="34" charset="0"/>
              </a:rPr>
              <a:t>"Estoy convencido de que aproximadamente la mitad de lo que separa a los empresarios de éxito de los que no lo son es pura perseverancia. Es tan duro y viertes tanto de tu vida en esta cosa, que hay momentos tan duros en el tiempo que la mayoría de la gente se rinde. Y no les culpo, es realmente duro". </a:t>
            </a:r>
          </a:p>
          <a:p>
            <a:pPr algn="ctr"/>
            <a:endParaRPr lang="en-GB" sz="2000" i="1">
              <a:solidFill>
                <a:schemeClr val="bg1"/>
              </a:solidFill>
              <a:latin typeface="Calibri" panose="020F0502020204030204" pitchFamily="34" charset="0"/>
              <a:cs typeface="Calibri" panose="020F0502020204030204" pitchFamily="34" charset="0"/>
            </a:endParaRPr>
          </a:p>
          <a:p>
            <a:pPr algn="ctr"/>
            <a:r>
              <a:rPr lang="en-GB" sz="2000" b="1">
                <a:solidFill>
                  <a:schemeClr val="bg1"/>
                </a:solidFill>
                <a:latin typeface="Calibri" panose="020F0502020204030204" pitchFamily="34" charset="0"/>
                <a:cs typeface="Calibri" panose="020F0502020204030204" pitchFamily="34" charset="0"/>
              </a:rPr>
              <a:t>Steve Jobs, cofundador de Apple</a:t>
            </a:r>
          </a:p>
          <a:p>
            <a:pPr algn="ctr"/>
            <a:endParaRPr lang="en-GB" sz="2000" b="1">
              <a:solidFill>
                <a:schemeClr val="bg1"/>
              </a:solidFill>
              <a:latin typeface="Calibri" panose="020F0502020204030204"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EA1C701F-EE2E-9A70-964F-98BE08741BDA}"/>
              </a:ext>
            </a:extLst>
          </p:cNvPr>
          <p:cNvGrpSpPr/>
          <p:nvPr/>
        </p:nvGrpSpPr>
        <p:grpSpPr>
          <a:xfrm>
            <a:off x="497532" y="1828977"/>
            <a:ext cx="912267" cy="912987"/>
            <a:chOff x="2845389" y="1612886"/>
            <a:chExt cx="3419384" cy="3422081"/>
          </a:xfrm>
          <a:solidFill>
            <a:srgbClr val="595959"/>
          </a:solidFill>
        </p:grpSpPr>
        <p:sp>
          <p:nvSpPr>
            <p:cNvPr id="5" name="Freeform 4">
              <a:extLst>
                <a:ext uri="{FF2B5EF4-FFF2-40B4-BE49-F238E27FC236}">
                  <a16:creationId xmlns:a16="http://schemas.microsoft.com/office/drawing/2014/main" id="{44D958D1-B2BC-971A-B22B-81B53760C122}"/>
                </a:ext>
              </a:extLst>
            </p:cNvPr>
            <p:cNvSpPr/>
            <p:nvPr/>
          </p:nvSpPr>
          <p:spPr>
            <a:xfrm>
              <a:off x="4625981" y="1744565"/>
              <a:ext cx="1591319" cy="1762089"/>
            </a:xfrm>
            <a:custGeom>
              <a:avLst/>
              <a:gdLst>
                <a:gd name="connsiteX0" fmla="*/ 1590367 w 1591319"/>
                <a:gd name="connsiteY0" fmla="*/ 1762090 h 1762089"/>
                <a:gd name="connsiteX1" fmla="*/ 453031 w 1591319"/>
                <a:gd name="connsiteY1" fmla="*/ 1762090 h 1762089"/>
                <a:gd name="connsiteX2" fmla="*/ 453031 w 1591319"/>
                <a:gd name="connsiteY2" fmla="*/ 1608823 h 1762089"/>
                <a:gd name="connsiteX3" fmla="*/ 379747 w 1591319"/>
                <a:gd name="connsiteY3" fmla="*/ 1535522 h 1762089"/>
                <a:gd name="connsiteX4" fmla="*/ 0 w 1591319"/>
                <a:gd name="connsiteY4" fmla="*/ 1535522 h 1762089"/>
                <a:gd name="connsiteX5" fmla="*/ 0 w 1591319"/>
                <a:gd name="connsiteY5" fmla="*/ 1434613 h 1762089"/>
                <a:gd name="connsiteX6" fmla="*/ 246502 w 1591319"/>
                <a:gd name="connsiteY6" fmla="*/ 1251836 h 1762089"/>
                <a:gd name="connsiteX7" fmla="*/ 536785 w 1591319"/>
                <a:gd name="connsiteY7" fmla="*/ 962438 h 1762089"/>
                <a:gd name="connsiteX8" fmla="*/ 536785 w 1591319"/>
                <a:gd name="connsiteY8" fmla="*/ 853914 h 1762089"/>
                <a:gd name="connsiteX9" fmla="*/ 420672 w 1591319"/>
                <a:gd name="connsiteY9" fmla="*/ 740630 h 1762089"/>
                <a:gd name="connsiteX10" fmla="*/ 724279 w 1591319"/>
                <a:gd name="connsiteY10" fmla="*/ 439809 h 1762089"/>
                <a:gd name="connsiteX11" fmla="*/ 638622 w 1591319"/>
                <a:gd name="connsiteY11" fmla="*/ 362699 h 1762089"/>
                <a:gd name="connsiteX12" fmla="*/ 348339 w 1591319"/>
                <a:gd name="connsiteY12" fmla="*/ 657809 h 1762089"/>
                <a:gd name="connsiteX13" fmla="*/ 217950 w 1591319"/>
                <a:gd name="connsiteY13" fmla="*/ 665425 h 1762089"/>
                <a:gd name="connsiteX14" fmla="*/ 8566 w 1591319"/>
                <a:gd name="connsiteY14" fmla="*/ 873905 h 1762089"/>
                <a:gd name="connsiteX15" fmla="*/ 0 w 1591319"/>
                <a:gd name="connsiteY15" fmla="*/ 877713 h 1762089"/>
                <a:gd name="connsiteX16" fmla="*/ 0 w 1591319"/>
                <a:gd name="connsiteY16" fmla="*/ 0 h 1762089"/>
                <a:gd name="connsiteX17" fmla="*/ 1591319 w 1591319"/>
                <a:gd name="connsiteY17" fmla="*/ 0 h 1762089"/>
                <a:gd name="connsiteX18" fmla="*/ 1590367 w 1591319"/>
                <a:gd name="connsiteY18" fmla="*/ 1762090 h 1762089"/>
                <a:gd name="connsiteX19" fmla="*/ 313125 w 1591319"/>
                <a:gd name="connsiteY19" fmla="*/ 286542 h 1762089"/>
                <a:gd name="connsiteX20" fmla="*/ 364519 w 1591319"/>
                <a:gd name="connsiteY20" fmla="*/ 388402 h 1762089"/>
                <a:gd name="connsiteX21" fmla="*/ 654801 w 1591319"/>
                <a:gd name="connsiteY21" fmla="*/ 242751 h 1762089"/>
                <a:gd name="connsiteX22" fmla="*/ 707147 w 1591319"/>
                <a:gd name="connsiteY22" fmla="*/ 242751 h 1762089"/>
                <a:gd name="connsiteX23" fmla="*/ 980298 w 1591319"/>
                <a:gd name="connsiteY23" fmla="*/ 380786 h 1762089"/>
                <a:gd name="connsiteX24" fmla="*/ 1064052 w 1591319"/>
                <a:gd name="connsiteY24" fmla="*/ 380786 h 1762089"/>
                <a:gd name="connsiteX25" fmla="*/ 1257256 w 1591319"/>
                <a:gd name="connsiteY25" fmla="*/ 283686 h 1762089"/>
                <a:gd name="connsiteX26" fmla="*/ 1389549 w 1591319"/>
                <a:gd name="connsiteY26" fmla="*/ 218000 h 1762089"/>
                <a:gd name="connsiteX27" fmla="*/ 1338155 w 1591319"/>
                <a:gd name="connsiteY27" fmla="*/ 116140 h 1762089"/>
                <a:gd name="connsiteX28" fmla="*/ 1048824 w 1591319"/>
                <a:gd name="connsiteY28" fmla="*/ 260839 h 1762089"/>
                <a:gd name="connsiteX29" fmla="*/ 996478 w 1591319"/>
                <a:gd name="connsiteY29" fmla="*/ 261791 h 1762089"/>
                <a:gd name="connsiteX30" fmla="*/ 719520 w 1591319"/>
                <a:gd name="connsiteY30" fmla="*/ 123756 h 1762089"/>
                <a:gd name="connsiteX31" fmla="*/ 659560 w 1591319"/>
                <a:gd name="connsiteY31" fmla="*/ 115188 h 1762089"/>
                <a:gd name="connsiteX32" fmla="*/ 313125 w 1591319"/>
                <a:gd name="connsiteY32" fmla="*/ 286542 h 1762089"/>
                <a:gd name="connsiteX33" fmla="*/ 1420005 w 1591319"/>
                <a:gd name="connsiteY33" fmla="*/ 739678 h 1762089"/>
                <a:gd name="connsiteX34" fmla="*/ 740458 w 1591319"/>
                <a:gd name="connsiteY34" fmla="*/ 739678 h 1762089"/>
                <a:gd name="connsiteX35" fmla="*/ 740458 w 1591319"/>
                <a:gd name="connsiteY35" fmla="*/ 849154 h 1762089"/>
                <a:gd name="connsiteX36" fmla="*/ 1420005 w 1591319"/>
                <a:gd name="connsiteY36" fmla="*/ 849154 h 1762089"/>
                <a:gd name="connsiteX37" fmla="*/ 1420005 w 1591319"/>
                <a:gd name="connsiteY37" fmla="*/ 739678 h 1762089"/>
                <a:gd name="connsiteX38" fmla="*/ 1418101 w 1591319"/>
                <a:gd name="connsiteY38" fmla="*/ 1077626 h 1762089"/>
                <a:gd name="connsiteX39" fmla="*/ 1418101 w 1591319"/>
                <a:gd name="connsiteY39" fmla="*/ 966246 h 1762089"/>
                <a:gd name="connsiteX40" fmla="*/ 739507 w 1591319"/>
                <a:gd name="connsiteY40" fmla="*/ 966246 h 1762089"/>
                <a:gd name="connsiteX41" fmla="*/ 739507 w 1591319"/>
                <a:gd name="connsiteY41" fmla="*/ 1077626 h 1762089"/>
                <a:gd name="connsiteX42" fmla="*/ 1418101 w 1591319"/>
                <a:gd name="connsiteY42" fmla="*/ 1077626 h 1762089"/>
                <a:gd name="connsiteX43" fmla="*/ 738555 w 1591319"/>
                <a:gd name="connsiteY43" fmla="*/ 1305146 h 1762089"/>
                <a:gd name="connsiteX44" fmla="*/ 1418101 w 1591319"/>
                <a:gd name="connsiteY44" fmla="*/ 1305146 h 1762089"/>
                <a:gd name="connsiteX45" fmla="*/ 1418101 w 1591319"/>
                <a:gd name="connsiteY45" fmla="*/ 1195670 h 1762089"/>
                <a:gd name="connsiteX46" fmla="*/ 738555 w 1591319"/>
                <a:gd name="connsiteY46" fmla="*/ 1195670 h 1762089"/>
                <a:gd name="connsiteX47" fmla="*/ 738555 w 1591319"/>
                <a:gd name="connsiteY47" fmla="*/ 1305146 h 1762089"/>
                <a:gd name="connsiteX48" fmla="*/ 1420005 w 1591319"/>
                <a:gd name="connsiteY48" fmla="*/ 1424142 h 1762089"/>
                <a:gd name="connsiteX49" fmla="*/ 740458 w 1591319"/>
                <a:gd name="connsiteY49" fmla="*/ 1424142 h 1762089"/>
                <a:gd name="connsiteX50" fmla="*/ 740458 w 1591319"/>
                <a:gd name="connsiteY50" fmla="*/ 1533618 h 1762089"/>
                <a:gd name="connsiteX51" fmla="*/ 1420005 w 1591319"/>
                <a:gd name="connsiteY51" fmla="*/ 1533618 h 1762089"/>
                <a:gd name="connsiteX52" fmla="*/ 1420005 w 1591319"/>
                <a:gd name="connsiteY52" fmla="*/ 1424142 h 176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91319" h="1762089">
                  <a:moveTo>
                    <a:pt x="1590367" y="1762090"/>
                  </a:moveTo>
                  <a:cubicBezTo>
                    <a:pt x="1210621" y="1762090"/>
                    <a:pt x="833729" y="1762090"/>
                    <a:pt x="453031" y="1762090"/>
                  </a:cubicBezTo>
                  <a:cubicBezTo>
                    <a:pt x="453031" y="1709732"/>
                    <a:pt x="453031" y="1659278"/>
                    <a:pt x="453031" y="1608823"/>
                  </a:cubicBezTo>
                  <a:cubicBezTo>
                    <a:pt x="453031" y="1555513"/>
                    <a:pt x="433996" y="1535522"/>
                    <a:pt x="379747" y="1535522"/>
                  </a:cubicBezTo>
                  <a:cubicBezTo>
                    <a:pt x="254116" y="1535522"/>
                    <a:pt x="128486" y="1535522"/>
                    <a:pt x="0" y="1535522"/>
                  </a:cubicBezTo>
                  <a:cubicBezTo>
                    <a:pt x="0" y="1503155"/>
                    <a:pt x="0" y="1471740"/>
                    <a:pt x="0" y="1434613"/>
                  </a:cubicBezTo>
                  <a:cubicBezTo>
                    <a:pt x="109451" y="1414622"/>
                    <a:pt x="172266" y="1325137"/>
                    <a:pt x="246502" y="1251836"/>
                  </a:cubicBezTo>
                  <a:cubicBezTo>
                    <a:pt x="344532" y="1156639"/>
                    <a:pt x="439707" y="1058587"/>
                    <a:pt x="536785" y="962438"/>
                  </a:cubicBezTo>
                  <a:cubicBezTo>
                    <a:pt x="578662" y="920552"/>
                    <a:pt x="578662" y="895800"/>
                    <a:pt x="536785" y="853914"/>
                  </a:cubicBezTo>
                  <a:cubicBezTo>
                    <a:pt x="498715" y="815835"/>
                    <a:pt x="460645" y="779661"/>
                    <a:pt x="420672" y="740630"/>
                  </a:cubicBezTo>
                  <a:cubicBezTo>
                    <a:pt x="523460" y="638769"/>
                    <a:pt x="622442" y="539765"/>
                    <a:pt x="724279" y="439809"/>
                  </a:cubicBezTo>
                  <a:cubicBezTo>
                    <a:pt x="691919" y="411250"/>
                    <a:pt x="666222" y="387450"/>
                    <a:pt x="638622" y="362699"/>
                  </a:cubicBezTo>
                  <a:cubicBezTo>
                    <a:pt x="543447" y="458848"/>
                    <a:pt x="445417" y="558804"/>
                    <a:pt x="348339" y="657809"/>
                  </a:cubicBezTo>
                  <a:cubicBezTo>
                    <a:pt x="280765" y="612114"/>
                    <a:pt x="270296" y="613066"/>
                    <a:pt x="217950" y="665425"/>
                  </a:cubicBezTo>
                  <a:cubicBezTo>
                    <a:pt x="148472" y="734918"/>
                    <a:pt x="78043" y="804412"/>
                    <a:pt x="8566" y="873905"/>
                  </a:cubicBezTo>
                  <a:cubicBezTo>
                    <a:pt x="7614" y="874857"/>
                    <a:pt x="4759" y="875809"/>
                    <a:pt x="0" y="877713"/>
                  </a:cubicBezTo>
                  <a:cubicBezTo>
                    <a:pt x="0" y="585459"/>
                    <a:pt x="0" y="294158"/>
                    <a:pt x="0" y="0"/>
                  </a:cubicBezTo>
                  <a:cubicBezTo>
                    <a:pt x="529171" y="0"/>
                    <a:pt x="1059293" y="0"/>
                    <a:pt x="1591319" y="0"/>
                  </a:cubicBezTo>
                  <a:cubicBezTo>
                    <a:pt x="1590367" y="584507"/>
                    <a:pt x="1590367" y="1171871"/>
                    <a:pt x="1590367" y="1762090"/>
                  </a:cubicBezTo>
                  <a:close/>
                  <a:moveTo>
                    <a:pt x="313125" y="286542"/>
                  </a:moveTo>
                  <a:cubicBezTo>
                    <a:pt x="331208" y="323669"/>
                    <a:pt x="347387" y="355083"/>
                    <a:pt x="364519" y="388402"/>
                  </a:cubicBezTo>
                  <a:cubicBezTo>
                    <a:pt x="462549" y="339852"/>
                    <a:pt x="559627" y="292254"/>
                    <a:pt x="654801" y="242751"/>
                  </a:cubicBezTo>
                  <a:cubicBezTo>
                    <a:pt x="673836" y="233232"/>
                    <a:pt x="688112" y="233232"/>
                    <a:pt x="707147" y="242751"/>
                  </a:cubicBezTo>
                  <a:cubicBezTo>
                    <a:pt x="797563" y="289398"/>
                    <a:pt x="889882" y="333188"/>
                    <a:pt x="980298" y="380786"/>
                  </a:cubicBezTo>
                  <a:cubicBezTo>
                    <a:pt x="1009802" y="396018"/>
                    <a:pt x="1034548" y="396970"/>
                    <a:pt x="1064052" y="380786"/>
                  </a:cubicBezTo>
                  <a:cubicBezTo>
                    <a:pt x="1127819" y="347468"/>
                    <a:pt x="1193490" y="316053"/>
                    <a:pt x="1257256" y="283686"/>
                  </a:cubicBezTo>
                  <a:cubicBezTo>
                    <a:pt x="1300085" y="261791"/>
                    <a:pt x="1343865" y="240847"/>
                    <a:pt x="1389549" y="218000"/>
                  </a:cubicBezTo>
                  <a:cubicBezTo>
                    <a:pt x="1371466" y="181826"/>
                    <a:pt x="1355286" y="150411"/>
                    <a:pt x="1338155" y="116140"/>
                  </a:cubicBezTo>
                  <a:cubicBezTo>
                    <a:pt x="1239173" y="165642"/>
                    <a:pt x="1143999" y="212288"/>
                    <a:pt x="1048824" y="260839"/>
                  </a:cubicBezTo>
                  <a:cubicBezTo>
                    <a:pt x="1029789" y="270358"/>
                    <a:pt x="1015513" y="271310"/>
                    <a:pt x="996478" y="261791"/>
                  </a:cubicBezTo>
                  <a:cubicBezTo>
                    <a:pt x="905110" y="214192"/>
                    <a:pt x="812791" y="168498"/>
                    <a:pt x="719520" y="123756"/>
                  </a:cubicBezTo>
                  <a:cubicBezTo>
                    <a:pt x="701437" y="115188"/>
                    <a:pt x="674788" y="108524"/>
                    <a:pt x="659560" y="115188"/>
                  </a:cubicBezTo>
                  <a:cubicBezTo>
                    <a:pt x="544399" y="170402"/>
                    <a:pt x="431141" y="228472"/>
                    <a:pt x="313125" y="286542"/>
                  </a:cubicBezTo>
                  <a:close/>
                  <a:moveTo>
                    <a:pt x="1420005" y="739678"/>
                  </a:moveTo>
                  <a:cubicBezTo>
                    <a:pt x="1191586" y="739678"/>
                    <a:pt x="965071" y="739678"/>
                    <a:pt x="740458" y="739678"/>
                  </a:cubicBezTo>
                  <a:cubicBezTo>
                    <a:pt x="740458" y="777757"/>
                    <a:pt x="740458" y="813931"/>
                    <a:pt x="740458" y="849154"/>
                  </a:cubicBezTo>
                  <a:cubicBezTo>
                    <a:pt x="967926" y="849154"/>
                    <a:pt x="1193490" y="849154"/>
                    <a:pt x="1420005" y="849154"/>
                  </a:cubicBezTo>
                  <a:cubicBezTo>
                    <a:pt x="1420005" y="812027"/>
                    <a:pt x="1420005" y="776805"/>
                    <a:pt x="1420005" y="739678"/>
                  </a:cubicBezTo>
                  <a:close/>
                  <a:moveTo>
                    <a:pt x="1418101" y="1077626"/>
                  </a:moveTo>
                  <a:cubicBezTo>
                    <a:pt x="1418101" y="1037643"/>
                    <a:pt x="1418101" y="1001469"/>
                    <a:pt x="1418101" y="966246"/>
                  </a:cubicBezTo>
                  <a:cubicBezTo>
                    <a:pt x="1190634" y="966246"/>
                    <a:pt x="965071" y="966246"/>
                    <a:pt x="739507" y="966246"/>
                  </a:cubicBezTo>
                  <a:cubicBezTo>
                    <a:pt x="739507" y="1004324"/>
                    <a:pt x="739507" y="1040499"/>
                    <a:pt x="739507" y="1077626"/>
                  </a:cubicBezTo>
                  <a:cubicBezTo>
                    <a:pt x="966974" y="1077626"/>
                    <a:pt x="1191586" y="1077626"/>
                    <a:pt x="1418101" y="1077626"/>
                  </a:cubicBezTo>
                  <a:close/>
                  <a:moveTo>
                    <a:pt x="738555" y="1305146"/>
                  </a:moveTo>
                  <a:cubicBezTo>
                    <a:pt x="966974" y="1305146"/>
                    <a:pt x="1193490" y="1305146"/>
                    <a:pt x="1418101" y="1305146"/>
                  </a:cubicBezTo>
                  <a:cubicBezTo>
                    <a:pt x="1418101" y="1266115"/>
                    <a:pt x="1418101" y="1230893"/>
                    <a:pt x="1418101" y="1195670"/>
                  </a:cubicBezTo>
                  <a:cubicBezTo>
                    <a:pt x="1190634" y="1195670"/>
                    <a:pt x="965071" y="1195670"/>
                    <a:pt x="738555" y="1195670"/>
                  </a:cubicBezTo>
                  <a:cubicBezTo>
                    <a:pt x="738555" y="1231845"/>
                    <a:pt x="738555" y="1267067"/>
                    <a:pt x="738555" y="1305146"/>
                  </a:cubicBezTo>
                  <a:close/>
                  <a:moveTo>
                    <a:pt x="1420005" y="1424142"/>
                  </a:moveTo>
                  <a:cubicBezTo>
                    <a:pt x="1191586" y="1424142"/>
                    <a:pt x="965071" y="1424142"/>
                    <a:pt x="740458" y="1424142"/>
                  </a:cubicBezTo>
                  <a:cubicBezTo>
                    <a:pt x="740458" y="1462220"/>
                    <a:pt x="740458" y="1498395"/>
                    <a:pt x="740458" y="1533618"/>
                  </a:cubicBezTo>
                  <a:cubicBezTo>
                    <a:pt x="967926" y="1533618"/>
                    <a:pt x="1193490" y="1533618"/>
                    <a:pt x="1420005" y="1533618"/>
                  </a:cubicBezTo>
                  <a:cubicBezTo>
                    <a:pt x="1420005" y="1496491"/>
                    <a:pt x="1420005" y="1461268"/>
                    <a:pt x="1420005" y="1424142"/>
                  </a:cubicBezTo>
                  <a:close/>
                </a:path>
              </a:pathLst>
            </a:custGeom>
            <a:solidFill>
              <a:srgbClr val="F16924"/>
            </a:solidFill>
            <a:ln w="9514"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974C2706-2496-00AF-249A-48C9C6D37500}"/>
                </a:ext>
              </a:extLst>
            </p:cNvPr>
            <p:cNvGrpSpPr/>
            <p:nvPr/>
          </p:nvGrpSpPr>
          <p:grpSpPr>
            <a:xfrm>
              <a:off x="2845389" y="1612886"/>
              <a:ext cx="3419384" cy="3422081"/>
              <a:chOff x="2845389" y="1612886"/>
              <a:chExt cx="3419384" cy="3422081"/>
            </a:xfrm>
            <a:grpFill/>
          </p:grpSpPr>
          <p:sp>
            <p:nvSpPr>
              <p:cNvPr id="10" name="Freeform 9">
                <a:extLst>
                  <a:ext uri="{FF2B5EF4-FFF2-40B4-BE49-F238E27FC236}">
                    <a16:creationId xmlns:a16="http://schemas.microsoft.com/office/drawing/2014/main" id="{FBAFFE75-D104-EA26-E548-CAD2613B1998}"/>
                  </a:ext>
                </a:extLst>
              </p:cNvPr>
              <p:cNvSpPr/>
              <p:nvPr/>
            </p:nvSpPr>
            <p:spPr>
              <a:xfrm>
                <a:off x="2845389" y="1612886"/>
                <a:ext cx="3419384" cy="2222603"/>
              </a:xfrm>
              <a:custGeom>
                <a:avLst/>
                <a:gdLst>
                  <a:gd name="connsiteX0" fmla="*/ 486104 w 3419384"/>
                  <a:gd name="connsiteY0" fmla="*/ 684226 h 2222603"/>
                  <a:gd name="connsiteX1" fmla="*/ 399495 w 3419384"/>
                  <a:gd name="connsiteY1" fmla="*/ 489073 h 2222603"/>
                  <a:gd name="connsiteX2" fmla="*/ 398544 w 3419384"/>
                  <a:gd name="connsiteY2" fmla="*/ 147317 h 2222603"/>
                  <a:gd name="connsiteX3" fmla="*/ 564147 w 3419384"/>
                  <a:gd name="connsiteY3" fmla="*/ 714 h 2222603"/>
                  <a:gd name="connsiteX4" fmla="*/ 909631 w 3419384"/>
                  <a:gd name="connsiteY4" fmla="*/ 714 h 2222603"/>
                  <a:gd name="connsiteX5" fmla="*/ 1080945 w 3419384"/>
                  <a:gd name="connsiteY5" fmla="*/ 171116 h 2222603"/>
                  <a:gd name="connsiteX6" fmla="*/ 1102836 w 3419384"/>
                  <a:gd name="connsiteY6" fmla="*/ 258697 h 2222603"/>
                  <a:gd name="connsiteX7" fmla="*/ 1181831 w 3419384"/>
                  <a:gd name="connsiteY7" fmla="*/ 418627 h 2222603"/>
                  <a:gd name="connsiteX8" fmla="*/ 1121870 w 3419384"/>
                  <a:gd name="connsiteY8" fmla="*/ 514776 h 2222603"/>
                  <a:gd name="connsiteX9" fmla="*/ 1085704 w 3419384"/>
                  <a:gd name="connsiteY9" fmla="*/ 514776 h 2222603"/>
                  <a:gd name="connsiteX10" fmla="*/ 1003854 w 3419384"/>
                  <a:gd name="connsiteY10" fmla="*/ 686130 h 2222603"/>
                  <a:gd name="connsiteX11" fmla="*/ 1151375 w 3419384"/>
                  <a:gd name="connsiteY11" fmla="*/ 685178 h 2222603"/>
                  <a:gd name="connsiteX12" fmla="*/ 1456885 w 3419384"/>
                  <a:gd name="connsiteY12" fmla="*/ 826069 h 2222603"/>
                  <a:gd name="connsiteX13" fmla="*/ 1594888 w 3419384"/>
                  <a:gd name="connsiteY13" fmla="*/ 987903 h 2222603"/>
                  <a:gd name="connsiteX14" fmla="*/ 1594888 w 3419384"/>
                  <a:gd name="connsiteY14" fmla="*/ 942209 h 2222603"/>
                  <a:gd name="connsiteX15" fmla="*/ 1594888 w 3419384"/>
                  <a:gd name="connsiteY15" fmla="*/ 83535 h 2222603"/>
                  <a:gd name="connsiteX16" fmla="*/ 1677690 w 3419384"/>
                  <a:gd name="connsiteY16" fmla="*/ 2618 h 2222603"/>
                  <a:gd name="connsiteX17" fmla="*/ 3337535 w 3419384"/>
                  <a:gd name="connsiteY17" fmla="*/ 2618 h 2222603"/>
                  <a:gd name="connsiteX18" fmla="*/ 3419385 w 3419384"/>
                  <a:gd name="connsiteY18" fmla="*/ 84487 h 2222603"/>
                  <a:gd name="connsiteX19" fmla="*/ 3419385 w 3419384"/>
                  <a:gd name="connsiteY19" fmla="*/ 1916070 h 2222603"/>
                  <a:gd name="connsiteX20" fmla="*/ 3337535 w 3419384"/>
                  <a:gd name="connsiteY20" fmla="*/ 1997940 h 2222603"/>
                  <a:gd name="connsiteX21" fmla="*/ 2098362 w 3419384"/>
                  <a:gd name="connsiteY21" fmla="*/ 1997940 h 2222603"/>
                  <a:gd name="connsiteX22" fmla="*/ 2052678 w 3419384"/>
                  <a:gd name="connsiteY22" fmla="*/ 1997940 h 2222603"/>
                  <a:gd name="connsiteX23" fmla="*/ 2052678 w 3419384"/>
                  <a:gd name="connsiteY23" fmla="*/ 2110272 h 2222603"/>
                  <a:gd name="connsiteX24" fmla="*/ 1939420 w 3419384"/>
                  <a:gd name="connsiteY24" fmla="*/ 2110272 h 2222603"/>
                  <a:gd name="connsiteX25" fmla="*/ 1939420 w 3419384"/>
                  <a:gd name="connsiteY25" fmla="*/ 1999843 h 2222603"/>
                  <a:gd name="connsiteX26" fmla="*/ 229133 w 3419384"/>
                  <a:gd name="connsiteY26" fmla="*/ 1999843 h 2222603"/>
                  <a:gd name="connsiteX27" fmla="*/ 229133 w 3419384"/>
                  <a:gd name="connsiteY27" fmla="*/ 2222604 h 2222603"/>
                  <a:gd name="connsiteX28" fmla="*/ 114923 w 3419384"/>
                  <a:gd name="connsiteY28" fmla="*/ 2222604 h 2222603"/>
                  <a:gd name="connsiteX29" fmla="*/ 114923 w 3419384"/>
                  <a:gd name="connsiteY29" fmla="*/ 1996988 h 2222603"/>
                  <a:gd name="connsiteX30" fmla="*/ 58770 w 3419384"/>
                  <a:gd name="connsiteY30" fmla="*/ 1996988 h 2222603"/>
                  <a:gd name="connsiteX31" fmla="*/ 714 w 3419384"/>
                  <a:gd name="connsiteY31" fmla="*/ 1937966 h 2222603"/>
                  <a:gd name="connsiteX32" fmla="*/ 714 w 3419384"/>
                  <a:gd name="connsiteY32" fmla="*/ 1713302 h 2222603"/>
                  <a:gd name="connsiteX33" fmla="*/ 59722 w 3419384"/>
                  <a:gd name="connsiteY33" fmla="*/ 1655232 h 2222603"/>
                  <a:gd name="connsiteX34" fmla="*/ 173932 w 3419384"/>
                  <a:gd name="connsiteY34" fmla="*/ 1655232 h 2222603"/>
                  <a:gd name="connsiteX35" fmla="*/ 113972 w 3419384"/>
                  <a:gd name="connsiteY35" fmla="*/ 1388681 h 2222603"/>
                  <a:gd name="connsiteX36" fmla="*/ 113972 w 3419384"/>
                  <a:gd name="connsiteY36" fmla="*/ 982191 h 2222603"/>
                  <a:gd name="connsiteX37" fmla="*/ 409965 w 3419384"/>
                  <a:gd name="connsiteY37" fmla="*/ 685178 h 2222603"/>
                  <a:gd name="connsiteX38" fmla="*/ 486104 w 3419384"/>
                  <a:gd name="connsiteY38" fmla="*/ 684226 h 2222603"/>
                  <a:gd name="connsiteX39" fmla="*/ 3300417 w 3419384"/>
                  <a:gd name="connsiteY39" fmla="*/ 1879896 h 2222603"/>
                  <a:gd name="connsiteX40" fmla="*/ 3300417 w 3419384"/>
                  <a:gd name="connsiteY40" fmla="*/ 116854 h 2222603"/>
                  <a:gd name="connsiteX41" fmla="*/ 1709098 w 3419384"/>
                  <a:gd name="connsiteY41" fmla="*/ 116854 h 2222603"/>
                  <a:gd name="connsiteX42" fmla="*/ 1709098 w 3419384"/>
                  <a:gd name="connsiteY42" fmla="*/ 994567 h 2222603"/>
                  <a:gd name="connsiteX43" fmla="*/ 1717663 w 3419384"/>
                  <a:gd name="connsiteY43" fmla="*/ 990759 h 2222603"/>
                  <a:gd name="connsiteX44" fmla="*/ 1927048 w 3419384"/>
                  <a:gd name="connsiteY44" fmla="*/ 782278 h 2222603"/>
                  <a:gd name="connsiteX45" fmla="*/ 2057437 w 3419384"/>
                  <a:gd name="connsiteY45" fmla="*/ 774663 h 2222603"/>
                  <a:gd name="connsiteX46" fmla="*/ 2347719 w 3419384"/>
                  <a:gd name="connsiteY46" fmla="*/ 479553 h 2222603"/>
                  <a:gd name="connsiteX47" fmla="*/ 2433376 w 3419384"/>
                  <a:gd name="connsiteY47" fmla="*/ 556662 h 2222603"/>
                  <a:gd name="connsiteX48" fmla="*/ 2129769 w 3419384"/>
                  <a:gd name="connsiteY48" fmla="*/ 857484 h 2222603"/>
                  <a:gd name="connsiteX49" fmla="*/ 2245882 w 3419384"/>
                  <a:gd name="connsiteY49" fmla="*/ 970768 h 2222603"/>
                  <a:gd name="connsiteX50" fmla="*/ 2245882 w 3419384"/>
                  <a:gd name="connsiteY50" fmla="*/ 1079292 h 2222603"/>
                  <a:gd name="connsiteX51" fmla="*/ 1955600 w 3419384"/>
                  <a:gd name="connsiteY51" fmla="*/ 1368690 h 2222603"/>
                  <a:gd name="connsiteX52" fmla="*/ 1709098 w 3419384"/>
                  <a:gd name="connsiteY52" fmla="*/ 1551467 h 2222603"/>
                  <a:gd name="connsiteX53" fmla="*/ 1709098 w 3419384"/>
                  <a:gd name="connsiteY53" fmla="*/ 1652376 h 2222603"/>
                  <a:gd name="connsiteX54" fmla="*/ 2088844 w 3419384"/>
                  <a:gd name="connsiteY54" fmla="*/ 1652376 h 2222603"/>
                  <a:gd name="connsiteX55" fmla="*/ 2162129 w 3419384"/>
                  <a:gd name="connsiteY55" fmla="*/ 1725677 h 2222603"/>
                  <a:gd name="connsiteX56" fmla="*/ 2162129 w 3419384"/>
                  <a:gd name="connsiteY56" fmla="*/ 1878944 h 2222603"/>
                  <a:gd name="connsiteX57" fmla="*/ 3300417 w 3419384"/>
                  <a:gd name="connsiteY57" fmla="*/ 1879896 h 2222603"/>
                  <a:gd name="connsiteX58" fmla="*/ 1988911 w 3419384"/>
                  <a:gd name="connsiteY58" fmla="*/ 882235 h 2222603"/>
                  <a:gd name="connsiteX59" fmla="*/ 1704339 w 3419384"/>
                  <a:gd name="connsiteY59" fmla="*/ 1167825 h 2222603"/>
                  <a:gd name="connsiteX60" fmla="*/ 1594888 w 3419384"/>
                  <a:gd name="connsiteY60" fmla="*/ 1164017 h 2222603"/>
                  <a:gd name="connsiteX61" fmla="*/ 1339820 w 3419384"/>
                  <a:gd name="connsiteY61" fmla="*/ 866051 h 2222603"/>
                  <a:gd name="connsiteX62" fmla="*/ 1193251 w 3419384"/>
                  <a:gd name="connsiteY62" fmla="*/ 798462 h 2222603"/>
                  <a:gd name="connsiteX63" fmla="*/ 976253 w 3419384"/>
                  <a:gd name="connsiteY63" fmla="*/ 798462 h 2222603"/>
                  <a:gd name="connsiteX64" fmla="*/ 929618 w 3419384"/>
                  <a:gd name="connsiteY64" fmla="*/ 826069 h 2222603"/>
                  <a:gd name="connsiteX65" fmla="*/ 795422 w 3419384"/>
                  <a:gd name="connsiteY65" fmla="*/ 1097379 h 2222603"/>
                  <a:gd name="connsiteX66" fmla="*/ 736413 w 3419384"/>
                  <a:gd name="connsiteY66" fmla="*/ 1141170 h 2222603"/>
                  <a:gd name="connsiteX67" fmla="*/ 681212 w 3419384"/>
                  <a:gd name="connsiteY67" fmla="*/ 1098331 h 2222603"/>
                  <a:gd name="connsiteX68" fmla="*/ 587941 w 3419384"/>
                  <a:gd name="connsiteY68" fmla="*/ 910794 h 2222603"/>
                  <a:gd name="connsiteX69" fmla="*/ 529885 w 3419384"/>
                  <a:gd name="connsiteY69" fmla="*/ 807982 h 2222603"/>
                  <a:gd name="connsiteX70" fmla="*/ 409013 w 3419384"/>
                  <a:gd name="connsiteY70" fmla="*/ 800366 h 2222603"/>
                  <a:gd name="connsiteX71" fmla="*/ 226278 w 3419384"/>
                  <a:gd name="connsiteY71" fmla="*/ 982191 h 2222603"/>
                  <a:gd name="connsiteX72" fmla="*/ 226278 w 3419384"/>
                  <a:gd name="connsiteY72" fmla="*/ 1470550 h 2222603"/>
                  <a:gd name="connsiteX73" fmla="*/ 410916 w 3419384"/>
                  <a:gd name="connsiteY73" fmla="*/ 1655232 h 2222603"/>
                  <a:gd name="connsiteX74" fmla="*/ 820167 w 3419384"/>
                  <a:gd name="connsiteY74" fmla="*/ 1655232 h 2222603"/>
                  <a:gd name="connsiteX75" fmla="*/ 853478 w 3419384"/>
                  <a:gd name="connsiteY75" fmla="*/ 1653328 h 2222603"/>
                  <a:gd name="connsiteX76" fmla="*/ 853478 w 3419384"/>
                  <a:gd name="connsiteY76" fmla="*/ 1501965 h 2222603"/>
                  <a:gd name="connsiteX77" fmla="*/ 778290 w 3419384"/>
                  <a:gd name="connsiteY77" fmla="*/ 1427712 h 2222603"/>
                  <a:gd name="connsiteX78" fmla="*/ 522271 w 3419384"/>
                  <a:gd name="connsiteY78" fmla="*/ 1427712 h 2222603"/>
                  <a:gd name="connsiteX79" fmla="*/ 456600 w 3419384"/>
                  <a:gd name="connsiteY79" fmla="*/ 1381065 h 2222603"/>
                  <a:gd name="connsiteX80" fmla="*/ 455648 w 3419384"/>
                  <a:gd name="connsiteY80" fmla="*/ 1201144 h 2222603"/>
                  <a:gd name="connsiteX81" fmla="*/ 568906 w 3419384"/>
                  <a:gd name="connsiteY81" fmla="*/ 1201144 h 2222603"/>
                  <a:gd name="connsiteX82" fmla="*/ 568906 w 3419384"/>
                  <a:gd name="connsiteY82" fmla="*/ 1313476 h 2222603"/>
                  <a:gd name="connsiteX83" fmla="*/ 782097 w 3419384"/>
                  <a:gd name="connsiteY83" fmla="*/ 1313476 h 2222603"/>
                  <a:gd name="connsiteX84" fmla="*/ 967688 w 3419384"/>
                  <a:gd name="connsiteY84" fmla="*/ 1497205 h 2222603"/>
                  <a:gd name="connsiteX85" fmla="*/ 967688 w 3419384"/>
                  <a:gd name="connsiteY85" fmla="*/ 1653328 h 2222603"/>
                  <a:gd name="connsiteX86" fmla="*/ 1252260 w 3419384"/>
                  <a:gd name="connsiteY86" fmla="*/ 1653328 h 2222603"/>
                  <a:gd name="connsiteX87" fmla="*/ 1252260 w 3419384"/>
                  <a:gd name="connsiteY87" fmla="*/ 1269685 h 2222603"/>
                  <a:gd name="connsiteX88" fmla="*/ 1289378 w 3419384"/>
                  <a:gd name="connsiteY88" fmla="*/ 1203048 h 2222603"/>
                  <a:gd name="connsiteX89" fmla="*/ 1358855 w 3419384"/>
                  <a:gd name="connsiteY89" fmla="*/ 1223991 h 2222603"/>
                  <a:gd name="connsiteX90" fmla="*/ 1519700 w 3419384"/>
                  <a:gd name="connsiteY90" fmla="*/ 1384873 h 2222603"/>
                  <a:gd name="connsiteX91" fmla="*/ 1783334 w 3419384"/>
                  <a:gd name="connsiteY91" fmla="*/ 1383921 h 2222603"/>
                  <a:gd name="connsiteX92" fmla="*/ 2118349 w 3419384"/>
                  <a:gd name="connsiteY92" fmla="*/ 1048829 h 2222603"/>
                  <a:gd name="connsiteX93" fmla="*/ 2136432 w 3419384"/>
                  <a:gd name="connsiteY93" fmla="*/ 1028838 h 2222603"/>
                  <a:gd name="connsiteX94" fmla="*/ 1988911 w 3419384"/>
                  <a:gd name="connsiteY94" fmla="*/ 882235 h 2222603"/>
                  <a:gd name="connsiteX95" fmla="*/ 1041924 w 3419384"/>
                  <a:gd name="connsiteY95" fmla="*/ 396732 h 2222603"/>
                  <a:gd name="connsiteX96" fmla="*/ 1031455 w 3419384"/>
                  <a:gd name="connsiteY96" fmla="*/ 373885 h 2222603"/>
                  <a:gd name="connsiteX97" fmla="*/ 962929 w 3419384"/>
                  <a:gd name="connsiteY97" fmla="*/ 164452 h 2222603"/>
                  <a:gd name="connsiteX98" fmla="*/ 905824 w 3419384"/>
                  <a:gd name="connsiteY98" fmla="*/ 113998 h 2222603"/>
                  <a:gd name="connsiteX99" fmla="*/ 567954 w 3419384"/>
                  <a:gd name="connsiteY99" fmla="*/ 113998 h 2222603"/>
                  <a:gd name="connsiteX100" fmla="*/ 509898 w 3419384"/>
                  <a:gd name="connsiteY100" fmla="*/ 172068 h 2222603"/>
                  <a:gd name="connsiteX101" fmla="*/ 510850 w 3419384"/>
                  <a:gd name="connsiteY101" fmla="*/ 460514 h 2222603"/>
                  <a:gd name="connsiteX102" fmla="*/ 735462 w 3419384"/>
                  <a:gd name="connsiteY102" fmla="*/ 683274 h 2222603"/>
                  <a:gd name="connsiteX103" fmla="*/ 964832 w 3419384"/>
                  <a:gd name="connsiteY103" fmla="*/ 473841 h 2222603"/>
                  <a:gd name="connsiteX104" fmla="*/ 1041924 w 3419384"/>
                  <a:gd name="connsiteY104" fmla="*/ 396732 h 2222603"/>
                  <a:gd name="connsiteX105" fmla="*/ 112068 w 3419384"/>
                  <a:gd name="connsiteY105" fmla="*/ 1879896 h 2222603"/>
                  <a:gd name="connsiteX106" fmla="*/ 2046016 w 3419384"/>
                  <a:gd name="connsiteY106" fmla="*/ 1879896 h 2222603"/>
                  <a:gd name="connsiteX107" fmla="*/ 2046016 w 3419384"/>
                  <a:gd name="connsiteY107" fmla="*/ 1769468 h 2222603"/>
                  <a:gd name="connsiteX108" fmla="*/ 112068 w 3419384"/>
                  <a:gd name="connsiteY108" fmla="*/ 1769468 h 2222603"/>
                  <a:gd name="connsiteX109" fmla="*/ 112068 w 3419384"/>
                  <a:gd name="connsiteY109" fmla="*/ 1879896 h 2222603"/>
                  <a:gd name="connsiteX110" fmla="*/ 1592033 w 3419384"/>
                  <a:gd name="connsiteY110" fmla="*/ 1551467 h 2222603"/>
                  <a:gd name="connsiteX111" fmla="*/ 1367421 w 3419384"/>
                  <a:gd name="connsiteY111" fmla="*/ 1395345 h 2222603"/>
                  <a:gd name="connsiteX112" fmla="*/ 1367421 w 3419384"/>
                  <a:gd name="connsiteY112" fmla="*/ 1651424 h 2222603"/>
                  <a:gd name="connsiteX113" fmla="*/ 1592033 w 3419384"/>
                  <a:gd name="connsiteY113" fmla="*/ 1651424 h 2222603"/>
                  <a:gd name="connsiteX114" fmla="*/ 1592033 w 3419384"/>
                  <a:gd name="connsiteY114" fmla="*/ 1551467 h 2222603"/>
                  <a:gd name="connsiteX115" fmla="*/ 815408 w 3419384"/>
                  <a:gd name="connsiteY115" fmla="*/ 801318 h 2222603"/>
                  <a:gd name="connsiteX116" fmla="*/ 660274 w 3419384"/>
                  <a:gd name="connsiteY116" fmla="*/ 801318 h 2222603"/>
                  <a:gd name="connsiteX117" fmla="*/ 737365 w 3419384"/>
                  <a:gd name="connsiteY117" fmla="*/ 955536 h 2222603"/>
                  <a:gd name="connsiteX118" fmla="*/ 815408 w 3419384"/>
                  <a:gd name="connsiteY118" fmla="*/ 801318 h 222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419384" h="2222603">
                    <a:moveTo>
                      <a:pt x="486104" y="684226"/>
                    </a:moveTo>
                    <a:cubicBezTo>
                      <a:pt x="436613" y="622348"/>
                      <a:pt x="403302" y="560470"/>
                      <a:pt x="399495" y="489073"/>
                    </a:cubicBezTo>
                    <a:cubicBezTo>
                      <a:pt x="394737" y="374837"/>
                      <a:pt x="392833" y="260601"/>
                      <a:pt x="398544" y="147317"/>
                    </a:cubicBezTo>
                    <a:cubicBezTo>
                      <a:pt x="403302" y="63544"/>
                      <a:pt x="478490" y="714"/>
                      <a:pt x="564147" y="714"/>
                    </a:cubicBezTo>
                    <a:cubicBezTo>
                      <a:pt x="679309" y="-238"/>
                      <a:pt x="794470" y="-238"/>
                      <a:pt x="909631" y="714"/>
                    </a:cubicBezTo>
                    <a:cubicBezTo>
                      <a:pt x="1004806" y="1666"/>
                      <a:pt x="1076187" y="74967"/>
                      <a:pt x="1080945" y="171116"/>
                    </a:cubicBezTo>
                    <a:cubicBezTo>
                      <a:pt x="1082849" y="200627"/>
                      <a:pt x="1090463" y="231090"/>
                      <a:pt x="1102836" y="258697"/>
                    </a:cubicBezTo>
                    <a:cubicBezTo>
                      <a:pt x="1126629" y="312959"/>
                      <a:pt x="1155182" y="365317"/>
                      <a:pt x="1181831" y="418627"/>
                    </a:cubicBezTo>
                    <a:cubicBezTo>
                      <a:pt x="1209431" y="475745"/>
                      <a:pt x="1185637" y="513824"/>
                      <a:pt x="1121870" y="514776"/>
                    </a:cubicBezTo>
                    <a:cubicBezTo>
                      <a:pt x="1107594" y="514776"/>
                      <a:pt x="1093318" y="514776"/>
                      <a:pt x="1085704" y="514776"/>
                    </a:cubicBezTo>
                    <a:cubicBezTo>
                      <a:pt x="1057152" y="573798"/>
                      <a:pt x="1031455" y="628060"/>
                      <a:pt x="1003854" y="686130"/>
                    </a:cubicBezTo>
                    <a:cubicBezTo>
                      <a:pt x="1050490" y="686130"/>
                      <a:pt x="1100932" y="688986"/>
                      <a:pt x="1151375" y="685178"/>
                    </a:cubicBezTo>
                    <a:cubicBezTo>
                      <a:pt x="1279860" y="675658"/>
                      <a:pt x="1379794" y="723256"/>
                      <a:pt x="1456885" y="826069"/>
                    </a:cubicBezTo>
                    <a:cubicBezTo>
                      <a:pt x="1497810" y="879379"/>
                      <a:pt x="1544446" y="928881"/>
                      <a:pt x="1594888" y="987903"/>
                    </a:cubicBezTo>
                    <a:cubicBezTo>
                      <a:pt x="1594888" y="966960"/>
                      <a:pt x="1594888" y="954584"/>
                      <a:pt x="1594888" y="942209"/>
                    </a:cubicBezTo>
                    <a:cubicBezTo>
                      <a:pt x="1594888" y="655667"/>
                      <a:pt x="1594888" y="370077"/>
                      <a:pt x="1594888" y="83535"/>
                    </a:cubicBezTo>
                    <a:cubicBezTo>
                      <a:pt x="1594888" y="18801"/>
                      <a:pt x="1611068" y="2618"/>
                      <a:pt x="1677690" y="2618"/>
                    </a:cubicBezTo>
                    <a:cubicBezTo>
                      <a:pt x="2230654" y="2618"/>
                      <a:pt x="2784571" y="2618"/>
                      <a:pt x="3337535" y="2618"/>
                    </a:cubicBezTo>
                    <a:cubicBezTo>
                      <a:pt x="3403205" y="2618"/>
                      <a:pt x="3419385" y="18801"/>
                      <a:pt x="3419385" y="84487"/>
                    </a:cubicBezTo>
                    <a:cubicBezTo>
                      <a:pt x="3419385" y="694697"/>
                      <a:pt x="3419385" y="1305860"/>
                      <a:pt x="3419385" y="1916070"/>
                    </a:cubicBezTo>
                    <a:cubicBezTo>
                      <a:pt x="3419385" y="1981756"/>
                      <a:pt x="3403205" y="1997940"/>
                      <a:pt x="3337535" y="1997940"/>
                    </a:cubicBezTo>
                    <a:cubicBezTo>
                      <a:pt x="2924477" y="1997940"/>
                      <a:pt x="2511419" y="1997940"/>
                      <a:pt x="2098362" y="1997940"/>
                    </a:cubicBezTo>
                    <a:cubicBezTo>
                      <a:pt x="2084086" y="1997940"/>
                      <a:pt x="2069809" y="1997940"/>
                      <a:pt x="2052678" y="1997940"/>
                    </a:cubicBezTo>
                    <a:cubicBezTo>
                      <a:pt x="2052678" y="2036018"/>
                      <a:pt x="2052678" y="2072193"/>
                      <a:pt x="2052678" y="2110272"/>
                    </a:cubicBezTo>
                    <a:cubicBezTo>
                      <a:pt x="2013656" y="2110272"/>
                      <a:pt x="1978442" y="2110272"/>
                      <a:pt x="1939420" y="2110272"/>
                    </a:cubicBezTo>
                    <a:cubicBezTo>
                      <a:pt x="1939420" y="2074097"/>
                      <a:pt x="1939420" y="2038874"/>
                      <a:pt x="1939420" y="1999843"/>
                    </a:cubicBezTo>
                    <a:cubicBezTo>
                      <a:pt x="1367421" y="1999843"/>
                      <a:pt x="799229" y="1999843"/>
                      <a:pt x="229133" y="1999843"/>
                    </a:cubicBezTo>
                    <a:cubicBezTo>
                      <a:pt x="229133" y="2074097"/>
                      <a:pt x="229133" y="2147398"/>
                      <a:pt x="229133" y="2222604"/>
                    </a:cubicBezTo>
                    <a:cubicBezTo>
                      <a:pt x="190111" y="2222604"/>
                      <a:pt x="154897" y="2222604"/>
                      <a:pt x="114923" y="2222604"/>
                    </a:cubicBezTo>
                    <a:cubicBezTo>
                      <a:pt x="114923" y="2149302"/>
                      <a:pt x="114923" y="2075049"/>
                      <a:pt x="114923" y="1996988"/>
                    </a:cubicBezTo>
                    <a:cubicBezTo>
                      <a:pt x="93985" y="1996988"/>
                      <a:pt x="75902" y="1997940"/>
                      <a:pt x="58770" y="1996988"/>
                    </a:cubicBezTo>
                    <a:cubicBezTo>
                      <a:pt x="23556" y="1995084"/>
                      <a:pt x="1666" y="1974140"/>
                      <a:pt x="714" y="1937966"/>
                    </a:cubicBezTo>
                    <a:cubicBezTo>
                      <a:pt x="-238" y="1862760"/>
                      <a:pt x="-238" y="1788507"/>
                      <a:pt x="714" y="1713302"/>
                    </a:cubicBezTo>
                    <a:cubicBezTo>
                      <a:pt x="1666" y="1677127"/>
                      <a:pt x="23556" y="1656184"/>
                      <a:pt x="59722" y="1655232"/>
                    </a:cubicBezTo>
                    <a:cubicBezTo>
                      <a:pt x="94937" y="1654280"/>
                      <a:pt x="130151" y="1655232"/>
                      <a:pt x="173932" y="1655232"/>
                    </a:cubicBezTo>
                    <a:cubicBezTo>
                      <a:pt x="107309" y="1572410"/>
                      <a:pt x="113972" y="1480070"/>
                      <a:pt x="113972" y="1388681"/>
                    </a:cubicBezTo>
                    <a:cubicBezTo>
                      <a:pt x="114923" y="1253502"/>
                      <a:pt x="113972" y="1118323"/>
                      <a:pt x="113972" y="982191"/>
                    </a:cubicBezTo>
                    <a:cubicBezTo>
                      <a:pt x="113972" y="807982"/>
                      <a:pt x="236747" y="686130"/>
                      <a:pt x="409965" y="685178"/>
                    </a:cubicBezTo>
                    <a:cubicBezTo>
                      <a:pt x="429951" y="684226"/>
                      <a:pt x="453745" y="684226"/>
                      <a:pt x="486104" y="684226"/>
                    </a:cubicBezTo>
                    <a:close/>
                    <a:moveTo>
                      <a:pt x="3300417" y="1879896"/>
                    </a:moveTo>
                    <a:cubicBezTo>
                      <a:pt x="3300417" y="1289677"/>
                      <a:pt x="3300417" y="702313"/>
                      <a:pt x="3300417" y="116854"/>
                    </a:cubicBezTo>
                    <a:cubicBezTo>
                      <a:pt x="2768391" y="116854"/>
                      <a:pt x="2238268" y="116854"/>
                      <a:pt x="1709098" y="116854"/>
                    </a:cubicBezTo>
                    <a:cubicBezTo>
                      <a:pt x="1709098" y="411011"/>
                      <a:pt x="1709098" y="702313"/>
                      <a:pt x="1709098" y="994567"/>
                    </a:cubicBezTo>
                    <a:cubicBezTo>
                      <a:pt x="1713857" y="992663"/>
                      <a:pt x="1715760" y="992663"/>
                      <a:pt x="1717663" y="990759"/>
                    </a:cubicBezTo>
                    <a:cubicBezTo>
                      <a:pt x="1787141" y="921266"/>
                      <a:pt x="1857570" y="851772"/>
                      <a:pt x="1927048" y="782278"/>
                    </a:cubicBezTo>
                    <a:cubicBezTo>
                      <a:pt x="1979394" y="729920"/>
                      <a:pt x="1989863" y="728968"/>
                      <a:pt x="2057437" y="774663"/>
                    </a:cubicBezTo>
                    <a:cubicBezTo>
                      <a:pt x="2154515" y="675658"/>
                      <a:pt x="2253496" y="575702"/>
                      <a:pt x="2347719" y="479553"/>
                    </a:cubicBezTo>
                    <a:cubicBezTo>
                      <a:pt x="2375320" y="504304"/>
                      <a:pt x="2401969" y="528103"/>
                      <a:pt x="2433376" y="556662"/>
                    </a:cubicBezTo>
                    <a:cubicBezTo>
                      <a:pt x="2331540" y="657571"/>
                      <a:pt x="2231606" y="756575"/>
                      <a:pt x="2129769" y="857484"/>
                    </a:cubicBezTo>
                    <a:cubicBezTo>
                      <a:pt x="2169743" y="896514"/>
                      <a:pt x="2207813" y="933641"/>
                      <a:pt x="2245882" y="970768"/>
                    </a:cubicBezTo>
                    <a:cubicBezTo>
                      <a:pt x="2287759" y="1012654"/>
                      <a:pt x="2287759" y="1037405"/>
                      <a:pt x="2245882" y="1079292"/>
                    </a:cubicBezTo>
                    <a:cubicBezTo>
                      <a:pt x="2149756" y="1176393"/>
                      <a:pt x="2053630" y="1273493"/>
                      <a:pt x="1955600" y="1368690"/>
                    </a:cubicBezTo>
                    <a:cubicBezTo>
                      <a:pt x="1880412" y="1441991"/>
                      <a:pt x="1818549" y="1531476"/>
                      <a:pt x="1709098" y="1551467"/>
                    </a:cubicBezTo>
                    <a:cubicBezTo>
                      <a:pt x="1709098" y="1588594"/>
                      <a:pt x="1709098" y="1620009"/>
                      <a:pt x="1709098" y="1652376"/>
                    </a:cubicBezTo>
                    <a:cubicBezTo>
                      <a:pt x="1837583" y="1652376"/>
                      <a:pt x="1963214" y="1652376"/>
                      <a:pt x="2088844" y="1652376"/>
                    </a:cubicBezTo>
                    <a:cubicBezTo>
                      <a:pt x="2142142" y="1652376"/>
                      <a:pt x="2161177" y="1671415"/>
                      <a:pt x="2162129" y="1725677"/>
                    </a:cubicBezTo>
                    <a:cubicBezTo>
                      <a:pt x="2162129" y="1776131"/>
                      <a:pt x="2162129" y="1826586"/>
                      <a:pt x="2162129" y="1878944"/>
                    </a:cubicBezTo>
                    <a:cubicBezTo>
                      <a:pt x="2543779" y="1879896"/>
                      <a:pt x="2920670" y="1879896"/>
                      <a:pt x="3300417" y="1879896"/>
                    </a:cubicBezTo>
                    <a:close/>
                    <a:moveTo>
                      <a:pt x="1988911" y="882235"/>
                    </a:moveTo>
                    <a:cubicBezTo>
                      <a:pt x="1893736" y="977431"/>
                      <a:pt x="1798562" y="1072628"/>
                      <a:pt x="1704339" y="1167825"/>
                    </a:cubicBezTo>
                    <a:cubicBezTo>
                      <a:pt x="1661510" y="1209711"/>
                      <a:pt x="1632958" y="1208759"/>
                      <a:pt x="1594888" y="1164017"/>
                    </a:cubicBezTo>
                    <a:cubicBezTo>
                      <a:pt x="1510183" y="1065013"/>
                      <a:pt x="1424526" y="966008"/>
                      <a:pt x="1339820" y="866051"/>
                    </a:cubicBezTo>
                    <a:cubicBezTo>
                      <a:pt x="1300799" y="820357"/>
                      <a:pt x="1253211" y="797510"/>
                      <a:pt x="1193251" y="798462"/>
                    </a:cubicBezTo>
                    <a:cubicBezTo>
                      <a:pt x="1120919" y="799414"/>
                      <a:pt x="1048586" y="799414"/>
                      <a:pt x="976253" y="798462"/>
                    </a:cubicBezTo>
                    <a:cubicBezTo>
                      <a:pt x="952460" y="797510"/>
                      <a:pt x="940087" y="805126"/>
                      <a:pt x="929618" y="826069"/>
                    </a:cubicBezTo>
                    <a:cubicBezTo>
                      <a:pt x="885837" y="916506"/>
                      <a:pt x="840154" y="1006942"/>
                      <a:pt x="795422" y="1097379"/>
                    </a:cubicBezTo>
                    <a:cubicBezTo>
                      <a:pt x="783049" y="1122131"/>
                      <a:pt x="766869" y="1141170"/>
                      <a:pt x="736413" y="1141170"/>
                    </a:cubicBezTo>
                    <a:cubicBezTo>
                      <a:pt x="707861" y="1140218"/>
                      <a:pt x="692633" y="1122131"/>
                      <a:pt x="681212" y="1098331"/>
                    </a:cubicBezTo>
                    <a:cubicBezTo>
                      <a:pt x="650756" y="1035501"/>
                      <a:pt x="619349" y="972672"/>
                      <a:pt x="587941" y="910794"/>
                    </a:cubicBezTo>
                    <a:cubicBezTo>
                      <a:pt x="569858" y="874619"/>
                      <a:pt x="559389" y="825117"/>
                      <a:pt x="529885" y="807982"/>
                    </a:cubicBezTo>
                    <a:cubicBezTo>
                      <a:pt x="499429" y="788942"/>
                      <a:pt x="449938" y="800366"/>
                      <a:pt x="409013" y="800366"/>
                    </a:cubicBezTo>
                    <a:cubicBezTo>
                      <a:pt x="297659" y="800366"/>
                      <a:pt x="226278" y="871763"/>
                      <a:pt x="226278" y="982191"/>
                    </a:cubicBezTo>
                    <a:cubicBezTo>
                      <a:pt x="226278" y="1144978"/>
                      <a:pt x="226278" y="1307764"/>
                      <a:pt x="226278" y="1470550"/>
                    </a:cubicBezTo>
                    <a:cubicBezTo>
                      <a:pt x="226278" y="1583834"/>
                      <a:pt x="297659" y="1655232"/>
                      <a:pt x="410916" y="1655232"/>
                    </a:cubicBezTo>
                    <a:cubicBezTo>
                      <a:pt x="547016" y="1655232"/>
                      <a:pt x="684067" y="1655232"/>
                      <a:pt x="820167" y="1655232"/>
                    </a:cubicBezTo>
                    <a:cubicBezTo>
                      <a:pt x="830636" y="1655232"/>
                      <a:pt x="841105" y="1654280"/>
                      <a:pt x="853478" y="1653328"/>
                    </a:cubicBezTo>
                    <a:cubicBezTo>
                      <a:pt x="853478" y="1600969"/>
                      <a:pt x="853478" y="1551467"/>
                      <a:pt x="853478" y="1501965"/>
                    </a:cubicBezTo>
                    <a:cubicBezTo>
                      <a:pt x="853478" y="1445799"/>
                      <a:pt x="834443" y="1427712"/>
                      <a:pt x="778290" y="1427712"/>
                    </a:cubicBezTo>
                    <a:cubicBezTo>
                      <a:pt x="692633" y="1427712"/>
                      <a:pt x="606976" y="1427712"/>
                      <a:pt x="522271" y="1427712"/>
                    </a:cubicBezTo>
                    <a:cubicBezTo>
                      <a:pt x="488008" y="1427712"/>
                      <a:pt x="459455" y="1415336"/>
                      <a:pt x="456600" y="1381065"/>
                    </a:cubicBezTo>
                    <a:cubicBezTo>
                      <a:pt x="451841" y="1321091"/>
                      <a:pt x="455648" y="1261118"/>
                      <a:pt x="455648" y="1201144"/>
                    </a:cubicBezTo>
                    <a:cubicBezTo>
                      <a:pt x="494670" y="1201144"/>
                      <a:pt x="529885" y="1201144"/>
                      <a:pt x="568906" y="1201144"/>
                    </a:cubicBezTo>
                    <a:cubicBezTo>
                      <a:pt x="568906" y="1239222"/>
                      <a:pt x="568906" y="1275397"/>
                      <a:pt x="568906" y="1313476"/>
                    </a:cubicBezTo>
                    <a:cubicBezTo>
                      <a:pt x="642191" y="1313476"/>
                      <a:pt x="712620" y="1313476"/>
                      <a:pt x="782097" y="1313476"/>
                    </a:cubicBezTo>
                    <a:cubicBezTo>
                      <a:pt x="896307" y="1313476"/>
                      <a:pt x="966736" y="1383921"/>
                      <a:pt x="967688" y="1497205"/>
                    </a:cubicBezTo>
                    <a:cubicBezTo>
                      <a:pt x="967688" y="1548611"/>
                      <a:pt x="967688" y="1600969"/>
                      <a:pt x="967688" y="1653328"/>
                    </a:cubicBezTo>
                    <a:cubicBezTo>
                      <a:pt x="1064766" y="1653328"/>
                      <a:pt x="1158037" y="1653328"/>
                      <a:pt x="1252260" y="1653328"/>
                    </a:cubicBezTo>
                    <a:cubicBezTo>
                      <a:pt x="1252260" y="1523860"/>
                      <a:pt x="1252260" y="1397249"/>
                      <a:pt x="1252260" y="1269685"/>
                    </a:cubicBezTo>
                    <a:cubicBezTo>
                      <a:pt x="1252260" y="1240174"/>
                      <a:pt x="1259874" y="1215423"/>
                      <a:pt x="1289378" y="1203048"/>
                    </a:cubicBezTo>
                    <a:cubicBezTo>
                      <a:pt x="1317930" y="1191624"/>
                      <a:pt x="1339820" y="1204952"/>
                      <a:pt x="1358855" y="1223991"/>
                    </a:cubicBezTo>
                    <a:cubicBezTo>
                      <a:pt x="1412153" y="1278253"/>
                      <a:pt x="1466402" y="1331563"/>
                      <a:pt x="1519700" y="1384873"/>
                    </a:cubicBezTo>
                    <a:cubicBezTo>
                      <a:pt x="1602502" y="1466742"/>
                      <a:pt x="1700532" y="1466742"/>
                      <a:pt x="1783334" y="1383921"/>
                    </a:cubicBezTo>
                    <a:cubicBezTo>
                      <a:pt x="1895640" y="1272541"/>
                      <a:pt x="2006994" y="1160209"/>
                      <a:pt x="2118349" y="1048829"/>
                    </a:cubicBezTo>
                    <a:cubicBezTo>
                      <a:pt x="2125962" y="1041213"/>
                      <a:pt x="2131673" y="1033598"/>
                      <a:pt x="2136432" y="1028838"/>
                    </a:cubicBezTo>
                    <a:cubicBezTo>
                      <a:pt x="2085037" y="979336"/>
                      <a:pt x="2038402" y="931737"/>
                      <a:pt x="1988911" y="882235"/>
                    </a:cubicBezTo>
                    <a:close/>
                    <a:moveTo>
                      <a:pt x="1041924" y="396732"/>
                    </a:moveTo>
                    <a:cubicBezTo>
                      <a:pt x="1037165" y="387212"/>
                      <a:pt x="1034310" y="380549"/>
                      <a:pt x="1031455" y="373885"/>
                    </a:cubicBezTo>
                    <a:cubicBezTo>
                      <a:pt x="1000999" y="307247"/>
                      <a:pt x="955315" y="246321"/>
                      <a:pt x="962929" y="164452"/>
                    </a:cubicBezTo>
                    <a:cubicBezTo>
                      <a:pt x="965784" y="133037"/>
                      <a:pt x="938183" y="113998"/>
                      <a:pt x="905824" y="113998"/>
                    </a:cubicBezTo>
                    <a:cubicBezTo>
                      <a:pt x="793518" y="113046"/>
                      <a:pt x="680260" y="113046"/>
                      <a:pt x="567954" y="113998"/>
                    </a:cubicBezTo>
                    <a:cubicBezTo>
                      <a:pt x="532740" y="113998"/>
                      <a:pt x="509898" y="136845"/>
                      <a:pt x="509898" y="172068"/>
                    </a:cubicBezTo>
                    <a:cubicBezTo>
                      <a:pt x="508946" y="268217"/>
                      <a:pt x="507043" y="364365"/>
                      <a:pt x="510850" y="460514"/>
                    </a:cubicBezTo>
                    <a:cubicBezTo>
                      <a:pt x="515608" y="584269"/>
                      <a:pt x="618397" y="682322"/>
                      <a:pt x="735462" y="683274"/>
                    </a:cubicBezTo>
                    <a:cubicBezTo>
                      <a:pt x="854430" y="684226"/>
                      <a:pt x="954363" y="592837"/>
                      <a:pt x="964832" y="473841"/>
                    </a:cubicBezTo>
                    <a:cubicBezTo>
                      <a:pt x="970543" y="414819"/>
                      <a:pt x="980060" y="404348"/>
                      <a:pt x="1041924" y="396732"/>
                    </a:cubicBezTo>
                    <a:close/>
                    <a:moveTo>
                      <a:pt x="112068" y="1879896"/>
                    </a:moveTo>
                    <a:cubicBezTo>
                      <a:pt x="758304" y="1879896"/>
                      <a:pt x="1402636" y="1879896"/>
                      <a:pt x="2046016" y="1879896"/>
                    </a:cubicBezTo>
                    <a:cubicBezTo>
                      <a:pt x="2046016" y="1841817"/>
                      <a:pt x="2046016" y="1805642"/>
                      <a:pt x="2046016" y="1769468"/>
                    </a:cubicBezTo>
                    <a:cubicBezTo>
                      <a:pt x="1399780" y="1769468"/>
                      <a:pt x="757352" y="1769468"/>
                      <a:pt x="112068" y="1769468"/>
                    </a:cubicBezTo>
                    <a:cubicBezTo>
                      <a:pt x="112068" y="1806594"/>
                      <a:pt x="112068" y="1841817"/>
                      <a:pt x="112068" y="1879896"/>
                    </a:cubicBezTo>
                    <a:close/>
                    <a:moveTo>
                      <a:pt x="1592033" y="1551467"/>
                    </a:moveTo>
                    <a:cubicBezTo>
                      <a:pt x="1493051" y="1536236"/>
                      <a:pt x="1435947" y="1461031"/>
                      <a:pt x="1367421" y="1395345"/>
                    </a:cubicBezTo>
                    <a:cubicBezTo>
                      <a:pt x="1367421" y="1484830"/>
                      <a:pt x="1367421" y="1567651"/>
                      <a:pt x="1367421" y="1651424"/>
                    </a:cubicBezTo>
                    <a:cubicBezTo>
                      <a:pt x="1443561" y="1651424"/>
                      <a:pt x="1517797" y="1651424"/>
                      <a:pt x="1592033" y="1651424"/>
                    </a:cubicBezTo>
                    <a:cubicBezTo>
                      <a:pt x="1592033" y="1618105"/>
                      <a:pt x="1592033" y="1587642"/>
                      <a:pt x="1592033" y="1551467"/>
                    </a:cubicBezTo>
                    <a:close/>
                    <a:moveTo>
                      <a:pt x="815408" y="801318"/>
                    </a:moveTo>
                    <a:cubicBezTo>
                      <a:pt x="762111" y="801318"/>
                      <a:pt x="713572" y="801318"/>
                      <a:pt x="660274" y="801318"/>
                    </a:cubicBezTo>
                    <a:cubicBezTo>
                      <a:pt x="685971" y="852724"/>
                      <a:pt x="709764" y="901274"/>
                      <a:pt x="737365" y="955536"/>
                    </a:cubicBezTo>
                    <a:cubicBezTo>
                      <a:pt x="764966" y="900322"/>
                      <a:pt x="788759" y="852724"/>
                      <a:pt x="815408" y="801318"/>
                    </a:cubicBezTo>
                    <a:close/>
                  </a:path>
                </a:pathLst>
              </a:custGeom>
              <a:grpFill/>
              <a:ln w="9514"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88913B7-A655-6C44-52B7-88014961542A}"/>
                  </a:ext>
                </a:extLst>
              </p:cNvPr>
              <p:cNvSpPr/>
              <p:nvPr/>
            </p:nvSpPr>
            <p:spPr>
              <a:xfrm>
                <a:off x="3012029" y="3836916"/>
                <a:ext cx="685886" cy="1198051"/>
              </a:xfrm>
              <a:custGeom>
                <a:avLst/>
                <a:gdLst>
                  <a:gd name="connsiteX0" fmla="*/ 163378 w 685886"/>
                  <a:gd name="connsiteY0" fmla="*/ 506924 h 1198051"/>
                  <a:gd name="connsiteX1" fmla="*/ 145295 w 685886"/>
                  <a:gd name="connsiteY1" fmla="*/ 80443 h 1198051"/>
                  <a:gd name="connsiteX2" fmla="*/ 544076 w 685886"/>
                  <a:gd name="connsiteY2" fmla="*/ 82347 h 1198051"/>
                  <a:gd name="connsiteX3" fmla="*/ 525993 w 685886"/>
                  <a:gd name="connsiteY3" fmla="*/ 505020 h 1198051"/>
                  <a:gd name="connsiteX4" fmla="*/ 543125 w 685886"/>
                  <a:gd name="connsiteY4" fmla="*/ 521203 h 1198051"/>
                  <a:gd name="connsiteX5" fmla="*/ 685887 w 685886"/>
                  <a:gd name="connsiteY5" fmla="*/ 805841 h 1198051"/>
                  <a:gd name="connsiteX6" fmla="*/ 685887 w 685886"/>
                  <a:gd name="connsiteY6" fmla="*/ 1126654 h 1198051"/>
                  <a:gd name="connsiteX7" fmla="*/ 614506 w 685886"/>
                  <a:gd name="connsiteY7" fmla="*/ 1198051 h 1198051"/>
                  <a:gd name="connsiteX8" fmla="*/ 72962 w 685886"/>
                  <a:gd name="connsiteY8" fmla="*/ 1198051 h 1198051"/>
                  <a:gd name="connsiteX9" fmla="*/ 1581 w 685886"/>
                  <a:gd name="connsiteY9" fmla="*/ 1126654 h 1198051"/>
                  <a:gd name="connsiteX10" fmla="*/ 629 w 685886"/>
                  <a:gd name="connsiteY10" fmla="*/ 848680 h 1198051"/>
                  <a:gd name="connsiteX11" fmla="*/ 163378 w 685886"/>
                  <a:gd name="connsiteY11" fmla="*/ 506924 h 1198051"/>
                  <a:gd name="connsiteX12" fmla="*/ 570725 w 685886"/>
                  <a:gd name="connsiteY12" fmla="*/ 1081911 h 1198051"/>
                  <a:gd name="connsiteX13" fmla="*/ 570725 w 685886"/>
                  <a:gd name="connsiteY13" fmla="*/ 798226 h 1198051"/>
                  <a:gd name="connsiteX14" fmla="*/ 363245 w 685886"/>
                  <a:gd name="connsiteY14" fmla="*/ 570705 h 1198051"/>
                  <a:gd name="connsiteX15" fmla="*/ 121501 w 685886"/>
                  <a:gd name="connsiteY15" fmla="*/ 758243 h 1198051"/>
                  <a:gd name="connsiteX16" fmla="*/ 118646 w 685886"/>
                  <a:gd name="connsiteY16" fmla="*/ 1081911 h 1198051"/>
                  <a:gd name="connsiteX17" fmla="*/ 570725 w 685886"/>
                  <a:gd name="connsiteY17" fmla="*/ 1081911 h 1198051"/>
                  <a:gd name="connsiteX18" fmla="*/ 513621 w 685886"/>
                  <a:gd name="connsiteY18" fmla="*/ 286067 h 1198051"/>
                  <a:gd name="connsiteX19" fmla="*/ 345161 w 685886"/>
                  <a:gd name="connsiteY19" fmla="*/ 113761 h 1198051"/>
                  <a:gd name="connsiteX20" fmla="*/ 171944 w 685886"/>
                  <a:gd name="connsiteY20" fmla="*/ 284164 h 1198051"/>
                  <a:gd name="connsiteX21" fmla="*/ 343258 w 685886"/>
                  <a:gd name="connsiteY21" fmla="*/ 456469 h 1198051"/>
                  <a:gd name="connsiteX22" fmla="*/ 513621 w 685886"/>
                  <a:gd name="connsiteY22" fmla="*/ 286067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5886" h="1198051">
                    <a:moveTo>
                      <a:pt x="163378" y="506924"/>
                    </a:moveTo>
                    <a:cubicBezTo>
                      <a:pt x="2533" y="354609"/>
                      <a:pt x="51072" y="169928"/>
                      <a:pt x="145295" y="80443"/>
                    </a:cubicBezTo>
                    <a:cubicBezTo>
                      <a:pt x="256649" y="-27129"/>
                      <a:pt x="432722" y="-27129"/>
                      <a:pt x="544076" y="82347"/>
                    </a:cubicBezTo>
                    <a:cubicBezTo>
                      <a:pt x="640203" y="176591"/>
                      <a:pt x="680176" y="359369"/>
                      <a:pt x="525993" y="505020"/>
                    </a:cubicBezTo>
                    <a:cubicBezTo>
                      <a:pt x="531704" y="510732"/>
                      <a:pt x="537414" y="516443"/>
                      <a:pt x="543125" y="521203"/>
                    </a:cubicBezTo>
                    <a:cubicBezTo>
                      <a:pt x="637348" y="592601"/>
                      <a:pt x="685887" y="686845"/>
                      <a:pt x="685887" y="805841"/>
                    </a:cubicBezTo>
                    <a:cubicBezTo>
                      <a:pt x="685887" y="912462"/>
                      <a:pt x="685887" y="1020034"/>
                      <a:pt x="685887" y="1126654"/>
                    </a:cubicBezTo>
                    <a:cubicBezTo>
                      <a:pt x="685887" y="1178060"/>
                      <a:pt x="665900" y="1198051"/>
                      <a:pt x="614506" y="1198051"/>
                    </a:cubicBezTo>
                    <a:cubicBezTo>
                      <a:pt x="433674" y="1198051"/>
                      <a:pt x="253794" y="1198051"/>
                      <a:pt x="72962" y="1198051"/>
                    </a:cubicBezTo>
                    <a:cubicBezTo>
                      <a:pt x="21568" y="1198051"/>
                      <a:pt x="1581" y="1178060"/>
                      <a:pt x="1581" y="1126654"/>
                    </a:cubicBezTo>
                    <a:cubicBezTo>
                      <a:pt x="1581" y="1034313"/>
                      <a:pt x="4436" y="941021"/>
                      <a:pt x="629" y="848680"/>
                    </a:cubicBezTo>
                    <a:cubicBezTo>
                      <a:pt x="-6033" y="705885"/>
                      <a:pt x="39651" y="589745"/>
                      <a:pt x="163378" y="506924"/>
                    </a:cubicBezTo>
                    <a:close/>
                    <a:moveTo>
                      <a:pt x="570725" y="1081911"/>
                    </a:moveTo>
                    <a:cubicBezTo>
                      <a:pt x="570725" y="984811"/>
                      <a:pt x="571677" y="891518"/>
                      <a:pt x="570725" y="798226"/>
                    </a:cubicBezTo>
                    <a:cubicBezTo>
                      <a:pt x="569774" y="678278"/>
                      <a:pt x="479358" y="581177"/>
                      <a:pt x="363245" y="570705"/>
                    </a:cubicBezTo>
                    <a:cubicBezTo>
                      <a:pt x="246180" y="560234"/>
                      <a:pt x="133874" y="639247"/>
                      <a:pt x="121501" y="758243"/>
                    </a:cubicBezTo>
                    <a:cubicBezTo>
                      <a:pt x="110080" y="864863"/>
                      <a:pt x="118646" y="972435"/>
                      <a:pt x="118646" y="1081911"/>
                    </a:cubicBezTo>
                    <a:cubicBezTo>
                      <a:pt x="268070" y="1081911"/>
                      <a:pt x="417494" y="1081911"/>
                      <a:pt x="570725" y="1081911"/>
                    </a:cubicBezTo>
                    <a:close/>
                    <a:moveTo>
                      <a:pt x="513621" y="286067"/>
                    </a:moveTo>
                    <a:cubicBezTo>
                      <a:pt x="513621" y="192775"/>
                      <a:pt x="438433" y="115666"/>
                      <a:pt x="345161" y="113761"/>
                    </a:cubicBezTo>
                    <a:cubicBezTo>
                      <a:pt x="249987" y="112810"/>
                      <a:pt x="171944" y="188967"/>
                      <a:pt x="171944" y="284164"/>
                    </a:cubicBezTo>
                    <a:cubicBezTo>
                      <a:pt x="171944" y="378408"/>
                      <a:pt x="249035" y="456469"/>
                      <a:pt x="343258" y="456469"/>
                    </a:cubicBezTo>
                    <a:cubicBezTo>
                      <a:pt x="436529" y="455518"/>
                      <a:pt x="513621" y="379360"/>
                      <a:pt x="513621" y="286067"/>
                    </a:cubicBezTo>
                    <a:close/>
                  </a:path>
                </a:pathLst>
              </a:custGeom>
              <a:grpFill/>
              <a:ln w="9514"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065C604B-2FC3-353F-4806-2091339011CB}"/>
                  </a:ext>
                </a:extLst>
              </p:cNvPr>
              <p:cNvSpPr/>
              <p:nvPr/>
            </p:nvSpPr>
            <p:spPr>
              <a:xfrm>
                <a:off x="3809750" y="3836916"/>
                <a:ext cx="685728" cy="1198051"/>
              </a:xfrm>
              <a:custGeom>
                <a:avLst/>
                <a:gdLst>
                  <a:gd name="connsiteX0" fmla="*/ 163220 w 685728"/>
                  <a:gd name="connsiteY0" fmla="*/ 506924 h 1198051"/>
                  <a:gd name="connsiteX1" fmla="*/ 145137 w 685728"/>
                  <a:gd name="connsiteY1" fmla="*/ 80443 h 1198051"/>
                  <a:gd name="connsiteX2" fmla="*/ 543919 w 685728"/>
                  <a:gd name="connsiteY2" fmla="*/ 82347 h 1198051"/>
                  <a:gd name="connsiteX3" fmla="*/ 525835 w 685728"/>
                  <a:gd name="connsiteY3" fmla="*/ 505020 h 1198051"/>
                  <a:gd name="connsiteX4" fmla="*/ 542967 w 685728"/>
                  <a:gd name="connsiteY4" fmla="*/ 521203 h 1198051"/>
                  <a:gd name="connsiteX5" fmla="*/ 685729 w 685728"/>
                  <a:gd name="connsiteY5" fmla="*/ 805841 h 1198051"/>
                  <a:gd name="connsiteX6" fmla="*/ 685729 w 685728"/>
                  <a:gd name="connsiteY6" fmla="*/ 1126654 h 1198051"/>
                  <a:gd name="connsiteX7" fmla="*/ 614348 w 685728"/>
                  <a:gd name="connsiteY7" fmla="*/ 1198051 h 1198051"/>
                  <a:gd name="connsiteX8" fmla="*/ 72804 w 685728"/>
                  <a:gd name="connsiteY8" fmla="*/ 1198051 h 1198051"/>
                  <a:gd name="connsiteX9" fmla="*/ 1423 w 685728"/>
                  <a:gd name="connsiteY9" fmla="*/ 1126654 h 1198051"/>
                  <a:gd name="connsiteX10" fmla="*/ 472 w 685728"/>
                  <a:gd name="connsiteY10" fmla="*/ 848680 h 1198051"/>
                  <a:gd name="connsiteX11" fmla="*/ 163220 w 685728"/>
                  <a:gd name="connsiteY11" fmla="*/ 506924 h 1198051"/>
                  <a:gd name="connsiteX12" fmla="*/ 569616 w 685728"/>
                  <a:gd name="connsiteY12" fmla="*/ 1081911 h 1198051"/>
                  <a:gd name="connsiteX13" fmla="*/ 570567 w 685728"/>
                  <a:gd name="connsiteY13" fmla="*/ 1063824 h 1198051"/>
                  <a:gd name="connsiteX14" fmla="*/ 570567 w 685728"/>
                  <a:gd name="connsiteY14" fmla="*/ 793466 h 1198051"/>
                  <a:gd name="connsiteX15" fmla="*/ 344052 w 685728"/>
                  <a:gd name="connsiteY15" fmla="*/ 569754 h 1198051"/>
                  <a:gd name="connsiteX16" fmla="*/ 115633 w 685728"/>
                  <a:gd name="connsiteY16" fmla="*/ 794417 h 1198051"/>
                  <a:gd name="connsiteX17" fmla="*/ 115633 w 685728"/>
                  <a:gd name="connsiteY17" fmla="*/ 1064776 h 1198051"/>
                  <a:gd name="connsiteX18" fmla="*/ 118488 w 685728"/>
                  <a:gd name="connsiteY18" fmla="*/ 1081911 h 1198051"/>
                  <a:gd name="connsiteX19" fmla="*/ 569616 w 685728"/>
                  <a:gd name="connsiteY19" fmla="*/ 1081911 h 1198051"/>
                  <a:gd name="connsiteX20" fmla="*/ 514414 w 685728"/>
                  <a:gd name="connsiteY20" fmla="*/ 287971 h 1198051"/>
                  <a:gd name="connsiteX21" fmla="*/ 348811 w 685728"/>
                  <a:gd name="connsiteY21" fmla="*/ 113761 h 1198051"/>
                  <a:gd name="connsiteX22" fmla="*/ 172738 w 685728"/>
                  <a:gd name="connsiteY22" fmla="*/ 281308 h 1198051"/>
                  <a:gd name="connsiteX23" fmla="*/ 342148 w 685728"/>
                  <a:gd name="connsiteY23" fmla="*/ 455518 h 1198051"/>
                  <a:gd name="connsiteX24" fmla="*/ 514414 w 685728"/>
                  <a:gd name="connsiteY24" fmla="*/ 287971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5728" h="1198051">
                    <a:moveTo>
                      <a:pt x="163220" y="506924"/>
                    </a:moveTo>
                    <a:cubicBezTo>
                      <a:pt x="2375" y="354609"/>
                      <a:pt x="50914" y="169928"/>
                      <a:pt x="145137" y="80443"/>
                    </a:cubicBezTo>
                    <a:cubicBezTo>
                      <a:pt x="256491" y="-27129"/>
                      <a:pt x="432564" y="-27129"/>
                      <a:pt x="543919" y="82347"/>
                    </a:cubicBezTo>
                    <a:cubicBezTo>
                      <a:pt x="640045" y="176591"/>
                      <a:pt x="680018" y="359369"/>
                      <a:pt x="525835" y="505020"/>
                    </a:cubicBezTo>
                    <a:cubicBezTo>
                      <a:pt x="531546" y="510732"/>
                      <a:pt x="537256" y="516443"/>
                      <a:pt x="542967" y="521203"/>
                    </a:cubicBezTo>
                    <a:cubicBezTo>
                      <a:pt x="637190" y="592601"/>
                      <a:pt x="685729" y="686845"/>
                      <a:pt x="685729" y="805841"/>
                    </a:cubicBezTo>
                    <a:cubicBezTo>
                      <a:pt x="685729" y="912462"/>
                      <a:pt x="685729" y="1020034"/>
                      <a:pt x="685729" y="1126654"/>
                    </a:cubicBezTo>
                    <a:cubicBezTo>
                      <a:pt x="685729" y="1178060"/>
                      <a:pt x="665742" y="1198051"/>
                      <a:pt x="614348" y="1198051"/>
                    </a:cubicBezTo>
                    <a:cubicBezTo>
                      <a:pt x="433516" y="1198051"/>
                      <a:pt x="253636" y="1198051"/>
                      <a:pt x="72804" y="1198051"/>
                    </a:cubicBezTo>
                    <a:cubicBezTo>
                      <a:pt x="21410" y="1198051"/>
                      <a:pt x="1423" y="1178060"/>
                      <a:pt x="1423" y="1126654"/>
                    </a:cubicBezTo>
                    <a:cubicBezTo>
                      <a:pt x="1423" y="1034313"/>
                      <a:pt x="4278" y="941021"/>
                      <a:pt x="472" y="848680"/>
                    </a:cubicBezTo>
                    <a:cubicBezTo>
                      <a:pt x="-5239" y="705885"/>
                      <a:pt x="40445" y="589745"/>
                      <a:pt x="163220" y="506924"/>
                    </a:cubicBezTo>
                    <a:close/>
                    <a:moveTo>
                      <a:pt x="569616" y="1081911"/>
                    </a:moveTo>
                    <a:cubicBezTo>
                      <a:pt x="570567" y="1073344"/>
                      <a:pt x="570567" y="1068584"/>
                      <a:pt x="570567" y="1063824"/>
                    </a:cubicBezTo>
                    <a:cubicBezTo>
                      <a:pt x="570567" y="973387"/>
                      <a:pt x="571519" y="883903"/>
                      <a:pt x="570567" y="793466"/>
                    </a:cubicBezTo>
                    <a:cubicBezTo>
                      <a:pt x="568664" y="669710"/>
                      <a:pt x="466827" y="570705"/>
                      <a:pt x="344052" y="569754"/>
                    </a:cubicBezTo>
                    <a:cubicBezTo>
                      <a:pt x="219373" y="568802"/>
                      <a:pt x="117536" y="668758"/>
                      <a:pt x="115633" y="794417"/>
                    </a:cubicBezTo>
                    <a:cubicBezTo>
                      <a:pt x="114681" y="884854"/>
                      <a:pt x="115633" y="974339"/>
                      <a:pt x="115633" y="1064776"/>
                    </a:cubicBezTo>
                    <a:cubicBezTo>
                      <a:pt x="115633" y="1070488"/>
                      <a:pt x="117536" y="1076200"/>
                      <a:pt x="118488" y="1081911"/>
                    </a:cubicBezTo>
                    <a:cubicBezTo>
                      <a:pt x="268864" y="1081911"/>
                      <a:pt x="418288" y="1081911"/>
                      <a:pt x="569616" y="1081911"/>
                    </a:cubicBezTo>
                    <a:close/>
                    <a:moveTo>
                      <a:pt x="514414" y="287971"/>
                    </a:moveTo>
                    <a:cubicBezTo>
                      <a:pt x="516318" y="194679"/>
                      <a:pt x="441130" y="116618"/>
                      <a:pt x="348811" y="113761"/>
                    </a:cubicBezTo>
                    <a:cubicBezTo>
                      <a:pt x="253636" y="111858"/>
                      <a:pt x="174641" y="187063"/>
                      <a:pt x="172738" y="281308"/>
                    </a:cubicBezTo>
                    <a:cubicBezTo>
                      <a:pt x="170834" y="376504"/>
                      <a:pt x="247925" y="454566"/>
                      <a:pt x="342148" y="455518"/>
                    </a:cubicBezTo>
                    <a:cubicBezTo>
                      <a:pt x="435419" y="456469"/>
                      <a:pt x="512511" y="381264"/>
                      <a:pt x="514414" y="287971"/>
                    </a:cubicBezTo>
                    <a:close/>
                  </a:path>
                </a:pathLst>
              </a:custGeom>
              <a:grpFill/>
              <a:ln w="9514"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AC2F07E9-616D-7D6A-8BC2-A42A231B642F}"/>
                  </a:ext>
                </a:extLst>
              </p:cNvPr>
              <p:cNvSpPr/>
              <p:nvPr/>
            </p:nvSpPr>
            <p:spPr>
              <a:xfrm>
                <a:off x="4608736" y="3837617"/>
                <a:ext cx="684305" cy="1197349"/>
              </a:xfrm>
              <a:custGeom>
                <a:avLst/>
                <a:gdLst>
                  <a:gd name="connsiteX0" fmla="*/ 161797 w 684305"/>
                  <a:gd name="connsiteY0" fmla="*/ 506222 h 1197349"/>
                  <a:gd name="connsiteX1" fmla="*/ 140859 w 684305"/>
                  <a:gd name="connsiteY1" fmla="*/ 82597 h 1197349"/>
                  <a:gd name="connsiteX2" fmla="*/ 539640 w 684305"/>
                  <a:gd name="connsiteY2" fmla="*/ 78789 h 1197349"/>
                  <a:gd name="connsiteX3" fmla="*/ 524412 w 684305"/>
                  <a:gd name="connsiteY3" fmla="*/ 504318 h 1197349"/>
                  <a:gd name="connsiteX4" fmla="*/ 541543 w 684305"/>
                  <a:gd name="connsiteY4" fmla="*/ 520502 h 1197349"/>
                  <a:gd name="connsiteX5" fmla="*/ 684305 w 684305"/>
                  <a:gd name="connsiteY5" fmla="*/ 805140 h 1197349"/>
                  <a:gd name="connsiteX6" fmla="*/ 684305 w 684305"/>
                  <a:gd name="connsiteY6" fmla="*/ 1125953 h 1197349"/>
                  <a:gd name="connsiteX7" fmla="*/ 612924 w 684305"/>
                  <a:gd name="connsiteY7" fmla="*/ 1197350 h 1197349"/>
                  <a:gd name="connsiteX8" fmla="*/ 71381 w 684305"/>
                  <a:gd name="connsiteY8" fmla="*/ 1197350 h 1197349"/>
                  <a:gd name="connsiteX9" fmla="*/ 0 w 684305"/>
                  <a:gd name="connsiteY9" fmla="*/ 1125953 h 1197349"/>
                  <a:gd name="connsiteX10" fmla="*/ 0 w 684305"/>
                  <a:gd name="connsiteY10" fmla="*/ 805140 h 1197349"/>
                  <a:gd name="connsiteX11" fmla="*/ 145617 w 684305"/>
                  <a:gd name="connsiteY11" fmla="*/ 518598 h 1197349"/>
                  <a:gd name="connsiteX12" fmla="*/ 161797 w 684305"/>
                  <a:gd name="connsiteY12" fmla="*/ 506222 h 1197349"/>
                  <a:gd name="connsiteX13" fmla="*/ 570096 w 684305"/>
                  <a:gd name="connsiteY13" fmla="*/ 1082162 h 1197349"/>
                  <a:gd name="connsiteX14" fmla="*/ 570096 w 684305"/>
                  <a:gd name="connsiteY14" fmla="*/ 802284 h 1197349"/>
                  <a:gd name="connsiteX15" fmla="*/ 341677 w 684305"/>
                  <a:gd name="connsiteY15" fmla="*/ 570004 h 1197349"/>
                  <a:gd name="connsiteX16" fmla="*/ 114210 w 684305"/>
                  <a:gd name="connsiteY16" fmla="*/ 803236 h 1197349"/>
                  <a:gd name="connsiteX17" fmla="*/ 114210 w 684305"/>
                  <a:gd name="connsiteY17" fmla="*/ 1055507 h 1197349"/>
                  <a:gd name="connsiteX18" fmla="*/ 117065 w 684305"/>
                  <a:gd name="connsiteY18" fmla="*/ 1082162 h 1197349"/>
                  <a:gd name="connsiteX19" fmla="*/ 570096 w 684305"/>
                  <a:gd name="connsiteY19" fmla="*/ 1082162 h 1197349"/>
                  <a:gd name="connsiteX20" fmla="*/ 512991 w 684305"/>
                  <a:gd name="connsiteY20" fmla="*/ 284414 h 1197349"/>
                  <a:gd name="connsiteX21" fmla="*/ 344532 w 684305"/>
                  <a:gd name="connsiteY21" fmla="*/ 113060 h 1197349"/>
                  <a:gd name="connsiteX22" fmla="*/ 171314 w 684305"/>
                  <a:gd name="connsiteY22" fmla="*/ 283462 h 1197349"/>
                  <a:gd name="connsiteX23" fmla="*/ 343580 w 684305"/>
                  <a:gd name="connsiteY23" fmla="*/ 454816 h 1197349"/>
                  <a:gd name="connsiteX24" fmla="*/ 512991 w 684305"/>
                  <a:gd name="connsiteY24" fmla="*/ 284414 h 119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305" h="1197349">
                    <a:moveTo>
                      <a:pt x="161797" y="506222"/>
                    </a:moveTo>
                    <a:cubicBezTo>
                      <a:pt x="3807" y="356764"/>
                      <a:pt x="48539" y="173986"/>
                      <a:pt x="140859" y="82597"/>
                    </a:cubicBezTo>
                    <a:cubicBezTo>
                      <a:pt x="251261" y="-25927"/>
                      <a:pt x="427334" y="-27831"/>
                      <a:pt x="539640" y="78789"/>
                    </a:cubicBezTo>
                    <a:cubicBezTo>
                      <a:pt x="636718" y="171130"/>
                      <a:pt x="680498" y="355811"/>
                      <a:pt x="524412" y="504318"/>
                    </a:cubicBezTo>
                    <a:cubicBezTo>
                      <a:pt x="530123" y="510030"/>
                      <a:pt x="535833" y="515742"/>
                      <a:pt x="541543" y="520502"/>
                    </a:cubicBezTo>
                    <a:cubicBezTo>
                      <a:pt x="635766" y="591899"/>
                      <a:pt x="684305" y="686144"/>
                      <a:pt x="684305" y="805140"/>
                    </a:cubicBezTo>
                    <a:cubicBezTo>
                      <a:pt x="684305" y="911760"/>
                      <a:pt x="684305" y="1019332"/>
                      <a:pt x="684305" y="1125953"/>
                    </a:cubicBezTo>
                    <a:cubicBezTo>
                      <a:pt x="684305" y="1177359"/>
                      <a:pt x="664319" y="1197350"/>
                      <a:pt x="612924" y="1197350"/>
                    </a:cubicBezTo>
                    <a:cubicBezTo>
                      <a:pt x="432093" y="1197350"/>
                      <a:pt x="252213" y="1197350"/>
                      <a:pt x="71381" y="1197350"/>
                    </a:cubicBezTo>
                    <a:cubicBezTo>
                      <a:pt x="19987" y="1197350"/>
                      <a:pt x="0" y="1177359"/>
                      <a:pt x="0" y="1125953"/>
                    </a:cubicBezTo>
                    <a:cubicBezTo>
                      <a:pt x="0" y="1019332"/>
                      <a:pt x="0" y="911760"/>
                      <a:pt x="0" y="805140"/>
                    </a:cubicBezTo>
                    <a:cubicBezTo>
                      <a:pt x="0" y="685192"/>
                      <a:pt x="49491" y="589995"/>
                      <a:pt x="145617" y="518598"/>
                    </a:cubicBezTo>
                    <a:cubicBezTo>
                      <a:pt x="150376" y="514790"/>
                      <a:pt x="155135" y="510982"/>
                      <a:pt x="161797" y="506222"/>
                    </a:cubicBezTo>
                    <a:close/>
                    <a:moveTo>
                      <a:pt x="570096" y="1082162"/>
                    </a:moveTo>
                    <a:cubicBezTo>
                      <a:pt x="570096" y="986965"/>
                      <a:pt x="571048" y="894625"/>
                      <a:pt x="570096" y="802284"/>
                    </a:cubicBezTo>
                    <a:cubicBezTo>
                      <a:pt x="569144" y="670912"/>
                      <a:pt x="469211" y="570004"/>
                      <a:pt x="341677" y="570004"/>
                    </a:cubicBezTo>
                    <a:cubicBezTo>
                      <a:pt x="214143" y="570004"/>
                      <a:pt x="115161" y="670912"/>
                      <a:pt x="114210" y="803236"/>
                    </a:cubicBezTo>
                    <a:cubicBezTo>
                      <a:pt x="113258" y="887009"/>
                      <a:pt x="114210" y="971734"/>
                      <a:pt x="114210" y="1055507"/>
                    </a:cubicBezTo>
                    <a:cubicBezTo>
                      <a:pt x="114210" y="1064075"/>
                      <a:pt x="116113" y="1073594"/>
                      <a:pt x="117065" y="1082162"/>
                    </a:cubicBezTo>
                    <a:cubicBezTo>
                      <a:pt x="268392" y="1082162"/>
                      <a:pt x="416865" y="1082162"/>
                      <a:pt x="570096" y="1082162"/>
                    </a:cubicBezTo>
                    <a:close/>
                    <a:moveTo>
                      <a:pt x="512991" y="284414"/>
                    </a:moveTo>
                    <a:cubicBezTo>
                      <a:pt x="512991" y="191121"/>
                      <a:pt x="436851" y="114012"/>
                      <a:pt x="344532" y="113060"/>
                    </a:cubicBezTo>
                    <a:cubicBezTo>
                      <a:pt x="250309" y="112108"/>
                      <a:pt x="171314" y="189217"/>
                      <a:pt x="171314" y="283462"/>
                    </a:cubicBezTo>
                    <a:cubicBezTo>
                      <a:pt x="171314" y="377707"/>
                      <a:pt x="249358" y="455768"/>
                      <a:pt x="343580" y="454816"/>
                    </a:cubicBezTo>
                    <a:cubicBezTo>
                      <a:pt x="436851" y="454816"/>
                      <a:pt x="512991" y="377707"/>
                      <a:pt x="512991" y="284414"/>
                    </a:cubicBezTo>
                    <a:close/>
                  </a:path>
                </a:pathLst>
              </a:custGeom>
              <a:grpFill/>
              <a:ln w="9514"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FB8DB4F-AF3C-5AB6-1AF7-833EC2D13AFD}"/>
                  </a:ext>
                </a:extLst>
              </p:cNvPr>
              <p:cNvSpPr/>
              <p:nvPr/>
            </p:nvSpPr>
            <p:spPr>
              <a:xfrm>
                <a:off x="5405925" y="3836643"/>
                <a:ext cx="684679" cy="1197794"/>
              </a:xfrm>
              <a:custGeom>
                <a:avLst/>
                <a:gdLst>
                  <a:gd name="connsiteX0" fmla="*/ 522883 w 684679"/>
                  <a:gd name="connsiteY0" fmla="*/ 507196 h 1197794"/>
                  <a:gd name="connsiteX1" fmla="*/ 672306 w 684679"/>
                  <a:gd name="connsiteY1" fmla="*/ 710917 h 1197794"/>
                  <a:gd name="connsiteX2" fmla="*/ 683728 w 684679"/>
                  <a:gd name="connsiteY2" fmla="*/ 784218 h 1197794"/>
                  <a:gd name="connsiteX3" fmla="*/ 684679 w 684679"/>
                  <a:gd name="connsiteY3" fmla="*/ 1133590 h 1197794"/>
                  <a:gd name="connsiteX4" fmla="*/ 620912 w 684679"/>
                  <a:gd name="connsiteY4" fmla="*/ 1197371 h 1197794"/>
                  <a:gd name="connsiteX5" fmla="*/ 65093 w 684679"/>
                  <a:gd name="connsiteY5" fmla="*/ 1197371 h 1197794"/>
                  <a:gd name="connsiteX6" fmla="*/ 1326 w 684679"/>
                  <a:gd name="connsiteY6" fmla="*/ 1133590 h 1197794"/>
                  <a:gd name="connsiteX7" fmla="*/ 2277 w 684679"/>
                  <a:gd name="connsiteY7" fmla="*/ 781362 h 1197794"/>
                  <a:gd name="connsiteX8" fmla="*/ 134570 w 684679"/>
                  <a:gd name="connsiteY8" fmla="*/ 528139 h 1197794"/>
                  <a:gd name="connsiteX9" fmla="*/ 163122 w 684679"/>
                  <a:gd name="connsiteY9" fmla="*/ 507196 h 1197794"/>
                  <a:gd name="connsiteX10" fmla="*/ 60334 w 684679"/>
                  <a:gd name="connsiteY10" fmla="*/ 250165 h 1197794"/>
                  <a:gd name="connsiteX11" fmla="*/ 163122 w 684679"/>
                  <a:gd name="connsiteY11" fmla="*/ 64531 h 1197794"/>
                  <a:gd name="connsiteX12" fmla="*/ 550483 w 684679"/>
                  <a:gd name="connsiteY12" fmla="*/ 90234 h 1197794"/>
                  <a:gd name="connsiteX13" fmla="*/ 522883 w 684679"/>
                  <a:gd name="connsiteY13" fmla="*/ 507196 h 1197794"/>
                  <a:gd name="connsiteX14" fmla="*/ 115535 w 684679"/>
                  <a:gd name="connsiteY14" fmla="*/ 1081231 h 1197794"/>
                  <a:gd name="connsiteX15" fmla="*/ 570470 w 684679"/>
                  <a:gd name="connsiteY15" fmla="*/ 1081231 h 1197794"/>
                  <a:gd name="connsiteX16" fmla="*/ 569518 w 684679"/>
                  <a:gd name="connsiteY16" fmla="*/ 780410 h 1197794"/>
                  <a:gd name="connsiteX17" fmla="*/ 341099 w 684679"/>
                  <a:gd name="connsiteY17" fmla="*/ 570977 h 1197794"/>
                  <a:gd name="connsiteX18" fmla="*/ 116487 w 684679"/>
                  <a:gd name="connsiteY18" fmla="*/ 780410 h 1197794"/>
                  <a:gd name="connsiteX19" fmla="*/ 115535 w 684679"/>
                  <a:gd name="connsiteY19" fmla="*/ 1081231 h 1197794"/>
                  <a:gd name="connsiteX20" fmla="*/ 514317 w 684679"/>
                  <a:gd name="connsiteY20" fmla="*/ 285387 h 1197794"/>
                  <a:gd name="connsiteX21" fmla="*/ 345858 w 684679"/>
                  <a:gd name="connsiteY21" fmla="*/ 114033 h 1197794"/>
                  <a:gd name="connsiteX22" fmla="*/ 172640 w 684679"/>
                  <a:gd name="connsiteY22" fmla="*/ 284436 h 1197794"/>
                  <a:gd name="connsiteX23" fmla="*/ 344906 w 684679"/>
                  <a:gd name="connsiteY23" fmla="*/ 455790 h 1197794"/>
                  <a:gd name="connsiteX24" fmla="*/ 514317 w 684679"/>
                  <a:gd name="connsiteY24" fmla="*/ 285387 h 119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679" h="1197794">
                    <a:moveTo>
                      <a:pt x="522883" y="507196"/>
                    </a:moveTo>
                    <a:cubicBezTo>
                      <a:pt x="598070" y="558602"/>
                      <a:pt x="650416" y="624288"/>
                      <a:pt x="672306" y="710917"/>
                    </a:cubicBezTo>
                    <a:cubicBezTo>
                      <a:pt x="678017" y="734716"/>
                      <a:pt x="683728" y="759467"/>
                      <a:pt x="683728" y="784218"/>
                    </a:cubicBezTo>
                    <a:cubicBezTo>
                      <a:pt x="684679" y="900358"/>
                      <a:pt x="684679" y="1016498"/>
                      <a:pt x="684679" y="1133590"/>
                    </a:cubicBezTo>
                    <a:cubicBezTo>
                      <a:pt x="684679" y="1175476"/>
                      <a:pt x="662789" y="1197371"/>
                      <a:pt x="620912" y="1197371"/>
                    </a:cubicBezTo>
                    <a:cubicBezTo>
                      <a:pt x="435322" y="1198323"/>
                      <a:pt x="250683" y="1197371"/>
                      <a:pt x="65093" y="1197371"/>
                    </a:cubicBezTo>
                    <a:cubicBezTo>
                      <a:pt x="23216" y="1197371"/>
                      <a:pt x="1326" y="1175476"/>
                      <a:pt x="1326" y="1133590"/>
                    </a:cubicBezTo>
                    <a:cubicBezTo>
                      <a:pt x="374" y="1016498"/>
                      <a:pt x="-1530" y="898454"/>
                      <a:pt x="2277" y="781362"/>
                    </a:cubicBezTo>
                    <a:cubicBezTo>
                      <a:pt x="5133" y="676646"/>
                      <a:pt x="53672" y="592873"/>
                      <a:pt x="134570" y="528139"/>
                    </a:cubicBezTo>
                    <a:cubicBezTo>
                      <a:pt x="143136" y="521475"/>
                      <a:pt x="151702" y="515763"/>
                      <a:pt x="163122" y="507196"/>
                    </a:cubicBezTo>
                    <a:cubicBezTo>
                      <a:pt x="86983" y="437702"/>
                      <a:pt x="47961" y="352977"/>
                      <a:pt x="60334" y="250165"/>
                    </a:cubicBezTo>
                    <a:cubicBezTo>
                      <a:pt x="69851" y="174960"/>
                      <a:pt x="104114" y="113082"/>
                      <a:pt x="163122" y="64531"/>
                    </a:cubicBezTo>
                    <a:cubicBezTo>
                      <a:pt x="280187" y="-30665"/>
                      <a:pt x="447695" y="-19242"/>
                      <a:pt x="550483" y="90234"/>
                    </a:cubicBezTo>
                    <a:cubicBezTo>
                      <a:pt x="639947" y="184479"/>
                      <a:pt x="676114" y="362497"/>
                      <a:pt x="522883" y="507196"/>
                    </a:cubicBezTo>
                    <a:close/>
                    <a:moveTo>
                      <a:pt x="115535" y="1081231"/>
                    </a:moveTo>
                    <a:cubicBezTo>
                      <a:pt x="269718" y="1081231"/>
                      <a:pt x="419142" y="1081231"/>
                      <a:pt x="570470" y="1081231"/>
                    </a:cubicBezTo>
                    <a:cubicBezTo>
                      <a:pt x="570470" y="979371"/>
                      <a:pt x="574277" y="879415"/>
                      <a:pt x="569518" y="780410"/>
                    </a:cubicBezTo>
                    <a:cubicBezTo>
                      <a:pt x="563807" y="662366"/>
                      <a:pt x="460067" y="570026"/>
                      <a:pt x="341099" y="570977"/>
                    </a:cubicBezTo>
                    <a:cubicBezTo>
                      <a:pt x="224034" y="571929"/>
                      <a:pt x="121246" y="664270"/>
                      <a:pt x="116487" y="780410"/>
                    </a:cubicBezTo>
                    <a:cubicBezTo>
                      <a:pt x="112680" y="879415"/>
                      <a:pt x="115535" y="979371"/>
                      <a:pt x="115535" y="1081231"/>
                    </a:cubicBezTo>
                    <a:close/>
                    <a:moveTo>
                      <a:pt x="514317" y="285387"/>
                    </a:moveTo>
                    <a:cubicBezTo>
                      <a:pt x="514317" y="192095"/>
                      <a:pt x="438177" y="114985"/>
                      <a:pt x="345858" y="114033"/>
                    </a:cubicBezTo>
                    <a:cubicBezTo>
                      <a:pt x="251635" y="113082"/>
                      <a:pt x="172640" y="190191"/>
                      <a:pt x="172640" y="284436"/>
                    </a:cubicBezTo>
                    <a:cubicBezTo>
                      <a:pt x="172640" y="378680"/>
                      <a:pt x="250683" y="456741"/>
                      <a:pt x="344906" y="455790"/>
                    </a:cubicBezTo>
                    <a:cubicBezTo>
                      <a:pt x="437225" y="455790"/>
                      <a:pt x="514317" y="378680"/>
                      <a:pt x="514317" y="285387"/>
                    </a:cubicBezTo>
                    <a:close/>
                  </a:path>
                </a:pathLst>
              </a:custGeom>
              <a:grpFill/>
              <a:ln w="951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58A87AB9-D6CA-1EC5-CEDE-4E39993895FE}"/>
                  </a:ext>
                </a:extLst>
              </p:cNvPr>
              <p:cNvSpPr/>
              <p:nvPr/>
            </p:nvSpPr>
            <p:spPr>
              <a:xfrm>
                <a:off x="4868563" y="1843700"/>
                <a:ext cx="1077376" cy="279799"/>
              </a:xfrm>
              <a:custGeom>
                <a:avLst/>
                <a:gdLst>
                  <a:gd name="connsiteX0" fmla="*/ 0 w 1077376"/>
                  <a:gd name="connsiteY0" fmla="*/ 174485 h 279799"/>
                  <a:gd name="connsiteX1" fmla="*/ 347387 w 1077376"/>
                  <a:gd name="connsiteY1" fmla="*/ 3131 h 279799"/>
                  <a:gd name="connsiteX2" fmla="*/ 407347 w 1077376"/>
                  <a:gd name="connsiteY2" fmla="*/ 11699 h 279799"/>
                  <a:gd name="connsiteX3" fmla="*/ 684305 w 1077376"/>
                  <a:gd name="connsiteY3" fmla="*/ 149734 h 279799"/>
                  <a:gd name="connsiteX4" fmla="*/ 736651 w 1077376"/>
                  <a:gd name="connsiteY4" fmla="*/ 148782 h 279799"/>
                  <a:gd name="connsiteX5" fmla="*/ 1025982 w 1077376"/>
                  <a:gd name="connsiteY5" fmla="*/ 4083 h 279799"/>
                  <a:gd name="connsiteX6" fmla="*/ 1077376 w 1077376"/>
                  <a:gd name="connsiteY6" fmla="*/ 105943 h 279799"/>
                  <a:gd name="connsiteX7" fmla="*/ 945084 w 1077376"/>
                  <a:gd name="connsiteY7" fmla="*/ 171629 h 279799"/>
                  <a:gd name="connsiteX8" fmla="*/ 751879 w 1077376"/>
                  <a:gd name="connsiteY8" fmla="*/ 268730 h 279799"/>
                  <a:gd name="connsiteX9" fmla="*/ 668125 w 1077376"/>
                  <a:gd name="connsiteY9" fmla="*/ 268730 h 279799"/>
                  <a:gd name="connsiteX10" fmla="*/ 394975 w 1077376"/>
                  <a:gd name="connsiteY10" fmla="*/ 130695 h 279799"/>
                  <a:gd name="connsiteX11" fmla="*/ 342629 w 1077376"/>
                  <a:gd name="connsiteY11" fmla="*/ 130695 h 279799"/>
                  <a:gd name="connsiteX12" fmla="*/ 52346 w 1077376"/>
                  <a:gd name="connsiteY12" fmla="*/ 276345 h 279799"/>
                  <a:gd name="connsiteX13" fmla="*/ 0 w 1077376"/>
                  <a:gd name="connsiteY13" fmla="*/ 174485 h 27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7376" h="279799">
                    <a:moveTo>
                      <a:pt x="0" y="174485"/>
                    </a:moveTo>
                    <a:cubicBezTo>
                      <a:pt x="118016" y="115463"/>
                      <a:pt x="232226" y="57393"/>
                      <a:pt x="347387" y="3131"/>
                    </a:cubicBezTo>
                    <a:cubicBezTo>
                      <a:pt x="362615" y="-4485"/>
                      <a:pt x="389264" y="3131"/>
                      <a:pt x="407347" y="11699"/>
                    </a:cubicBezTo>
                    <a:cubicBezTo>
                      <a:pt x="500618" y="56441"/>
                      <a:pt x="592938" y="102136"/>
                      <a:pt x="684305" y="149734"/>
                    </a:cubicBezTo>
                    <a:cubicBezTo>
                      <a:pt x="703340" y="159254"/>
                      <a:pt x="717616" y="159254"/>
                      <a:pt x="736651" y="148782"/>
                    </a:cubicBezTo>
                    <a:cubicBezTo>
                      <a:pt x="831826" y="100232"/>
                      <a:pt x="927000" y="53585"/>
                      <a:pt x="1025982" y="4083"/>
                    </a:cubicBezTo>
                    <a:cubicBezTo>
                      <a:pt x="1043113" y="37402"/>
                      <a:pt x="1059293" y="69769"/>
                      <a:pt x="1077376" y="105943"/>
                    </a:cubicBezTo>
                    <a:cubicBezTo>
                      <a:pt x="1031692" y="128791"/>
                      <a:pt x="988864" y="150686"/>
                      <a:pt x="945084" y="171629"/>
                    </a:cubicBezTo>
                    <a:cubicBezTo>
                      <a:pt x="880365" y="203996"/>
                      <a:pt x="815646" y="235411"/>
                      <a:pt x="751879" y="268730"/>
                    </a:cubicBezTo>
                    <a:cubicBezTo>
                      <a:pt x="722375" y="283961"/>
                      <a:pt x="696678" y="283009"/>
                      <a:pt x="668125" y="268730"/>
                    </a:cubicBezTo>
                    <a:cubicBezTo>
                      <a:pt x="577710" y="222083"/>
                      <a:pt x="485390" y="178293"/>
                      <a:pt x="394975" y="130695"/>
                    </a:cubicBezTo>
                    <a:cubicBezTo>
                      <a:pt x="375940" y="121175"/>
                      <a:pt x="361663" y="120223"/>
                      <a:pt x="342629" y="130695"/>
                    </a:cubicBezTo>
                    <a:cubicBezTo>
                      <a:pt x="246502" y="180197"/>
                      <a:pt x="150376" y="226843"/>
                      <a:pt x="52346" y="276345"/>
                    </a:cubicBezTo>
                    <a:cubicBezTo>
                      <a:pt x="34263" y="242075"/>
                      <a:pt x="18083" y="210660"/>
                      <a:pt x="0" y="174485"/>
                    </a:cubicBezTo>
                    <a:close/>
                  </a:path>
                </a:pathLst>
              </a:custGeom>
              <a:grpFill/>
              <a:ln w="951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31CE706A-A3D5-B576-7F91-C080DE6A2604}"/>
                  </a:ext>
                </a:extLst>
              </p:cNvPr>
              <p:cNvSpPr/>
              <p:nvPr/>
            </p:nvSpPr>
            <p:spPr>
              <a:xfrm>
                <a:off x="5295897" y="2470369"/>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15C4431D-8F52-C421-1886-705DF82CFC99}"/>
                  </a:ext>
                </a:extLst>
              </p:cNvPr>
              <p:cNvSpPr/>
              <p:nvPr/>
            </p:nvSpPr>
            <p:spPr>
              <a:xfrm>
                <a:off x="5295897" y="2697889"/>
                <a:ext cx="678594" cy="111380"/>
              </a:xfrm>
              <a:custGeom>
                <a:avLst/>
                <a:gdLst>
                  <a:gd name="connsiteX0" fmla="*/ 678595 w 678594"/>
                  <a:gd name="connsiteY0" fmla="*/ 111380 h 111380"/>
                  <a:gd name="connsiteX1" fmla="*/ 0 w 678594"/>
                  <a:gd name="connsiteY1" fmla="*/ 111380 h 111380"/>
                  <a:gd name="connsiteX2" fmla="*/ 0 w 678594"/>
                  <a:gd name="connsiteY2" fmla="*/ 0 h 111380"/>
                  <a:gd name="connsiteX3" fmla="*/ 678595 w 678594"/>
                  <a:gd name="connsiteY3" fmla="*/ 0 h 111380"/>
                  <a:gd name="connsiteX4" fmla="*/ 678595 w 678594"/>
                  <a:gd name="connsiteY4" fmla="*/ 111380 h 11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594" h="111380">
                    <a:moveTo>
                      <a:pt x="678595" y="111380"/>
                    </a:moveTo>
                    <a:cubicBezTo>
                      <a:pt x="452079" y="111380"/>
                      <a:pt x="227467" y="111380"/>
                      <a:pt x="0" y="111380"/>
                    </a:cubicBezTo>
                    <a:cubicBezTo>
                      <a:pt x="0" y="74253"/>
                      <a:pt x="0" y="38079"/>
                      <a:pt x="0" y="0"/>
                    </a:cubicBezTo>
                    <a:cubicBezTo>
                      <a:pt x="225564" y="0"/>
                      <a:pt x="451127" y="0"/>
                      <a:pt x="678595" y="0"/>
                    </a:cubicBezTo>
                    <a:cubicBezTo>
                      <a:pt x="678595" y="35223"/>
                      <a:pt x="678595" y="71397"/>
                      <a:pt x="678595" y="111380"/>
                    </a:cubicBezTo>
                    <a:close/>
                  </a:path>
                </a:pathLst>
              </a:custGeom>
              <a:grpFill/>
              <a:ln w="9514"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4611157E-4979-D111-7773-06F975048CB5}"/>
                  </a:ext>
                </a:extLst>
              </p:cNvPr>
              <p:cNvSpPr/>
              <p:nvPr/>
            </p:nvSpPr>
            <p:spPr>
              <a:xfrm>
                <a:off x="5294945" y="2926361"/>
                <a:ext cx="679546" cy="109476"/>
              </a:xfrm>
              <a:custGeom>
                <a:avLst/>
                <a:gdLst>
                  <a:gd name="connsiteX0" fmla="*/ 0 w 679546"/>
                  <a:gd name="connsiteY0" fmla="*/ 109476 h 109476"/>
                  <a:gd name="connsiteX1" fmla="*/ 0 w 679546"/>
                  <a:gd name="connsiteY1" fmla="*/ 0 h 109476"/>
                  <a:gd name="connsiteX2" fmla="*/ 679547 w 679546"/>
                  <a:gd name="connsiteY2" fmla="*/ 0 h 109476"/>
                  <a:gd name="connsiteX3" fmla="*/ 679547 w 679546"/>
                  <a:gd name="connsiteY3" fmla="*/ 109476 h 109476"/>
                  <a:gd name="connsiteX4" fmla="*/ 0 w 679546"/>
                  <a:gd name="connsiteY4" fmla="*/ 109476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0" y="109476"/>
                    </a:moveTo>
                    <a:cubicBezTo>
                      <a:pt x="0" y="72350"/>
                      <a:pt x="0" y="37127"/>
                      <a:pt x="0" y="0"/>
                    </a:cubicBezTo>
                    <a:cubicBezTo>
                      <a:pt x="226515" y="0"/>
                      <a:pt x="451127" y="0"/>
                      <a:pt x="679547" y="0"/>
                    </a:cubicBezTo>
                    <a:cubicBezTo>
                      <a:pt x="679547" y="35223"/>
                      <a:pt x="679547" y="71397"/>
                      <a:pt x="679547" y="109476"/>
                    </a:cubicBezTo>
                    <a:cubicBezTo>
                      <a:pt x="453983" y="109476"/>
                      <a:pt x="228419" y="109476"/>
                      <a:pt x="0" y="109476"/>
                    </a:cubicBezTo>
                    <a:close/>
                  </a:path>
                </a:pathLst>
              </a:custGeom>
              <a:grpFill/>
              <a:ln w="9514"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3421C6E3-6E7F-2D9F-6801-8A554FC72414}"/>
                  </a:ext>
                </a:extLst>
              </p:cNvPr>
              <p:cNvSpPr/>
              <p:nvPr/>
            </p:nvSpPr>
            <p:spPr>
              <a:xfrm>
                <a:off x="5295897" y="3154833"/>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48545418"/>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582D945-AFAD-627A-86C7-4D5226FF17F1}"/>
              </a:ext>
            </a:extLst>
          </p:cNvPr>
          <p:cNvSpPr>
            <a:spLocks noGrp="1"/>
          </p:cNvSpPr>
          <p:nvPr>
            <p:ph type="body" sz="quarter" idx="18"/>
          </p:nvPr>
        </p:nvSpPr>
        <p:spPr>
          <a:xfrm>
            <a:off x="734715" y="2096085"/>
            <a:ext cx="5666086" cy="3528629"/>
          </a:xfrm>
        </p:spPr>
        <p:txBody>
          <a:bodyPr/>
          <a:lstStyle/>
          <a:p>
            <a:pPr marL="12700" indent="-12700"/>
            <a:r>
              <a:rPr lang="en-US">
                <a:latin typeface="Calibri" panose="020F0502020204030204" pitchFamily="34" charset="0"/>
                <a:ea typeface="Calibri" panose="020F0502020204030204" pitchFamily="34" charset="0"/>
                <a:cs typeface="Times New Roman" panose="02020603050405020304" pitchFamily="18" charset="0"/>
              </a:rPr>
              <a:t>El PAQUETE DE CURRÍCULOS Y FORMACIÓN DE EFP SECURE es el primer enfoque holístico de EFP que aborda la detección y resolución tempranas de crisis basándose en un marco desarrollado específicamente para las PYME. Lo hace combinando un enfoque basado en el currículo, que puede adoptarse en la enseñanza y la formación por parte de la EFP, con un enfoque modular, que resulta especialmente útil para los consultores y para que lo utilicen directamente las PYME y los fundadores.</a:t>
            </a:r>
            <a:endParaRPr lang="en-IE">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2" name="Text Placeholder 1">
            <a:extLst>
              <a:ext uri="{FF2B5EF4-FFF2-40B4-BE49-F238E27FC236}">
                <a16:creationId xmlns:a16="http://schemas.microsoft.com/office/drawing/2014/main" id="{0076F57E-724D-C146-BDC0-6F27A4E603DE}"/>
              </a:ext>
            </a:extLst>
          </p:cNvPr>
          <p:cNvSpPr>
            <a:spLocks noGrp="1"/>
          </p:cNvSpPr>
          <p:nvPr>
            <p:ph type="body" sz="quarter" idx="16"/>
          </p:nvPr>
        </p:nvSpPr>
        <p:spPr>
          <a:xfrm>
            <a:off x="734713" y="642972"/>
            <a:ext cx="7241669" cy="1453114"/>
          </a:xfrm>
        </p:spPr>
        <p:txBody>
          <a:bodyPr>
            <a:normAutofit/>
          </a:bodyPr>
          <a:lstStyle/>
          <a:p>
            <a:r>
              <a:rPr lang="en-US"/>
              <a:t>¿Por qué es especial nuestro </a:t>
            </a:r>
            <a:r>
              <a:rPr lang="en-US" b="1">
                <a:effectLst/>
                <a:latin typeface="Calibri" panose="020F0502020204030204" pitchFamily="34" charset="0"/>
                <a:ea typeface="Calibri" panose="020F0502020204030204" pitchFamily="34" charset="0"/>
                <a:cs typeface="Times New Roman" panose="02020603050405020304" pitchFamily="18" charset="0"/>
              </a:rPr>
              <a:t>CURRÍCULO DE </a:t>
            </a:r>
            <a:r>
              <a:rPr lang="en-US"/>
              <a:t>SEGURIDAD </a:t>
            </a:r>
            <a:r>
              <a:rPr lang="en-US" b="1">
                <a:effectLst/>
                <a:latin typeface="Calibri" panose="020F0502020204030204" pitchFamily="34" charset="0"/>
                <a:ea typeface="Calibri" panose="020F0502020204030204" pitchFamily="34" charset="0"/>
                <a:cs typeface="Times New Roman" panose="02020603050405020304" pitchFamily="18" charset="0"/>
              </a:rPr>
              <a:t>y el PAQUETE DE FORMACIÓN VET</a:t>
            </a:r>
            <a:r>
              <a:rPr lang="en-US"/>
              <a:t>?</a:t>
            </a:r>
          </a:p>
        </p:txBody>
      </p:sp>
      <p:pic>
        <p:nvPicPr>
          <p:cNvPr id="5" name="Picture 4" descr="Icon&#10;&#10;Description automatically generated">
            <a:extLst>
              <a:ext uri="{FF2B5EF4-FFF2-40B4-BE49-F238E27FC236}">
                <a16:creationId xmlns:a16="http://schemas.microsoft.com/office/drawing/2014/main" id="{4E8A0052-0A55-522A-2BB0-59E9948A0E76}"/>
              </a:ext>
            </a:extLst>
          </p:cNvPr>
          <p:cNvPicPr/>
          <p:nvPr/>
        </p:nvPicPr>
        <p:blipFill>
          <a:blip r:embed="rId2">
            <a:extLst>
              <a:ext uri="{28A0092B-C50C-407E-A947-70E740481C1C}">
                <a14:useLocalDpi xmlns:a14="http://schemas.microsoft.com/office/drawing/2010/main"/>
              </a:ext>
            </a:extLst>
          </a:blip>
          <a:srcRect l="6291" t="4502" r="13258" b="10881"/>
          <a:stretch>
            <a:fillRect/>
          </a:stretch>
        </p:blipFill>
        <p:spPr>
          <a:xfrm>
            <a:off x="6484950" y="211015"/>
            <a:ext cx="6035215" cy="5830859"/>
          </a:xfrm>
          <a:prstGeom prst="rect">
            <a:avLst/>
          </a:prstGeom>
        </p:spPr>
      </p:pic>
      <p:sp>
        <p:nvSpPr>
          <p:cNvPr id="6" name="Rectangle 5">
            <a:extLst>
              <a:ext uri="{FF2B5EF4-FFF2-40B4-BE49-F238E27FC236}">
                <a16:creationId xmlns:a16="http://schemas.microsoft.com/office/drawing/2014/main" id="{82F49A78-CA2B-C594-04DF-F1CD4FF555A2}"/>
              </a:ext>
            </a:extLst>
          </p:cNvPr>
          <p:cNvSpPr/>
          <p:nvPr/>
        </p:nvSpPr>
        <p:spPr>
          <a:xfrm>
            <a:off x="818862" y="183269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sp>
        <p:nvSpPr>
          <p:cNvPr id="7" name="TextBox 6">
            <a:extLst>
              <a:ext uri="{FF2B5EF4-FFF2-40B4-BE49-F238E27FC236}">
                <a16:creationId xmlns:a16="http://schemas.microsoft.com/office/drawing/2014/main" id="{C9EEC6F1-F743-DD8E-CDA1-31EEF2B94173}"/>
              </a:ext>
            </a:extLst>
          </p:cNvPr>
          <p:cNvSpPr txBox="1"/>
          <p:nvPr/>
        </p:nvSpPr>
        <p:spPr>
          <a:xfrm>
            <a:off x="478544" y="5953418"/>
            <a:ext cx="11600042" cy="523220"/>
          </a:xfrm>
          <a:prstGeom prst="rect">
            <a:avLst/>
          </a:prstGeom>
          <a:noFill/>
        </p:spPr>
        <p:txBody>
          <a:bodyPr wrap="square">
            <a:spAutoFit/>
          </a:bodyPr>
          <a:lstStyle/>
          <a:p>
            <a:r>
              <a:rPr lang="en-GB" sz="1400">
                <a:solidFill>
                  <a:srgbClr val="595959"/>
                </a:solidFill>
              </a:rPr>
              <a:t>"El apoyo de la Comisión Europea a la elaboración de esta publicación no constituye una aprobación de su contenido, que refleja únicamente las opiniones de los autores, y la Comisión no se hace responsable del uso que pueda hacerse de la información contenida en ella."</a:t>
            </a:r>
            <a:endParaRPr lang="en-IE" sz="1400">
              <a:solidFill>
                <a:srgbClr val="595959"/>
              </a:solidFill>
            </a:endParaRPr>
          </a:p>
        </p:txBody>
      </p:sp>
      <p:pic>
        <p:nvPicPr>
          <p:cNvPr id="8" name="Picture 7">
            <a:extLst>
              <a:ext uri="{FF2B5EF4-FFF2-40B4-BE49-F238E27FC236}">
                <a16:creationId xmlns:a16="http://schemas.microsoft.com/office/drawing/2014/main" id="{EA895E61-E0A0-D3A1-E6A8-E9F53A601598}"/>
              </a:ext>
            </a:extLst>
          </p:cNvPr>
          <p:cNvPicPr>
            <a:picLocks noChangeAspect="1"/>
          </p:cNvPicPr>
          <p:nvPr/>
        </p:nvPicPr>
        <p:blipFill>
          <a:blip r:embed="rId3"/>
          <a:stretch>
            <a:fillRect/>
          </a:stretch>
        </p:blipFill>
        <p:spPr>
          <a:xfrm>
            <a:off x="7836195" y="2213491"/>
            <a:ext cx="4171507" cy="3575575"/>
          </a:xfrm>
          <a:prstGeom prst="rect">
            <a:avLst/>
          </a:prstGeom>
        </p:spPr>
      </p:pic>
    </p:spTree>
    <p:extLst>
      <p:ext uri="{BB962C8B-B14F-4D97-AF65-F5344CB8AC3E}">
        <p14:creationId xmlns:p14="http://schemas.microsoft.com/office/powerpoint/2010/main" val="259500589"/>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344234"/>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a:solidFill>
                  <a:schemeClr val="bg1"/>
                </a:solidFill>
              </a:rPr>
              <a:t>05 </a:t>
            </a:r>
            <a:r>
              <a:rPr lang="en-IE">
                <a:solidFill>
                  <a:schemeClr val="bg1"/>
                </a:solidFill>
              </a:rPr>
              <a:t>Aprendizaje y resiliencia </a:t>
            </a:r>
            <a:endParaRPr lang="en-US">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316725" y="1828977"/>
            <a:ext cx="9377743" cy="4503942"/>
          </a:xfrm>
        </p:spPr>
        <p:txBody>
          <a:bodyPr>
            <a:normAutofit fontScale="92500" lnSpcReduction="10000"/>
          </a:bodyPr>
          <a:lstStyle/>
          <a:p>
            <a:pPr marL="12700" indent="-12700" algn="just">
              <a:lnSpc>
                <a:spcPct val="110000"/>
              </a:lnSpc>
            </a:pPr>
            <a:r>
              <a:rPr lang="en-GB" b="0" i="0">
                <a:effectLst/>
                <a:latin typeface="Finlandica"/>
              </a:rPr>
              <a:t>La crisis de COVID-19 ha hecho que muchos se den cuenta de la importancia de la resistencia en las operaciones de una empresa, y seguro que no será la última crisis a la que nos enfrentemos. La resiliencia es algo que debe construirse antes de la crisis, no durante ella. La resiliencia puede definirse como la capacidad de un sistema, ya sea una organización, un individuo o una economía, para afrontar el cambio y seguir desarrollándose. La resiliencia no es una característica inherente, sino que debe planificarse y construirse sistemáticamente, y adoptarse en las actividades diarias de las empresas. La planificación y la preparación desempeñan un papel crucial: construir diferentes escenarios, crear flexibilidad y confianza. Cuando la resiliencia se incorpora a un sistema, los cambios inesperados no provocan una tragedia, sino nuevas oportunidades.</a:t>
            </a:r>
          </a:p>
          <a:p>
            <a:pPr marL="12700" indent="-12700" algn="just">
              <a:lnSpc>
                <a:spcPct val="110000"/>
              </a:lnSpc>
            </a:pPr>
            <a:r>
              <a:rPr lang="en-US" b="1">
                <a:solidFill>
                  <a:schemeClr val="bg1"/>
                </a:solidFill>
                <a:highlight>
                  <a:srgbClr val="F16924"/>
                </a:highlight>
              </a:rPr>
              <a:t>LEER </a:t>
            </a:r>
            <a:r>
              <a:rPr lang="en-GB">
                <a:latin typeface="Finlandica"/>
              </a:rPr>
              <a:t>La resiliencia en las empresas manufactureras finlandesas </a:t>
            </a:r>
            <a:r>
              <a:rPr lang="en-GB">
                <a:solidFill>
                  <a:srgbClr val="B41F7A"/>
                </a:solidFill>
                <a:hlinkClick r:id="rId3">
                  <a:extLst>
                    <a:ext uri="{A12FA001-AC4F-418D-AE19-62706E023703}">
                      <ahyp:hlinkClr xmlns:ahyp="http://schemas.microsoft.com/office/drawing/2018/hyperlinkcolor" val="tx"/>
                    </a:ext>
                  </a:extLst>
                </a:hlinkClick>
              </a:rPr>
              <a:t>Lo sostenible es resiliente: ¿cómo prepararse para la crisis y crecer de forma sostenible? - Empresas de Finlandia</a:t>
            </a:r>
            <a:endParaRPr lang="en-GB">
              <a:solidFill>
                <a:srgbClr val="B41F7A"/>
              </a:solidFill>
              <a:latin typeface="Calibri" panose="020F0502020204030204" pitchFamily="34" charset="0"/>
              <a:ea typeface="Lato Light" panose="020F0502020204030203"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EA1C701F-EE2E-9A70-964F-98BE08741BDA}"/>
              </a:ext>
            </a:extLst>
          </p:cNvPr>
          <p:cNvGrpSpPr/>
          <p:nvPr/>
        </p:nvGrpSpPr>
        <p:grpSpPr>
          <a:xfrm>
            <a:off x="497532" y="1828977"/>
            <a:ext cx="912267" cy="912987"/>
            <a:chOff x="2845389" y="1612886"/>
            <a:chExt cx="3419384" cy="3422081"/>
          </a:xfrm>
          <a:solidFill>
            <a:srgbClr val="595959"/>
          </a:solidFill>
        </p:grpSpPr>
        <p:sp>
          <p:nvSpPr>
            <p:cNvPr id="5" name="Freeform 4">
              <a:extLst>
                <a:ext uri="{FF2B5EF4-FFF2-40B4-BE49-F238E27FC236}">
                  <a16:creationId xmlns:a16="http://schemas.microsoft.com/office/drawing/2014/main" id="{44D958D1-B2BC-971A-B22B-81B53760C122}"/>
                </a:ext>
              </a:extLst>
            </p:cNvPr>
            <p:cNvSpPr/>
            <p:nvPr/>
          </p:nvSpPr>
          <p:spPr>
            <a:xfrm>
              <a:off x="4625981" y="1744565"/>
              <a:ext cx="1591319" cy="1762089"/>
            </a:xfrm>
            <a:custGeom>
              <a:avLst/>
              <a:gdLst>
                <a:gd name="connsiteX0" fmla="*/ 1590367 w 1591319"/>
                <a:gd name="connsiteY0" fmla="*/ 1762090 h 1762089"/>
                <a:gd name="connsiteX1" fmla="*/ 453031 w 1591319"/>
                <a:gd name="connsiteY1" fmla="*/ 1762090 h 1762089"/>
                <a:gd name="connsiteX2" fmla="*/ 453031 w 1591319"/>
                <a:gd name="connsiteY2" fmla="*/ 1608823 h 1762089"/>
                <a:gd name="connsiteX3" fmla="*/ 379747 w 1591319"/>
                <a:gd name="connsiteY3" fmla="*/ 1535522 h 1762089"/>
                <a:gd name="connsiteX4" fmla="*/ 0 w 1591319"/>
                <a:gd name="connsiteY4" fmla="*/ 1535522 h 1762089"/>
                <a:gd name="connsiteX5" fmla="*/ 0 w 1591319"/>
                <a:gd name="connsiteY5" fmla="*/ 1434613 h 1762089"/>
                <a:gd name="connsiteX6" fmla="*/ 246502 w 1591319"/>
                <a:gd name="connsiteY6" fmla="*/ 1251836 h 1762089"/>
                <a:gd name="connsiteX7" fmla="*/ 536785 w 1591319"/>
                <a:gd name="connsiteY7" fmla="*/ 962438 h 1762089"/>
                <a:gd name="connsiteX8" fmla="*/ 536785 w 1591319"/>
                <a:gd name="connsiteY8" fmla="*/ 853914 h 1762089"/>
                <a:gd name="connsiteX9" fmla="*/ 420672 w 1591319"/>
                <a:gd name="connsiteY9" fmla="*/ 740630 h 1762089"/>
                <a:gd name="connsiteX10" fmla="*/ 724279 w 1591319"/>
                <a:gd name="connsiteY10" fmla="*/ 439809 h 1762089"/>
                <a:gd name="connsiteX11" fmla="*/ 638622 w 1591319"/>
                <a:gd name="connsiteY11" fmla="*/ 362699 h 1762089"/>
                <a:gd name="connsiteX12" fmla="*/ 348339 w 1591319"/>
                <a:gd name="connsiteY12" fmla="*/ 657809 h 1762089"/>
                <a:gd name="connsiteX13" fmla="*/ 217950 w 1591319"/>
                <a:gd name="connsiteY13" fmla="*/ 665425 h 1762089"/>
                <a:gd name="connsiteX14" fmla="*/ 8566 w 1591319"/>
                <a:gd name="connsiteY14" fmla="*/ 873905 h 1762089"/>
                <a:gd name="connsiteX15" fmla="*/ 0 w 1591319"/>
                <a:gd name="connsiteY15" fmla="*/ 877713 h 1762089"/>
                <a:gd name="connsiteX16" fmla="*/ 0 w 1591319"/>
                <a:gd name="connsiteY16" fmla="*/ 0 h 1762089"/>
                <a:gd name="connsiteX17" fmla="*/ 1591319 w 1591319"/>
                <a:gd name="connsiteY17" fmla="*/ 0 h 1762089"/>
                <a:gd name="connsiteX18" fmla="*/ 1590367 w 1591319"/>
                <a:gd name="connsiteY18" fmla="*/ 1762090 h 1762089"/>
                <a:gd name="connsiteX19" fmla="*/ 313125 w 1591319"/>
                <a:gd name="connsiteY19" fmla="*/ 286542 h 1762089"/>
                <a:gd name="connsiteX20" fmla="*/ 364519 w 1591319"/>
                <a:gd name="connsiteY20" fmla="*/ 388402 h 1762089"/>
                <a:gd name="connsiteX21" fmla="*/ 654801 w 1591319"/>
                <a:gd name="connsiteY21" fmla="*/ 242751 h 1762089"/>
                <a:gd name="connsiteX22" fmla="*/ 707147 w 1591319"/>
                <a:gd name="connsiteY22" fmla="*/ 242751 h 1762089"/>
                <a:gd name="connsiteX23" fmla="*/ 980298 w 1591319"/>
                <a:gd name="connsiteY23" fmla="*/ 380786 h 1762089"/>
                <a:gd name="connsiteX24" fmla="*/ 1064052 w 1591319"/>
                <a:gd name="connsiteY24" fmla="*/ 380786 h 1762089"/>
                <a:gd name="connsiteX25" fmla="*/ 1257256 w 1591319"/>
                <a:gd name="connsiteY25" fmla="*/ 283686 h 1762089"/>
                <a:gd name="connsiteX26" fmla="*/ 1389549 w 1591319"/>
                <a:gd name="connsiteY26" fmla="*/ 218000 h 1762089"/>
                <a:gd name="connsiteX27" fmla="*/ 1338155 w 1591319"/>
                <a:gd name="connsiteY27" fmla="*/ 116140 h 1762089"/>
                <a:gd name="connsiteX28" fmla="*/ 1048824 w 1591319"/>
                <a:gd name="connsiteY28" fmla="*/ 260839 h 1762089"/>
                <a:gd name="connsiteX29" fmla="*/ 996478 w 1591319"/>
                <a:gd name="connsiteY29" fmla="*/ 261791 h 1762089"/>
                <a:gd name="connsiteX30" fmla="*/ 719520 w 1591319"/>
                <a:gd name="connsiteY30" fmla="*/ 123756 h 1762089"/>
                <a:gd name="connsiteX31" fmla="*/ 659560 w 1591319"/>
                <a:gd name="connsiteY31" fmla="*/ 115188 h 1762089"/>
                <a:gd name="connsiteX32" fmla="*/ 313125 w 1591319"/>
                <a:gd name="connsiteY32" fmla="*/ 286542 h 1762089"/>
                <a:gd name="connsiteX33" fmla="*/ 1420005 w 1591319"/>
                <a:gd name="connsiteY33" fmla="*/ 739678 h 1762089"/>
                <a:gd name="connsiteX34" fmla="*/ 740458 w 1591319"/>
                <a:gd name="connsiteY34" fmla="*/ 739678 h 1762089"/>
                <a:gd name="connsiteX35" fmla="*/ 740458 w 1591319"/>
                <a:gd name="connsiteY35" fmla="*/ 849154 h 1762089"/>
                <a:gd name="connsiteX36" fmla="*/ 1420005 w 1591319"/>
                <a:gd name="connsiteY36" fmla="*/ 849154 h 1762089"/>
                <a:gd name="connsiteX37" fmla="*/ 1420005 w 1591319"/>
                <a:gd name="connsiteY37" fmla="*/ 739678 h 1762089"/>
                <a:gd name="connsiteX38" fmla="*/ 1418101 w 1591319"/>
                <a:gd name="connsiteY38" fmla="*/ 1077626 h 1762089"/>
                <a:gd name="connsiteX39" fmla="*/ 1418101 w 1591319"/>
                <a:gd name="connsiteY39" fmla="*/ 966246 h 1762089"/>
                <a:gd name="connsiteX40" fmla="*/ 739507 w 1591319"/>
                <a:gd name="connsiteY40" fmla="*/ 966246 h 1762089"/>
                <a:gd name="connsiteX41" fmla="*/ 739507 w 1591319"/>
                <a:gd name="connsiteY41" fmla="*/ 1077626 h 1762089"/>
                <a:gd name="connsiteX42" fmla="*/ 1418101 w 1591319"/>
                <a:gd name="connsiteY42" fmla="*/ 1077626 h 1762089"/>
                <a:gd name="connsiteX43" fmla="*/ 738555 w 1591319"/>
                <a:gd name="connsiteY43" fmla="*/ 1305146 h 1762089"/>
                <a:gd name="connsiteX44" fmla="*/ 1418101 w 1591319"/>
                <a:gd name="connsiteY44" fmla="*/ 1305146 h 1762089"/>
                <a:gd name="connsiteX45" fmla="*/ 1418101 w 1591319"/>
                <a:gd name="connsiteY45" fmla="*/ 1195670 h 1762089"/>
                <a:gd name="connsiteX46" fmla="*/ 738555 w 1591319"/>
                <a:gd name="connsiteY46" fmla="*/ 1195670 h 1762089"/>
                <a:gd name="connsiteX47" fmla="*/ 738555 w 1591319"/>
                <a:gd name="connsiteY47" fmla="*/ 1305146 h 1762089"/>
                <a:gd name="connsiteX48" fmla="*/ 1420005 w 1591319"/>
                <a:gd name="connsiteY48" fmla="*/ 1424142 h 1762089"/>
                <a:gd name="connsiteX49" fmla="*/ 740458 w 1591319"/>
                <a:gd name="connsiteY49" fmla="*/ 1424142 h 1762089"/>
                <a:gd name="connsiteX50" fmla="*/ 740458 w 1591319"/>
                <a:gd name="connsiteY50" fmla="*/ 1533618 h 1762089"/>
                <a:gd name="connsiteX51" fmla="*/ 1420005 w 1591319"/>
                <a:gd name="connsiteY51" fmla="*/ 1533618 h 1762089"/>
                <a:gd name="connsiteX52" fmla="*/ 1420005 w 1591319"/>
                <a:gd name="connsiteY52" fmla="*/ 1424142 h 176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91319" h="1762089">
                  <a:moveTo>
                    <a:pt x="1590367" y="1762090"/>
                  </a:moveTo>
                  <a:cubicBezTo>
                    <a:pt x="1210621" y="1762090"/>
                    <a:pt x="833729" y="1762090"/>
                    <a:pt x="453031" y="1762090"/>
                  </a:cubicBezTo>
                  <a:cubicBezTo>
                    <a:pt x="453031" y="1709732"/>
                    <a:pt x="453031" y="1659278"/>
                    <a:pt x="453031" y="1608823"/>
                  </a:cubicBezTo>
                  <a:cubicBezTo>
                    <a:pt x="453031" y="1555513"/>
                    <a:pt x="433996" y="1535522"/>
                    <a:pt x="379747" y="1535522"/>
                  </a:cubicBezTo>
                  <a:cubicBezTo>
                    <a:pt x="254116" y="1535522"/>
                    <a:pt x="128486" y="1535522"/>
                    <a:pt x="0" y="1535522"/>
                  </a:cubicBezTo>
                  <a:cubicBezTo>
                    <a:pt x="0" y="1503155"/>
                    <a:pt x="0" y="1471740"/>
                    <a:pt x="0" y="1434613"/>
                  </a:cubicBezTo>
                  <a:cubicBezTo>
                    <a:pt x="109451" y="1414622"/>
                    <a:pt x="172266" y="1325137"/>
                    <a:pt x="246502" y="1251836"/>
                  </a:cubicBezTo>
                  <a:cubicBezTo>
                    <a:pt x="344532" y="1156639"/>
                    <a:pt x="439707" y="1058587"/>
                    <a:pt x="536785" y="962438"/>
                  </a:cubicBezTo>
                  <a:cubicBezTo>
                    <a:pt x="578662" y="920552"/>
                    <a:pt x="578662" y="895800"/>
                    <a:pt x="536785" y="853914"/>
                  </a:cubicBezTo>
                  <a:cubicBezTo>
                    <a:pt x="498715" y="815835"/>
                    <a:pt x="460645" y="779661"/>
                    <a:pt x="420672" y="740630"/>
                  </a:cubicBezTo>
                  <a:cubicBezTo>
                    <a:pt x="523460" y="638769"/>
                    <a:pt x="622442" y="539765"/>
                    <a:pt x="724279" y="439809"/>
                  </a:cubicBezTo>
                  <a:cubicBezTo>
                    <a:pt x="691919" y="411250"/>
                    <a:pt x="666222" y="387450"/>
                    <a:pt x="638622" y="362699"/>
                  </a:cubicBezTo>
                  <a:cubicBezTo>
                    <a:pt x="543447" y="458848"/>
                    <a:pt x="445417" y="558804"/>
                    <a:pt x="348339" y="657809"/>
                  </a:cubicBezTo>
                  <a:cubicBezTo>
                    <a:pt x="280765" y="612114"/>
                    <a:pt x="270296" y="613066"/>
                    <a:pt x="217950" y="665425"/>
                  </a:cubicBezTo>
                  <a:cubicBezTo>
                    <a:pt x="148472" y="734918"/>
                    <a:pt x="78043" y="804412"/>
                    <a:pt x="8566" y="873905"/>
                  </a:cubicBezTo>
                  <a:cubicBezTo>
                    <a:pt x="7614" y="874857"/>
                    <a:pt x="4759" y="875809"/>
                    <a:pt x="0" y="877713"/>
                  </a:cubicBezTo>
                  <a:cubicBezTo>
                    <a:pt x="0" y="585459"/>
                    <a:pt x="0" y="294158"/>
                    <a:pt x="0" y="0"/>
                  </a:cubicBezTo>
                  <a:cubicBezTo>
                    <a:pt x="529171" y="0"/>
                    <a:pt x="1059293" y="0"/>
                    <a:pt x="1591319" y="0"/>
                  </a:cubicBezTo>
                  <a:cubicBezTo>
                    <a:pt x="1590367" y="584507"/>
                    <a:pt x="1590367" y="1171871"/>
                    <a:pt x="1590367" y="1762090"/>
                  </a:cubicBezTo>
                  <a:close/>
                  <a:moveTo>
                    <a:pt x="313125" y="286542"/>
                  </a:moveTo>
                  <a:cubicBezTo>
                    <a:pt x="331208" y="323669"/>
                    <a:pt x="347387" y="355083"/>
                    <a:pt x="364519" y="388402"/>
                  </a:cubicBezTo>
                  <a:cubicBezTo>
                    <a:pt x="462549" y="339852"/>
                    <a:pt x="559627" y="292254"/>
                    <a:pt x="654801" y="242751"/>
                  </a:cubicBezTo>
                  <a:cubicBezTo>
                    <a:pt x="673836" y="233232"/>
                    <a:pt x="688112" y="233232"/>
                    <a:pt x="707147" y="242751"/>
                  </a:cubicBezTo>
                  <a:cubicBezTo>
                    <a:pt x="797563" y="289398"/>
                    <a:pt x="889882" y="333188"/>
                    <a:pt x="980298" y="380786"/>
                  </a:cubicBezTo>
                  <a:cubicBezTo>
                    <a:pt x="1009802" y="396018"/>
                    <a:pt x="1034548" y="396970"/>
                    <a:pt x="1064052" y="380786"/>
                  </a:cubicBezTo>
                  <a:cubicBezTo>
                    <a:pt x="1127819" y="347468"/>
                    <a:pt x="1193490" y="316053"/>
                    <a:pt x="1257256" y="283686"/>
                  </a:cubicBezTo>
                  <a:cubicBezTo>
                    <a:pt x="1300085" y="261791"/>
                    <a:pt x="1343865" y="240847"/>
                    <a:pt x="1389549" y="218000"/>
                  </a:cubicBezTo>
                  <a:cubicBezTo>
                    <a:pt x="1371466" y="181826"/>
                    <a:pt x="1355286" y="150411"/>
                    <a:pt x="1338155" y="116140"/>
                  </a:cubicBezTo>
                  <a:cubicBezTo>
                    <a:pt x="1239173" y="165642"/>
                    <a:pt x="1143999" y="212288"/>
                    <a:pt x="1048824" y="260839"/>
                  </a:cubicBezTo>
                  <a:cubicBezTo>
                    <a:pt x="1029789" y="270358"/>
                    <a:pt x="1015513" y="271310"/>
                    <a:pt x="996478" y="261791"/>
                  </a:cubicBezTo>
                  <a:cubicBezTo>
                    <a:pt x="905110" y="214192"/>
                    <a:pt x="812791" y="168498"/>
                    <a:pt x="719520" y="123756"/>
                  </a:cubicBezTo>
                  <a:cubicBezTo>
                    <a:pt x="701437" y="115188"/>
                    <a:pt x="674788" y="108524"/>
                    <a:pt x="659560" y="115188"/>
                  </a:cubicBezTo>
                  <a:cubicBezTo>
                    <a:pt x="544399" y="170402"/>
                    <a:pt x="431141" y="228472"/>
                    <a:pt x="313125" y="286542"/>
                  </a:cubicBezTo>
                  <a:close/>
                  <a:moveTo>
                    <a:pt x="1420005" y="739678"/>
                  </a:moveTo>
                  <a:cubicBezTo>
                    <a:pt x="1191586" y="739678"/>
                    <a:pt x="965071" y="739678"/>
                    <a:pt x="740458" y="739678"/>
                  </a:cubicBezTo>
                  <a:cubicBezTo>
                    <a:pt x="740458" y="777757"/>
                    <a:pt x="740458" y="813931"/>
                    <a:pt x="740458" y="849154"/>
                  </a:cubicBezTo>
                  <a:cubicBezTo>
                    <a:pt x="967926" y="849154"/>
                    <a:pt x="1193490" y="849154"/>
                    <a:pt x="1420005" y="849154"/>
                  </a:cubicBezTo>
                  <a:cubicBezTo>
                    <a:pt x="1420005" y="812027"/>
                    <a:pt x="1420005" y="776805"/>
                    <a:pt x="1420005" y="739678"/>
                  </a:cubicBezTo>
                  <a:close/>
                  <a:moveTo>
                    <a:pt x="1418101" y="1077626"/>
                  </a:moveTo>
                  <a:cubicBezTo>
                    <a:pt x="1418101" y="1037643"/>
                    <a:pt x="1418101" y="1001469"/>
                    <a:pt x="1418101" y="966246"/>
                  </a:cubicBezTo>
                  <a:cubicBezTo>
                    <a:pt x="1190634" y="966246"/>
                    <a:pt x="965071" y="966246"/>
                    <a:pt x="739507" y="966246"/>
                  </a:cubicBezTo>
                  <a:cubicBezTo>
                    <a:pt x="739507" y="1004324"/>
                    <a:pt x="739507" y="1040499"/>
                    <a:pt x="739507" y="1077626"/>
                  </a:cubicBezTo>
                  <a:cubicBezTo>
                    <a:pt x="966974" y="1077626"/>
                    <a:pt x="1191586" y="1077626"/>
                    <a:pt x="1418101" y="1077626"/>
                  </a:cubicBezTo>
                  <a:close/>
                  <a:moveTo>
                    <a:pt x="738555" y="1305146"/>
                  </a:moveTo>
                  <a:cubicBezTo>
                    <a:pt x="966974" y="1305146"/>
                    <a:pt x="1193490" y="1305146"/>
                    <a:pt x="1418101" y="1305146"/>
                  </a:cubicBezTo>
                  <a:cubicBezTo>
                    <a:pt x="1418101" y="1266115"/>
                    <a:pt x="1418101" y="1230893"/>
                    <a:pt x="1418101" y="1195670"/>
                  </a:cubicBezTo>
                  <a:cubicBezTo>
                    <a:pt x="1190634" y="1195670"/>
                    <a:pt x="965071" y="1195670"/>
                    <a:pt x="738555" y="1195670"/>
                  </a:cubicBezTo>
                  <a:cubicBezTo>
                    <a:pt x="738555" y="1231845"/>
                    <a:pt x="738555" y="1267067"/>
                    <a:pt x="738555" y="1305146"/>
                  </a:cubicBezTo>
                  <a:close/>
                  <a:moveTo>
                    <a:pt x="1420005" y="1424142"/>
                  </a:moveTo>
                  <a:cubicBezTo>
                    <a:pt x="1191586" y="1424142"/>
                    <a:pt x="965071" y="1424142"/>
                    <a:pt x="740458" y="1424142"/>
                  </a:cubicBezTo>
                  <a:cubicBezTo>
                    <a:pt x="740458" y="1462220"/>
                    <a:pt x="740458" y="1498395"/>
                    <a:pt x="740458" y="1533618"/>
                  </a:cubicBezTo>
                  <a:cubicBezTo>
                    <a:pt x="967926" y="1533618"/>
                    <a:pt x="1193490" y="1533618"/>
                    <a:pt x="1420005" y="1533618"/>
                  </a:cubicBezTo>
                  <a:cubicBezTo>
                    <a:pt x="1420005" y="1496491"/>
                    <a:pt x="1420005" y="1461268"/>
                    <a:pt x="1420005" y="1424142"/>
                  </a:cubicBezTo>
                  <a:close/>
                </a:path>
              </a:pathLst>
            </a:custGeom>
            <a:solidFill>
              <a:srgbClr val="F16924"/>
            </a:solidFill>
            <a:ln w="9514"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974C2706-2496-00AF-249A-48C9C6D37500}"/>
                </a:ext>
              </a:extLst>
            </p:cNvPr>
            <p:cNvGrpSpPr/>
            <p:nvPr/>
          </p:nvGrpSpPr>
          <p:grpSpPr>
            <a:xfrm>
              <a:off x="2845389" y="1612886"/>
              <a:ext cx="3419384" cy="3422081"/>
              <a:chOff x="2845389" y="1612886"/>
              <a:chExt cx="3419384" cy="3422081"/>
            </a:xfrm>
            <a:grpFill/>
          </p:grpSpPr>
          <p:sp>
            <p:nvSpPr>
              <p:cNvPr id="10" name="Freeform 9">
                <a:extLst>
                  <a:ext uri="{FF2B5EF4-FFF2-40B4-BE49-F238E27FC236}">
                    <a16:creationId xmlns:a16="http://schemas.microsoft.com/office/drawing/2014/main" id="{FBAFFE75-D104-EA26-E548-CAD2613B1998}"/>
                  </a:ext>
                </a:extLst>
              </p:cNvPr>
              <p:cNvSpPr/>
              <p:nvPr/>
            </p:nvSpPr>
            <p:spPr>
              <a:xfrm>
                <a:off x="2845389" y="1612886"/>
                <a:ext cx="3419384" cy="2222603"/>
              </a:xfrm>
              <a:custGeom>
                <a:avLst/>
                <a:gdLst>
                  <a:gd name="connsiteX0" fmla="*/ 486104 w 3419384"/>
                  <a:gd name="connsiteY0" fmla="*/ 684226 h 2222603"/>
                  <a:gd name="connsiteX1" fmla="*/ 399495 w 3419384"/>
                  <a:gd name="connsiteY1" fmla="*/ 489073 h 2222603"/>
                  <a:gd name="connsiteX2" fmla="*/ 398544 w 3419384"/>
                  <a:gd name="connsiteY2" fmla="*/ 147317 h 2222603"/>
                  <a:gd name="connsiteX3" fmla="*/ 564147 w 3419384"/>
                  <a:gd name="connsiteY3" fmla="*/ 714 h 2222603"/>
                  <a:gd name="connsiteX4" fmla="*/ 909631 w 3419384"/>
                  <a:gd name="connsiteY4" fmla="*/ 714 h 2222603"/>
                  <a:gd name="connsiteX5" fmla="*/ 1080945 w 3419384"/>
                  <a:gd name="connsiteY5" fmla="*/ 171116 h 2222603"/>
                  <a:gd name="connsiteX6" fmla="*/ 1102836 w 3419384"/>
                  <a:gd name="connsiteY6" fmla="*/ 258697 h 2222603"/>
                  <a:gd name="connsiteX7" fmla="*/ 1181831 w 3419384"/>
                  <a:gd name="connsiteY7" fmla="*/ 418627 h 2222603"/>
                  <a:gd name="connsiteX8" fmla="*/ 1121870 w 3419384"/>
                  <a:gd name="connsiteY8" fmla="*/ 514776 h 2222603"/>
                  <a:gd name="connsiteX9" fmla="*/ 1085704 w 3419384"/>
                  <a:gd name="connsiteY9" fmla="*/ 514776 h 2222603"/>
                  <a:gd name="connsiteX10" fmla="*/ 1003854 w 3419384"/>
                  <a:gd name="connsiteY10" fmla="*/ 686130 h 2222603"/>
                  <a:gd name="connsiteX11" fmla="*/ 1151375 w 3419384"/>
                  <a:gd name="connsiteY11" fmla="*/ 685178 h 2222603"/>
                  <a:gd name="connsiteX12" fmla="*/ 1456885 w 3419384"/>
                  <a:gd name="connsiteY12" fmla="*/ 826069 h 2222603"/>
                  <a:gd name="connsiteX13" fmla="*/ 1594888 w 3419384"/>
                  <a:gd name="connsiteY13" fmla="*/ 987903 h 2222603"/>
                  <a:gd name="connsiteX14" fmla="*/ 1594888 w 3419384"/>
                  <a:gd name="connsiteY14" fmla="*/ 942209 h 2222603"/>
                  <a:gd name="connsiteX15" fmla="*/ 1594888 w 3419384"/>
                  <a:gd name="connsiteY15" fmla="*/ 83535 h 2222603"/>
                  <a:gd name="connsiteX16" fmla="*/ 1677690 w 3419384"/>
                  <a:gd name="connsiteY16" fmla="*/ 2618 h 2222603"/>
                  <a:gd name="connsiteX17" fmla="*/ 3337535 w 3419384"/>
                  <a:gd name="connsiteY17" fmla="*/ 2618 h 2222603"/>
                  <a:gd name="connsiteX18" fmla="*/ 3419385 w 3419384"/>
                  <a:gd name="connsiteY18" fmla="*/ 84487 h 2222603"/>
                  <a:gd name="connsiteX19" fmla="*/ 3419385 w 3419384"/>
                  <a:gd name="connsiteY19" fmla="*/ 1916070 h 2222603"/>
                  <a:gd name="connsiteX20" fmla="*/ 3337535 w 3419384"/>
                  <a:gd name="connsiteY20" fmla="*/ 1997940 h 2222603"/>
                  <a:gd name="connsiteX21" fmla="*/ 2098362 w 3419384"/>
                  <a:gd name="connsiteY21" fmla="*/ 1997940 h 2222603"/>
                  <a:gd name="connsiteX22" fmla="*/ 2052678 w 3419384"/>
                  <a:gd name="connsiteY22" fmla="*/ 1997940 h 2222603"/>
                  <a:gd name="connsiteX23" fmla="*/ 2052678 w 3419384"/>
                  <a:gd name="connsiteY23" fmla="*/ 2110272 h 2222603"/>
                  <a:gd name="connsiteX24" fmla="*/ 1939420 w 3419384"/>
                  <a:gd name="connsiteY24" fmla="*/ 2110272 h 2222603"/>
                  <a:gd name="connsiteX25" fmla="*/ 1939420 w 3419384"/>
                  <a:gd name="connsiteY25" fmla="*/ 1999843 h 2222603"/>
                  <a:gd name="connsiteX26" fmla="*/ 229133 w 3419384"/>
                  <a:gd name="connsiteY26" fmla="*/ 1999843 h 2222603"/>
                  <a:gd name="connsiteX27" fmla="*/ 229133 w 3419384"/>
                  <a:gd name="connsiteY27" fmla="*/ 2222604 h 2222603"/>
                  <a:gd name="connsiteX28" fmla="*/ 114923 w 3419384"/>
                  <a:gd name="connsiteY28" fmla="*/ 2222604 h 2222603"/>
                  <a:gd name="connsiteX29" fmla="*/ 114923 w 3419384"/>
                  <a:gd name="connsiteY29" fmla="*/ 1996988 h 2222603"/>
                  <a:gd name="connsiteX30" fmla="*/ 58770 w 3419384"/>
                  <a:gd name="connsiteY30" fmla="*/ 1996988 h 2222603"/>
                  <a:gd name="connsiteX31" fmla="*/ 714 w 3419384"/>
                  <a:gd name="connsiteY31" fmla="*/ 1937966 h 2222603"/>
                  <a:gd name="connsiteX32" fmla="*/ 714 w 3419384"/>
                  <a:gd name="connsiteY32" fmla="*/ 1713302 h 2222603"/>
                  <a:gd name="connsiteX33" fmla="*/ 59722 w 3419384"/>
                  <a:gd name="connsiteY33" fmla="*/ 1655232 h 2222603"/>
                  <a:gd name="connsiteX34" fmla="*/ 173932 w 3419384"/>
                  <a:gd name="connsiteY34" fmla="*/ 1655232 h 2222603"/>
                  <a:gd name="connsiteX35" fmla="*/ 113972 w 3419384"/>
                  <a:gd name="connsiteY35" fmla="*/ 1388681 h 2222603"/>
                  <a:gd name="connsiteX36" fmla="*/ 113972 w 3419384"/>
                  <a:gd name="connsiteY36" fmla="*/ 982191 h 2222603"/>
                  <a:gd name="connsiteX37" fmla="*/ 409965 w 3419384"/>
                  <a:gd name="connsiteY37" fmla="*/ 685178 h 2222603"/>
                  <a:gd name="connsiteX38" fmla="*/ 486104 w 3419384"/>
                  <a:gd name="connsiteY38" fmla="*/ 684226 h 2222603"/>
                  <a:gd name="connsiteX39" fmla="*/ 3300417 w 3419384"/>
                  <a:gd name="connsiteY39" fmla="*/ 1879896 h 2222603"/>
                  <a:gd name="connsiteX40" fmla="*/ 3300417 w 3419384"/>
                  <a:gd name="connsiteY40" fmla="*/ 116854 h 2222603"/>
                  <a:gd name="connsiteX41" fmla="*/ 1709098 w 3419384"/>
                  <a:gd name="connsiteY41" fmla="*/ 116854 h 2222603"/>
                  <a:gd name="connsiteX42" fmla="*/ 1709098 w 3419384"/>
                  <a:gd name="connsiteY42" fmla="*/ 994567 h 2222603"/>
                  <a:gd name="connsiteX43" fmla="*/ 1717663 w 3419384"/>
                  <a:gd name="connsiteY43" fmla="*/ 990759 h 2222603"/>
                  <a:gd name="connsiteX44" fmla="*/ 1927048 w 3419384"/>
                  <a:gd name="connsiteY44" fmla="*/ 782278 h 2222603"/>
                  <a:gd name="connsiteX45" fmla="*/ 2057437 w 3419384"/>
                  <a:gd name="connsiteY45" fmla="*/ 774663 h 2222603"/>
                  <a:gd name="connsiteX46" fmla="*/ 2347719 w 3419384"/>
                  <a:gd name="connsiteY46" fmla="*/ 479553 h 2222603"/>
                  <a:gd name="connsiteX47" fmla="*/ 2433376 w 3419384"/>
                  <a:gd name="connsiteY47" fmla="*/ 556662 h 2222603"/>
                  <a:gd name="connsiteX48" fmla="*/ 2129769 w 3419384"/>
                  <a:gd name="connsiteY48" fmla="*/ 857484 h 2222603"/>
                  <a:gd name="connsiteX49" fmla="*/ 2245882 w 3419384"/>
                  <a:gd name="connsiteY49" fmla="*/ 970768 h 2222603"/>
                  <a:gd name="connsiteX50" fmla="*/ 2245882 w 3419384"/>
                  <a:gd name="connsiteY50" fmla="*/ 1079292 h 2222603"/>
                  <a:gd name="connsiteX51" fmla="*/ 1955600 w 3419384"/>
                  <a:gd name="connsiteY51" fmla="*/ 1368690 h 2222603"/>
                  <a:gd name="connsiteX52" fmla="*/ 1709098 w 3419384"/>
                  <a:gd name="connsiteY52" fmla="*/ 1551467 h 2222603"/>
                  <a:gd name="connsiteX53" fmla="*/ 1709098 w 3419384"/>
                  <a:gd name="connsiteY53" fmla="*/ 1652376 h 2222603"/>
                  <a:gd name="connsiteX54" fmla="*/ 2088844 w 3419384"/>
                  <a:gd name="connsiteY54" fmla="*/ 1652376 h 2222603"/>
                  <a:gd name="connsiteX55" fmla="*/ 2162129 w 3419384"/>
                  <a:gd name="connsiteY55" fmla="*/ 1725677 h 2222603"/>
                  <a:gd name="connsiteX56" fmla="*/ 2162129 w 3419384"/>
                  <a:gd name="connsiteY56" fmla="*/ 1878944 h 2222603"/>
                  <a:gd name="connsiteX57" fmla="*/ 3300417 w 3419384"/>
                  <a:gd name="connsiteY57" fmla="*/ 1879896 h 2222603"/>
                  <a:gd name="connsiteX58" fmla="*/ 1988911 w 3419384"/>
                  <a:gd name="connsiteY58" fmla="*/ 882235 h 2222603"/>
                  <a:gd name="connsiteX59" fmla="*/ 1704339 w 3419384"/>
                  <a:gd name="connsiteY59" fmla="*/ 1167825 h 2222603"/>
                  <a:gd name="connsiteX60" fmla="*/ 1594888 w 3419384"/>
                  <a:gd name="connsiteY60" fmla="*/ 1164017 h 2222603"/>
                  <a:gd name="connsiteX61" fmla="*/ 1339820 w 3419384"/>
                  <a:gd name="connsiteY61" fmla="*/ 866051 h 2222603"/>
                  <a:gd name="connsiteX62" fmla="*/ 1193251 w 3419384"/>
                  <a:gd name="connsiteY62" fmla="*/ 798462 h 2222603"/>
                  <a:gd name="connsiteX63" fmla="*/ 976253 w 3419384"/>
                  <a:gd name="connsiteY63" fmla="*/ 798462 h 2222603"/>
                  <a:gd name="connsiteX64" fmla="*/ 929618 w 3419384"/>
                  <a:gd name="connsiteY64" fmla="*/ 826069 h 2222603"/>
                  <a:gd name="connsiteX65" fmla="*/ 795422 w 3419384"/>
                  <a:gd name="connsiteY65" fmla="*/ 1097379 h 2222603"/>
                  <a:gd name="connsiteX66" fmla="*/ 736413 w 3419384"/>
                  <a:gd name="connsiteY66" fmla="*/ 1141170 h 2222603"/>
                  <a:gd name="connsiteX67" fmla="*/ 681212 w 3419384"/>
                  <a:gd name="connsiteY67" fmla="*/ 1098331 h 2222603"/>
                  <a:gd name="connsiteX68" fmla="*/ 587941 w 3419384"/>
                  <a:gd name="connsiteY68" fmla="*/ 910794 h 2222603"/>
                  <a:gd name="connsiteX69" fmla="*/ 529885 w 3419384"/>
                  <a:gd name="connsiteY69" fmla="*/ 807982 h 2222603"/>
                  <a:gd name="connsiteX70" fmla="*/ 409013 w 3419384"/>
                  <a:gd name="connsiteY70" fmla="*/ 800366 h 2222603"/>
                  <a:gd name="connsiteX71" fmla="*/ 226278 w 3419384"/>
                  <a:gd name="connsiteY71" fmla="*/ 982191 h 2222603"/>
                  <a:gd name="connsiteX72" fmla="*/ 226278 w 3419384"/>
                  <a:gd name="connsiteY72" fmla="*/ 1470550 h 2222603"/>
                  <a:gd name="connsiteX73" fmla="*/ 410916 w 3419384"/>
                  <a:gd name="connsiteY73" fmla="*/ 1655232 h 2222603"/>
                  <a:gd name="connsiteX74" fmla="*/ 820167 w 3419384"/>
                  <a:gd name="connsiteY74" fmla="*/ 1655232 h 2222603"/>
                  <a:gd name="connsiteX75" fmla="*/ 853478 w 3419384"/>
                  <a:gd name="connsiteY75" fmla="*/ 1653328 h 2222603"/>
                  <a:gd name="connsiteX76" fmla="*/ 853478 w 3419384"/>
                  <a:gd name="connsiteY76" fmla="*/ 1501965 h 2222603"/>
                  <a:gd name="connsiteX77" fmla="*/ 778290 w 3419384"/>
                  <a:gd name="connsiteY77" fmla="*/ 1427712 h 2222603"/>
                  <a:gd name="connsiteX78" fmla="*/ 522271 w 3419384"/>
                  <a:gd name="connsiteY78" fmla="*/ 1427712 h 2222603"/>
                  <a:gd name="connsiteX79" fmla="*/ 456600 w 3419384"/>
                  <a:gd name="connsiteY79" fmla="*/ 1381065 h 2222603"/>
                  <a:gd name="connsiteX80" fmla="*/ 455648 w 3419384"/>
                  <a:gd name="connsiteY80" fmla="*/ 1201144 h 2222603"/>
                  <a:gd name="connsiteX81" fmla="*/ 568906 w 3419384"/>
                  <a:gd name="connsiteY81" fmla="*/ 1201144 h 2222603"/>
                  <a:gd name="connsiteX82" fmla="*/ 568906 w 3419384"/>
                  <a:gd name="connsiteY82" fmla="*/ 1313476 h 2222603"/>
                  <a:gd name="connsiteX83" fmla="*/ 782097 w 3419384"/>
                  <a:gd name="connsiteY83" fmla="*/ 1313476 h 2222603"/>
                  <a:gd name="connsiteX84" fmla="*/ 967688 w 3419384"/>
                  <a:gd name="connsiteY84" fmla="*/ 1497205 h 2222603"/>
                  <a:gd name="connsiteX85" fmla="*/ 967688 w 3419384"/>
                  <a:gd name="connsiteY85" fmla="*/ 1653328 h 2222603"/>
                  <a:gd name="connsiteX86" fmla="*/ 1252260 w 3419384"/>
                  <a:gd name="connsiteY86" fmla="*/ 1653328 h 2222603"/>
                  <a:gd name="connsiteX87" fmla="*/ 1252260 w 3419384"/>
                  <a:gd name="connsiteY87" fmla="*/ 1269685 h 2222603"/>
                  <a:gd name="connsiteX88" fmla="*/ 1289378 w 3419384"/>
                  <a:gd name="connsiteY88" fmla="*/ 1203048 h 2222603"/>
                  <a:gd name="connsiteX89" fmla="*/ 1358855 w 3419384"/>
                  <a:gd name="connsiteY89" fmla="*/ 1223991 h 2222603"/>
                  <a:gd name="connsiteX90" fmla="*/ 1519700 w 3419384"/>
                  <a:gd name="connsiteY90" fmla="*/ 1384873 h 2222603"/>
                  <a:gd name="connsiteX91" fmla="*/ 1783334 w 3419384"/>
                  <a:gd name="connsiteY91" fmla="*/ 1383921 h 2222603"/>
                  <a:gd name="connsiteX92" fmla="*/ 2118349 w 3419384"/>
                  <a:gd name="connsiteY92" fmla="*/ 1048829 h 2222603"/>
                  <a:gd name="connsiteX93" fmla="*/ 2136432 w 3419384"/>
                  <a:gd name="connsiteY93" fmla="*/ 1028838 h 2222603"/>
                  <a:gd name="connsiteX94" fmla="*/ 1988911 w 3419384"/>
                  <a:gd name="connsiteY94" fmla="*/ 882235 h 2222603"/>
                  <a:gd name="connsiteX95" fmla="*/ 1041924 w 3419384"/>
                  <a:gd name="connsiteY95" fmla="*/ 396732 h 2222603"/>
                  <a:gd name="connsiteX96" fmla="*/ 1031455 w 3419384"/>
                  <a:gd name="connsiteY96" fmla="*/ 373885 h 2222603"/>
                  <a:gd name="connsiteX97" fmla="*/ 962929 w 3419384"/>
                  <a:gd name="connsiteY97" fmla="*/ 164452 h 2222603"/>
                  <a:gd name="connsiteX98" fmla="*/ 905824 w 3419384"/>
                  <a:gd name="connsiteY98" fmla="*/ 113998 h 2222603"/>
                  <a:gd name="connsiteX99" fmla="*/ 567954 w 3419384"/>
                  <a:gd name="connsiteY99" fmla="*/ 113998 h 2222603"/>
                  <a:gd name="connsiteX100" fmla="*/ 509898 w 3419384"/>
                  <a:gd name="connsiteY100" fmla="*/ 172068 h 2222603"/>
                  <a:gd name="connsiteX101" fmla="*/ 510850 w 3419384"/>
                  <a:gd name="connsiteY101" fmla="*/ 460514 h 2222603"/>
                  <a:gd name="connsiteX102" fmla="*/ 735462 w 3419384"/>
                  <a:gd name="connsiteY102" fmla="*/ 683274 h 2222603"/>
                  <a:gd name="connsiteX103" fmla="*/ 964832 w 3419384"/>
                  <a:gd name="connsiteY103" fmla="*/ 473841 h 2222603"/>
                  <a:gd name="connsiteX104" fmla="*/ 1041924 w 3419384"/>
                  <a:gd name="connsiteY104" fmla="*/ 396732 h 2222603"/>
                  <a:gd name="connsiteX105" fmla="*/ 112068 w 3419384"/>
                  <a:gd name="connsiteY105" fmla="*/ 1879896 h 2222603"/>
                  <a:gd name="connsiteX106" fmla="*/ 2046016 w 3419384"/>
                  <a:gd name="connsiteY106" fmla="*/ 1879896 h 2222603"/>
                  <a:gd name="connsiteX107" fmla="*/ 2046016 w 3419384"/>
                  <a:gd name="connsiteY107" fmla="*/ 1769468 h 2222603"/>
                  <a:gd name="connsiteX108" fmla="*/ 112068 w 3419384"/>
                  <a:gd name="connsiteY108" fmla="*/ 1769468 h 2222603"/>
                  <a:gd name="connsiteX109" fmla="*/ 112068 w 3419384"/>
                  <a:gd name="connsiteY109" fmla="*/ 1879896 h 2222603"/>
                  <a:gd name="connsiteX110" fmla="*/ 1592033 w 3419384"/>
                  <a:gd name="connsiteY110" fmla="*/ 1551467 h 2222603"/>
                  <a:gd name="connsiteX111" fmla="*/ 1367421 w 3419384"/>
                  <a:gd name="connsiteY111" fmla="*/ 1395345 h 2222603"/>
                  <a:gd name="connsiteX112" fmla="*/ 1367421 w 3419384"/>
                  <a:gd name="connsiteY112" fmla="*/ 1651424 h 2222603"/>
                  <a:gd name="connsiteX113" fmla="*/ 1592033 w 3419384"/>
                  <a:gd name="connsiteY113" fmla="*/ 1651424 h 2222603"/>
                  <a:gd name="connsiteX114" fmla="*/ 1592033 w 3419384"/>
                  <a:gd name="connsiteY114" fmla="*/ 1551467 h 2222603"/>
                  <a:gd name="connsiteX115" fmla="*/ 815408 w 3419384"/>
                  <a:gd name="connsiteY115" fmla="*/ 801318 h 2222603"/>
                  <a:gd name="connsiteX116" fmla="*/ 660274 w 3419384"/>
                  <a:gd name="connsiteY116" fmla="*/ 801318 h 2222603"/>
                  <a:gd name="connsiteX117" fmla="*/ 737365 w 3419384"/>
                  <a:gd name="connsiteY117" fmla="*/ 955536 h 2222603"/>
                  <a:gd name="connsiteX118" fmla="*/ 815408 w 3419384"/>
                  <a:gd name="connsiteY118" fmla="*/ 801318 h 222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419384" h="2222603">
                    <a:moveTo>
                      <a:pt x="486104" y="684226"/>
                    </a:moveTo>
                    <a:cubicBezTo>
                      <a:pt x="436613" y="622348"/>
                      <a:pt x="403302" y="560470"/>
                      <a:pt x="399495" y="489073"/>
                    </a:cubicBezTo>
                    <a:cubicBezTo>
                      <a:pt x="394737" y="374837"/>
                      <a:pt x="392833" y="260601"/>
                      <a:pt x="398544" y="147317"/>
                    </a:cubicBezTo>
                    <a:cubicBezTo>
                      <a:pt x="403302" y="63544"/>
                      <a:pt x="478490" y="714"/>
                      <a:pt x="564147" y="714"/>
                    </a:cubicBezTo>
                    <a:cubicBezTo>
                      <a:pt x="679309" y="-238"/>
                      <a:pt x="794470" y="-238"/>
                      <a:pt x="909631" y="714"/>
                    </a:cubicBezTo>
                    <a:cubicBezTo>
                      <a:pt x="1004806" y="1666"/>
                      <a:pt x="1076187" y="74967"/>
                      <a:pt x="1080945" y="171116"/>
                    </a:cubicBezTo>
                    <a:cubicBezTo>
                      <a:pt x="1082849" y="200627"/>
                      <a:pt x="1090463" y="231090"/>
                      <a:pt x="1102836" y="258697"/>
                    </a:cubicBezTo>
                    <a:cubicBezTo>
                      <a:pt x="1126629" y="312959"/>
                      <a:pt x="1155182" y="365317"/>
                      <a:pt x="1181831" y="418627"/>
                    </a:cubicBezTo>
                    <a:cubicBezTo>
                      <a:pt x="1209431" y="475745"/>
                      <a:pt x="1185637" y="513824"/>
                      <a:pt x="1121870" y="514776"/>
                    </a:cubicBezTo>
                    <a:cubicBezTo>
                      <a:pt x="1107594" y="514776"/>
                      <a:pt x="1093318" y="514776"/>
                      <a:pt x="1085704" y="514776"/>
                    </a:cubicBezTo>
                    <a:cubicBezTo>
                      <a:pt x="1057152" y="573798"/>
                      <a:pt x="1031455" y="628060"/>
                      <a:pt x="1003854" y="686130"/>
                    </a:cubicBezTo>
                    <a:cubicBezTo>
                      <a:pt x="1050490" y="686130"/>
                      <a:pt x="1100932" y="688986"/>
                      <a:pt x="1151375" y="685178"/>
                    </a:cubicBezTo>
                    <a:cubicBezTo>
                      <a:pt x="1279860" y="675658"/>
                      <a:pt x="1379794" y="723256"/>
                      <a:pt x="1456885" y="826069"/>
                    </a:cubicBezTo>
                    <a:cubicBezTo>
                      <a:pt x="1497810" y="879379"/>
                      <a:pt x="1544446" y="928881"/>
                      <a:pt x="1594888" y="987903"/>
                    </a:cubicBezTo>
                    <a:cubicBezTo>
                      <a:pt x="1594888" y="966960"/>
                      <a:pt x="1594888" y="954584"/>
                      <a:pt x="1594888" y="942209"/>
                    </a:cubicBezTo>
                    <a:cubicBezTo>
                      <a:pt x="1594888" y="655667"/>
                      <a:pt x="1594888" y="370077"/>
                      <a:pt x="1594888" y="83535"/>
                    </a:cubicBezTo>
                    <a:cubicBezTo>
                      <a:pt x="1594888" y="18801"/>
                      <a:pt x="1611068" y="2618"/>
                      <a:pt x="1677690" y="2618"/>
                    </a:cubicBezTo>
                    <a:cubicBezTo>
                      <a:pt x="2230654" y="2618"/>
                      <a:pt x="2784571" y="2618"/>
                      <a:pt x="3337535" y="2618"/>
                    </a:cubicBezTo>
                    <a:cubicBezTo>
                      <a:pt x="3403205" y="2618"/>
                      <a:pt x="3419385" y="18801"/>
                      <a:pt x="3419385" y="84487"/>
                    </a:cubicBezTo>
                    <a:cubicBezTo>
                      <a:pt x="3419385" y="694697"/>
                      <a:pt x="3419385" y="1305860"/>
                      <a:pt x="3419385" y="1916070"/>
                    </a:cubicBezTo>
                    <a:cubicBezTo>
                      <a:pt x="3419385" y="1981756"/>
                      <a:pt x="3403205" y="1997940"/>
                      <a:pt x="3337535" y="1997940"/>
                    </a:cubicBezTo>
                    <a:cubicBezTo>
                      <a:pt x="2924477" y="1997940"/>
                      <a:pt x="2511419" y="1997940"/>
                      <a:pt x="2098362" y="1997940"/>
                    </a:cubicBezTo>
                    <a:cubicBezTo>
                      <a:pt x="2084086" y="1997940"/>
                      <a:pt x="2069809" y="1997940"/>
                      <a:pt x="2052678" y="1997940"/>
                    </a:cubicBezTo>
                    <a:cubicBezTo>
                      <a:pt x="2052678" y="2036018"/>
                      <a:pt x="2052678" y="2072193"/>
                      <a:pt x="2052678" y="2110272"/>
                    </a:cubicBezTo>
                    <a:cubicBezTo>
                      <a:pt x="2013656" y="2110272"/>
                      <a:pt x="1978442" y="2110272"/>
                      <a:pt x="1939420" y="2110272"/>
                    </a:cubicBezTo>
                    <a:cubicBezTo>
                      <a:pt x="1939420" y="2074097"/>
                      <a:pt x="1939420" y="2038874"/>
                      <a:pt x="1939420" y="1999843"/>
                    </a:cubicBezTo>
                    <a:cubicBezTo>
                      <a:pt x="1367421" y="1999843"/>
                      <a:pt x="799229" y="1999843"/>
                      <a:pt x="229133" y="1999843"/>
                    </a:cubicBezTo>
                    <a:cubicBezTo>
                      <a:pt x="229133" y="2074097"/>
                      <a:pt x="229133" y="2147398"/>
                      <a:pt x="229133" y="2222604"/>
                    </a:cubicBezTo>
                    <a:cubicBezTo>
                      <a:pt x="190111" y="2222604"/>
                      <a:pt x="154897" y="2222604"/>
                      <a:pt x="114923" y="2222604"/>
                    </a:cubicBezTo>
                    <a:cubicBezTo>
                      <a:pt x="114923" y="2149302"/>
                      <a:pt x="114923" y="2075049"/>
                      <a:pt x="114923" y="1996988"/>
                    </a:cubicBezTo>
                    <a:cubicBezTo>
                      <a:pt x="93985" y="1996988"/>
                      <a:pt x="75902" y="1997940"/>
                      <a:pt x="58770" y="1996988"/>
                    </a:cubicBezTo>
                    <a:cubicBezTo>
                      <a:pt x="23556" y="1995084"/>
                      <a:pt x="1666" y="1974140"/>
                      <a:pt x="714" y="1937966"/>
                    </a:cubicBezTo>
                    <a:cubicBezTo>
                      <a:pt x="-238" y="1862760"/>
                      <a:pt x="-238" y="1788507"/>
                      <a:pt x="714" y="1713302"/>
                    </a:cubicBezTo>
                    <a:cubicBezTo>
                      <a:pt x="1666" y="1677127"/>
                      <a:pt x="23556" y="1656184"/>
                      <a:pt x="59722" y="1655232"/>
                    </a:cubicBezTo>
                    <a:cubicBezTo>
                      <a:pt x="94937" y="1654280"/>
                      <a:pt x="130151" y="1655232"/>
                      <a:pt x="173932" y="1655232"/>
                    </a:cubicBezTo>
                    <a:cubicBezTo>
                      <a:pt x="107309" y="1572410"/>
                      <a:pt x="113972" y="1480070"/>
                      <a:pt x="113972" y="1388681"/>
                    </a:cubicBezTo>
                    <a:cubicBezTo>
                      <a:pt x="114923" y="1253502"/>
                      <a:pt x="113972" y="1118323"/>
                      <a:pt x="113972" y="982191"/>
                    </a:cubicBezTo>
                    <a:cubicBezTo>
                      <a:pt x="113972" y="807982"/>
                      <a:pt x="236747" y="686130"/>
                      <a:pt x="409965" y="685178"/>
                    </a:cubicBezTo>
                    <a:cubicBezTo>
                      <a:pt x="429951" y="684226"/>
                      <a:pt x="453745" y="684226"/>
                      <a:pt x="486104" y="684226"/>
                    </a:cubicBezTo>
                    <a:close/>
                    <a:moveTo>
                      <a:pt x="3300417" y="1879896"/>
                    </a:moveTo>
                    <a:cubicBezTo>
                      <a:pt x="3300417" y="1289677"/>
                      <a:pt x="3300417" y="702313"/>
                      <a:pt x="3300417" y="116854"/>
                    </a:cubicBezTo>
                    <a:cubicBezTo>
                      <a:pt x="2768391" y="116854"/>
                      <a:pt x="2238268" y="116854"/>
                      <a:pt x="1709098" y="116854"/>
                    </a:cubicBezTo>
                    <a:cubicBezTo>
                      <a:pt x="1709098" y="411011"/>
                      <a:pt x="1709098" y="702313"/>
                      <a:pt x="1709098" y="994567"/>
                    </a:cubicBezTo>
                    <a:cubicBezTo>
                      <a:pt x="1713857" y="992663"/>
                      <a:pt x="1715760" y="992663"/>
                      <a:pt x="1717663" y="990759"/>
                    </a:cubicBezTo>
                    <a:cubicBezTo>
                      <a:pt x="1787141" y="921266"/>
                      <a:pt x="1857570" y="851772"/>
                      <a:pt x="1927048" y="782278"/>
                    </a:cubicBezTo>
                    <a:cubicBezTo>
                      <a:pt x="1979394" y="729920"/>
                      <a:pt x="1989863" y="728968"/>
                      <a:pt x="2057437" y="774663"/>
                    </a:cubicBezTo>
                    <a:cubicBezTo>
                      <a:pt x="2154515" y="675658"/>
                      <a:pt x="2253496" y="575702"/>
                      <a:pt x="2347719" y="479553"/>
                    </a:cubicBezTo>
                    <a:cubicBezTo>
                      <a:pt x="2375320" y="504304"/>
                      <a:pt x="2401969" y="528103"/>
                      <a:pt x="2433376" y="556662"/>
                    </a:cubicBezTo>
                    <a:cubicBezTo>
                      <a:pt x="2331540" y="657571"/>
                      <a:pt x="2231606" y="756575"/>
                      <a:pt x="2129769" y="857484"/>
                    </a:cubicBezTo>
                    <a:cubicBezTo>
                      <a:pt x="2169743" y="896514"/>
                      <a:pt x="2207813" y="933641"/>
                      <a:pt x="2245882" y="970768"/>
                    </a:cubicBezTo>
                    <a:cubicBezTo>
                      <a:pt x="2287759" y="1012654"/>
                      <a:pt x="2287759" y="1037405"/>
                      <a:pt x="2245882" y="1079292"/>
                    </a:cubicBezTo>
                    <a:cubicBezTo>
                      <a:pt x="2149756" y="1176393"/>
                      <a:pt x="2053630" y="1273493"/>
                      <a:pt x="1955600" y="1368690"/>
                    </a:cubicBezTo>
                    <a:cubicBezTo>
                      <a:pt x="1880412" y="1441991"/>
                      <a:pt x="1818549" y="1531476"/>
                      <a:pt x="1709098" y="1551467"/>
                    </a:cubicBezTo>
                    <a:cubicBezTo>
                      <a:pt x="1709098" y="1588594"/>
                      <a:pt x="1709098" y="1620009"/>
                      <a:pt x="1709098" y="1652376"/>
                    </a:cubicBezTo>
                    <a:cubicBezTo>
                      <a:pt x="1837583" y="1652376"/>
                      <a:pt x="1963214" y="1652376"/>
                      <a:pt x="2088844" y="1652376"/>
                    </a:cubicBezTo>
                    <a:cubicBezTo>
                      <a:pt x="2142142" y="1652376"/>
                      <a:pt x="2161177" y="1671415"/>
                      <a:pt x="2162129" y="1725677"/>
                    </a:cubicBezTo>
                    <a:cubicBezTo>
                      <a:pt x="2162129" y="1776131"/>
                      <a:pt x="2162129" y="1826586"/>
                      <a:pt x="2162129" y="1878944"/>
                    </a:cubicBezTo>
                    <a:cubicBezTo>
                      <a:pt x="2543779" y="1879896"/>
                      <a:pt x="2920670" y="1879896"/>
                      <a:pt x="3300417" y="1879896"/>
                    </a:cubicBezTo>
                    <a:close/>
                    <a:moveTo>
                      <a:pt x="1988911" y="882235"/>
                    </a:moveTo>
                    <a:cubicBezTo>
                      <a:pt x="1893736" y="977431"/>
                      <a:pt x="1798562" y="1072628"/>
                      <a:pt x="1704339" y="1167825"/>
                    </a:cubicBezTo>
                    <a:cubicBezTo>
                      <a:pt x="1661510" y="1209711"/>
                      <a:pt x="1632958" y="1208759"/>
                      <a:pt x="1594888" y="1164017"/>
                    </a:cubicBezTo>
                    <a:cubicBezTo>
                      <a:pt x="1510183" y="1065013"/>
                      <a:pt x="1424526" y="966008"/>
                      <a:pt x="1339820" y="866051"/>
                    </a:cubicBezTo>
                    <a:cubicBezTo>
                      <a:pt x="1300799" y="820357"/>
                      <a:pt x="1253211" y="797510"/>
                      <a:pt x="1193251" y="798462"/>
                    </a:cubicBezTo>
                    <a:cubicBezTo>
                      <a:pt x="1120919" y="799414"/>
                      <a:pt x="1048586" y="799414"/>
                      <a:pt x="976253" y="798462"/>
                    </a:cubicBezTo>
                    <a:cubicBezTo>
                      <a:pt x="952460" y="797510"/>
                      <a:pt x="940087" y="805126"/>
                      <a:pt x="929618" y="826069"/>
                    </a:cubicBezTo>
                    <a:cubicBezTo>
                      <a:pt x="885837" y="916506"/>
                      <a:pt x="840154" y="1006942"/>
                      <a:pt x="795422" y="1097379"/>
                    </a:cubicBezTo>
                    <a:cubicBezTo>
                      <a:pt x="783049" y="1122131"/>
                      <a:pt x="766869" y="1141170"/>
                      <a:pt x="736413" y="1141170"/>
                    </a:cubicBezTo>
                    <a:cubicBezTo>
                      <a:pt x="707861" y="1140218"/>
                      <a:pt x="692633" y="1122131"/>
                      <a:pt x="681212" y="1098331"/>
                    </a:cubicBezTo>
                    <a:cubicBezTo>
                      <a:pt x="650756" y="1035501"/>
                      <a:pt x="619349" y="972672"/>
                      <a:pt x="587941" y="910794"/>
                    </a:cubicBezTo>
                    <a:cubicBezTo>
                      <a:pt x="569858" y="874619"/>
                      <a:pt x="559389" y="825117"/>
                      <a:pt x="529885" y="807982"/>
                    </a:cubicBezTo>
                    <a:cubicBezTo>
                      <a:pt x="499429" y="788942"/>
                      <a:pt x="449938" y="800366"/>
                      <a:pt x="409013" y="800366"/>
                    </a:cubicBezTo>
                    <a:cubicBezTo>
                      <a:pt x="297659" y="800366"/>
                      <a:pt x="226278" y="871763"/>
                      <a:pt x="226278" y="982191"/>
                    </a:cubicBezTo>
                    <a:cubicBezTo>
                      <a:pt x="226278" y="1144978"/>
                      <a:pt x="226278" y="1307764"/>
                      <a:pt x="226278" y="1470550"/>
                    </a:cubicBezTo>
                    <a:cubicBezTo>
                      <a:pt x="226278" y="1583834"/>
                      <a:pt x="297659" y="1655232"/>
                      <a:pt x="410916" y="1655232"/>
                    </a:cubicBezTo>
                    <a:cubicBezTo>
                      <a:pt x="547016" y="1655232"/>
                      <a:pt x="684067" y="1655232"/>
                      <a:pt x="820167" y="1655232"/>
                    </a:cubicBezTo>
                    <a:cubicBezTo>
                      <a:pt x="830636" y="1655232"/>
                      <a:pt x="841105" y="1654280"/>
                      <a:pt x="853478" y="1653328"/>
                    </a:cubicBezTo>
                    <a:cubicBezTo>
                      <a:pt x="853478" y="1600969"/>
                      <a:pt x="853478" y="1551467"/>
                      <a:pt x="853478" y="1501965"/>
                    </a:cubicBezTo>
                    <a:cubicBezTo>
                      <a:pt x="853478" y="1445799"/>
                      <a:pt x="834443" y="1427712"/>
                      <a:pt x="778290" y="1427712"/>
                    </a:cubicBezTo>
                    <a:cubicBezTo>
                      <a:pt x="692633" y="1427712"/>
                      <a:pt x="606976" y="1427712"/>
                      <a:pt x="522271" y="1427712"/>
                    </a:cubicBezTo>
                    <a:cubicBezTo>
                      <a:pt x="488008" y="1427712"/>
                      <a:pt x="459455" y="1415336"/>
                      <a:pt x="456600" y="1381065"/>
                    </a:cubicBezTo>
                    <a:cubicBezTo>
                      <a:pt x="451841" y="1321091"/>
                      <a:pt x="455648" y="1261118"/>
                      <a:pt x="455648" y="1201144"/>
                    </a:cubicBezTo>
                    <a:cubicBezTo>
                      <a:pt x="494670" y="1201144"/>
                      <a:pt x="529885" y="1201144"/>
                      <a:pt x="568906" y="1201144"/>
                    </a:cubicBezTo>
                    <a:cubicBezTo>
                      <a:pt x="568906" y="1239222"/>
                      <a:pt x="568906" y="1275397"/>
                      <a:pt x="568906" y="1313476"/>
                    </a:cubicBezTo>
                    <a:cubicBezTo>
                      <a:pt x="642191" y="1313476"/>
                      <a:pt x="712620" y="1313476"/>
                      <a:pt x="782097" y="1313476"/>
                    </a:cubicBezTo>
                    <a:cubicBezTo>
                      <a:pt x="896307" y="1313476"/>
                      <a:pt x="966736" y="1383921"/>
                      <a:pt x="967688" y="1497205"/>
                    </a:cubicBezTo>
                    <a:cubicBezTo>
                      <a:pt x="967688" y="1548611"/>
                      <a:pt x="967688" y="1600969"/>
                      <a:pt x="967688" y="1653328"/>
                    </a:cubicBezTo>
                    <a:cubicBezTo>
                      <a:pt x="1064766" y="1653328"/>
                      <a:pt x="1158037" y="1653328"/>
                      <a:pt x="1252260" y="1653328"/>
                    </a:cubicBezTo>
                    <a:cubicBezTo>
                      <a:pt x="1252260" y="1523860"/>
                      <a:pt x="1252260" y="1397249"/>
                      <a:pt x="1252260" y="1269685"/>
                    </a:cubicBezTo>
                    <a:cubicBezTo>
                      <a:pt x="1252260" y="1240174"/>
                      <a:pt x="1259874" y="1215423"/>
                      <a:pt x="1289378" y="1203048"/>
                    </a:cubicBezTo>
                    <a:cubicBezTo>
                      <a:pt x="1317930" y="1191624"/>
                      <a:pt x="1339820" y="1204952"/>
                      <a:pt x="1358855" y="1223991"/>
                    </a:cubicBezTo>
                    <a:cubicBezTo>
                      <a:pt x="1412153" y="1278253"/>
                      <a:pt x="1466402" y="1331563"/>
                      <a:pt x="1519700" y="1384873"/>
                    </a:cubicBezTo>
                    <a:cubicBezTo>
                      <a:pt x="1602502" y="1466742"/>
                      <a:pt x="1700532" y="1466742"/>
                      <a:pt x="1783334" y="1383921"/>
                    </a:cubicBezTo>
                    <a:cubicBezTo>
                      <a:pt x="1895640" y="1272541"/>
                      <a:pt x="2006994" y="1160209"/>
                      <a:pt x="2118349" y="1048829"/>
                    </a:cubicBezTo>
                    <a:cubicBezTo>
                      <a:pt x="2125962" y="1041213"/>
                      <a:pt x="2131673" y="1033598"/>
                      <a:pt x="2136432" y="1028838"/>
                    </a:cubicBezTo>
                    <a:cubicBezTo>
                      <a:pt x="2085037" y="979336"/>
                      <a:pt x="2038402" y="931737"/>
                      <a:pt x="1988911" y="882235"/>
                    </a:cubicBezTo>
                    <a:close/>
                    <a:moveTo>
                      <a:pt x="1041924" y="396732"/>
                    </a:moveTo>
                    <a:cubicBezTo>
                      <a:pt x="1037165" y="387212"/>
                      <a:pt x="1034310" y="380549"/>
                      <a:pt x="1031455" y="373885"/>
                    </a:cubicBezTo>
                    <a:cubicBezTo>
                      <a:pt x="1000999" y="307247"/>
                      <a:pt x="955315" y="246321"/>
                      <a:pt x="962929" y="164452"/>
                    </a:cubicBezTo>
                    <a:cubicBezTo>
                      <a:pt x="965784" y="133037"/>
                      <a:pt x="938183" y="113998"/>
                      <a:pt x="905824" y="113998"/>
                    </a:cubicBezTo>
                    <a:cubicBezTo>
                      <a:pt x="793518" y="113046"/>
                      <a:pt x="680260" y="113046"/>
                      <a:pt x="567954" y="113998"/>
                    </a:cubicBezTo>
                    <a:cubicBezTo>
                      <a:pt x="532740" y="113998"/>
                      <a:pt x="509898" y="136845"/>
                      <a:pt x="509898" y="172068"/>
                    </a:cubicBezTo>
                    <a:cubicBezTo>
                      <a:pt x="508946" y="268217"/>
                      <a:pt x="507043" y="364365"/>
                      <a:pt x="510850" y="460514"/>
                    </a:cubicBezTo>
                    <a:cubicBezTo>
                      <a:pt x="515608" y="584269"/>
                      <a:pt x="618397" y="682322"/>
                      <a:pt x="735462" y="683274"/>
                    </a:cubicBezTo>
                    <a:cubicBezTo>
                      <a:pt x="854430" y="684226"/>
                      <a:pt x="954363" y="592837"/>
                      <a:pt x="964832" y="473841"/>
                    </a:cubicBezTo>
                    <a:cubicBezTo>
                      <a:pt x="970543" y="414819"/>
                      <a:pt x="980060" y="404348"/>
                      <a:pt x="1041924" y="396732"/>
                    </a:cubicBezTo>
                    <a:close/>
                    <a:moveTo>
                      <a:pt x="112068" y="1879896"/>
                    </a:moveTo>
                    <a:cubicBezTo>
                      <a:pt x="758304" y="1879896"/>
                      <a:pt x="1402636" y="1879896"/>
                      <a:pt x="2046016" y="1879896"/>
                    </a:cubicBezTo>
                    <a:cubicBezTo>
                      <a:pt x="2046016" y="1841817"/>
                      <a:pt x="2046016" y="1805642"/>
                      <a:pt x="2046016" y="1769468"/>
                    </a:cubicBezTo>
                    <a:cubicBezTo>
                      <a:pt x="1399780" y="1769468"/>
                      <a:pt x="757352" y="1769468"/>
                      <a:pt x="112068" y="1769468"/>
                    </a:cubicBezTo>
                    <a:cubicBezTo>
                      <a:pt x="112068" y="1806594"/>
                      <a:pt x="112068" y="1841817"/>
                      <a:pt x="112068" y="1879896"/>
                    </a:cubicBezTo>
                    <a:close/>
                    <a:moveTo>
                      <a:pt x="1592033" y="1551467"/>
                    </a:moveTo>
                    <a:cubicBezTo>
                      <a:pt x="1493051" y="1536236"/>
                      <a:pt x="1435947" y="1461031"/>
                      <a:pt x="1367421" y="1395345"/>
                    </a:cubicBezTo>
                    <a:cubicBezTo>
                      <a:pt x="1367421" y="1484830"/>
                      <a:pt x="1367421" y="1567651"/>
                      <a:pt x="1367421" y="1651424"/>
                    </a:cubicBezTo>
                    <a:cubicBezTo>
                      <a:pt x="1443561" y="1651424"/>
                      <a:pt x="1517797" y="1651424"/>
                      <a:pt x="1592033" y="1651424"/>
                    </a:cubicBezTo>
                    <a:cubicBezTo>
                      <a:pt x="1592033" y="1618105"/>
                      <a:pt x="1592033" y="1587642"/>
                      <a:pt x="1592033" y="1551467"/>
                    </a:cubicBezTo>
                    <a:close/>
                    <a:moveTo>
                      <a:pt x="815408" y="801318"/>
                    </a:moveTo>
                    <a:cubicBezTo>
                      <a:pt x="762111" y="801318"/>
                      <a:pt x="713572" y="801318"/>
                      <a:pt x="660274" y="801318"/>
                    </a:cubicBezTo>
                    <a:cubicBezTo>
                      <a:pt x="685971" y="852724"/>
                      <a:pt x="709764" y="901274"/>
                      <a:pt x="737365" y="955536"/>
                    </a:cubicBezTo>
                    <a:cubicBezTo>
                      <a:pt x="764966" y="900322"/>
                      <a:pt x="788759" y="852724"/>
                      <a:pt x="815408" y="801318"/>
                    </a:cubicBezTo>
                    <a:close/>
                  </a:path>
                </a:pathLst>
              </a:custGeom>
              <a:grpFill/>
              <a:ln w="9514"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88913B7-A655-6C44-52B7-88014961542A}"/>
                  </a:ext>
                </a:extLst>
              </p:cNvPr>
              <p:cNvSpPr/>
              <p:nvPr/>
            </p:nvSpPr>
            <p:spPr>
              <a:xfrm>
                <a:off x="3012029" y="3836916"/>
                <a:ext cx="685886" cy="1198051"/>
              </a:xfrm>
              <a:custGeom>
                <a:avLst/>
                <a:gdLst>
                  <a:gd name="connsiteX0" fmla="*/ 163378 w 685886"/>
                  <a:gd name="connsiteY0" fmla="*/ 506924 h 1198051"/>
                  <a:gd name="connsiteX1" fmla="*/ 145295 w 685886"/>
                  <a:gd name="connsiteY1" fmla="*/ 80443 h 1198051"/>
                  <a:gd name="connsiteX2" fmla="*/ 544076 w 685886"/>
                  <a:gd name="connsiteY2" fmla="*/ 82347 h 1198051"/>
                  <a:gd name="connsiteX3" fmla="*/ 525993 w 685886"/>
                  <a:gd name="connsiteY3" fmla="*/ 505020 h 1198051"/>
                  <a:gd name="connsiteX4" fmla="*/ 543125 w 685886"/>
                  <a:gd name="connsiteY4" fmla="*/ 521203 h 1198051"/>
                  <a:gd name="connsiteX5" fmla="*/ 685887 w 685886"/>
                  <a:gd name="connsiteY5" fmla="*/ 805841 h 1198051"/>
                  <a:gd name="connsiteX6" fmla="*/ 685887 w 685886"/>
                  <a:gd name="connsiteY6" fmla="*/ 1126654 h 1198051"/>
                  <a:gd name="connsiteX7" fmla="*/ 614506 w 685886"/>
                  <a:gd name="connsiteY7" fmla="*/ 1198051 h 1198051"/>
                  <a:gd name="connsiteX8" fmla="*/ 72962 w 685886"/>
                  <a:gd name="connsiteY8" fmla="*/ 1198051 h 1198051"/>
                  <a:gd name="connsiteX9" fmla="*/ 1581 w 685886"/>
                  <a:gd name="connsiteY9" fmla="*/ 1126654 h 1198051"/>
                  <a:gd name="connsiteX10" fmla="*/ 629 w 685886"/>
                  <a:gd name="connsiteY10" fmla="*/ 848680 h 1198051"/>
                  <a:gd name="connsiteX11" fmla="*/ 163378 w 685886"/>
                  <a:gd name="connsiteY11" fmla="*/ 506924 h 1198051"/>
                  <a:gd name="connsiteX12" fmla="*/ 570725 w 685886"/>
                  <a:gd name="connsiteY12" fmla="*/ 1081911 h 1198051"/>
                  <a:gd name="connsiteX13" fmla="*/ 570725 w 685886"/>
                  <a:gd name="connsiteY13" fmla="*/ 798226 h 1198051"/>
                  <a:gd name="connsiteX14" fmla="*/ 363245 w 685886"/>
                  <a:gd name="connsiteY14" fmla="*/ 570705 h 1198051"/>
                  <a:gd name="connsiteX15" fmla="*/ 121501 w 685886"/>
                  <a:gd name="connsiteY15" fmla="*/ 758243 h 1198051"/>
                  <a:gd name="connsiteX16" fmla="*/ 118646 w 685886"/>
                  <a:gd name="connsiteY16" fmla="*/ 1081911 h 1198051"/>
                  <a:gd name="connsiteX17" fmla="*/ 570725 w 685886"/>
                  <a:gd name="connsiteY17" fmla="*/ 1081911 h 1198051"/>
                  <a:gd name="connsiteX18" fmla="*/ 513621 w 685886"/>
                  <a:gd name="connsiteY18" fmla="*/ 286067 h 1198051"/>
                  <a:gd name="connsiteX19" fmla="*/ 345161 w 685886"/>
                  <a:gd name="connsiteY19" fmla="*/ 113761 h 1198051"/>
                  <a:gd name="connsiteX20" fmla="*/ 171944 w 685886"/>
                  <a:gd name="connsiteY20" fmla="*/ 284164 h 1198051"/>
                  <a:gd name="connsiteX21" fmla="*/ 343258 w 685886"/>
                  <a:gd name="connsiteY21" fmla="*/ 456469 h 1198051"/>
                  <a:gd name="connsiteX22" fmla="*/ 513621 w 685886"/>
                  <a:gd name="connsiteY22" fmla="*/ 286067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5886" h="1198051">
                    <a:moveTo>
                      <a:pt x="163378" y="506924"/>
                    </a:moveTo>
                    <a:cubicBezTo>
                      <a:pt x="2533" y="354609"/>
                      <a:pt x="51072" y="169928"/>
                      <a:pt x="145295" y="80443"/>
                    </a:cubicBezTo>
                    <a:cubicBezTo>
                      <a:pt x="256649" y="-27129"/>
                      <a:pt x="432722" y="-27129"/>
                      <a:pt x="544076" y="82347"/>
                    </a:cubicBezTo>
                    <a:cubicBezTo>
                      <a:pt x="640203" y="176591"/>
                      <a:pt x="680176" y="359369"/>
                      <a:pt x="525993" y="505020"/>
                    </a:cubicBezTo>
                    <a:cubicBezTo>
                      <a:pt x="531704" y="510732"/>
                      <a:pt x="537414" y="516443"/>
                      <a:pt x="543125" y="521203"/>
                    </a:cubicBezTo>
                    <a:cubicBezTo>
                      <a:pt x="637348" y="592601"/>
                      <a:pt x="685887" y="686845"/>
                      <a:pt x="685887" y="805841"/>
                    </a:cubicBezTo>
                    <a:cubicBezTo>
                      <a:pt x="685887" y="912462"/>
                      <a:pt x="685887" y="1020034"/>
                      <a:pt x="685887" y="1126654"/>
                    </a:cubicBezTo>
                    <a:cubicBezTo>
                      <a:pt x="685887" y="1178060"/>
                      <a:pt x="665900" y="1198051"/>
                      <a:pt x="614506" y="1198051"/>
                    </a:cubicBezTo>
                    <a:cubicBezTo>
                      <a:pt x="433674" y="1198051"/>
                      <a:pt x="253794" y="1198051"/>
                      <a:pt x="72962" y="1198051"/>
                    </a:cubicBezTo>
                    <a:cubicBezTo>
                      <a:pt x="21568" y="1198051"/>
                      <a:pt x="1581" y="1178060"/>
                      <a:pt x="1581" y="1126654"/>
                    </a:cubicBezTo>
                    <a:cubicBezTo>
                      <a:pt x="1581" y="1034313"/>
                      <a:pt x="4436" y="941021"/>
                      <a:pt x="629" y="848680"/>
                    </a:cubicBezTo>
                    <a:cubicBezTo>
                      <a:pt x="-6033" y="705885"/>
                      <a:pt x="39651" y="589745"/>
                      <a:pt x="163378" y="506924"/>
                    </a:cubicBezTo>
                    <a:close/>
                    <a:moveTo>
                      <a:pt x="570725" y="1081911"/>
                    </a:moveTo>
                    <a:cubicBezTo>
                      <a:pt x="570725" y="984811"/>
                      <a:pt x="571677" y="891518"/>
                      <a:pt x="570725" y="798226"/>
                    </a:cubicBezTo>
                    <a:cubicBezTo>
                      <a:pt x="569774" y="678278"/>
                      <a:pt x="479358" y="581177"/>
                      <a:pt x="363245" y="570705"/>
                    </a:cubicBezTo>
                    <a:cubicBezTo>
                      <a:pt x="246180" y="560234"/>
                      <a:pt x="133874" y="639247"/>
                      <a:pt x="121501" y="758243"/>
                    </a:cubicBezTo>
                    <a:cubicBezTo>
                      <a:pt x="110080" y="864863"/>
                      <a:pt x="118646" y="972435"/>
                      <a:pt x="118646" y="1081911"/>
                    </a:cubicBezTo>
                    <a:cubicBezTo>
                      <a:pt x="268070" y="1081911"/>
                      <a:pt x="417494" y="1081911"/>
                      <a:pt x="570725" y="1081911"/>
                    </a:cubicBezTo>
                    <a:close/>
                    <a:moveTo>
                      <a:pt x="513621" y="286067"/>
                    </a:moveTo>
                    <a:cubicBezTo>
                      <a:pt x="513621" y="192775"/>
                      <a:pt x="438433" y="115666"/>
                      <a:pt x="345161" y="113761"/>
                    </a:cubicBezTo>
                    <a:cubicBezTo>
                      <a:pt x="249987" y="112810"/>
                      <a:pt x="171944" y="188967"/>
                      <a:pt x="171944" y="284164"/>
                    </a:cubicBezTo>
                    <a:cubicBezTo>
                      <a:pt x="171944" y="378408"/>
                      <a:pt x="249035" y="456469"/>
                      <a:pt x="343258" y="456469"/>
                    </a:cubicBezTo>
                    <a:cubicBezTo>
                      <a:pt x="436529" y="455518"/>
                      <a:pt x="513621" y="379360"/>
                      <a:pt x="513621" y="286067"/>
                    </a:cubicBezTo>
                    <a:close/>
                  </a:path>
                </a:pathLst>
              </a:custGeom>
              <a:grpFill/>
              <a:ln w="9514"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065C604B-2FC3-353F-4806-2091339011CB}"/>
                  </a:ext>
                </a:extLst>
              </p:cNvPr>
              <p:cNvSpPr/>
              <p:nvPr/>
            </p:nvSpPr>
            <p:spPr>
              <a:xfrm>
                <a:off x="3809750" y="3836916"/>
                <a:ext cx="685728" cy="1198051"/>
              </a:xfrm>
              <a:custGeom>
                <a:avLst/>
                <a:gdLst>
                  <a:gd name="connsiteX0" fmla="*/ 163220 w 685728"/>
                  <a:gd name="connsiteY0" fmla="*/ 506924 h 1198051"/>
                  <a:gd name="connsiteX1" fmla="*/ 145137 w 685728"/>
                  <a:gd name="connsiteY1" fmla="*/ 80443 h 1198051"/>
                  <a:gd name="connsiteX2" fmla="*/ 543919 w 685728"/>
                  <a:gd name="connsiteY2" fmla="*/ 82347 h 1198051"/>
                  <a:gd name="connsiteX3" fmla="*/ 525835 w 685728"/>
                  <a:gd name="connsiteY3" fmla="*/ 505020 h 1198051"/>
                  <a:gd name="connsiteX4" fmla="*/ 542967 w 685728"/>
                  <a:gd name="connsiteY4" fmla="*/ 521203 h 1198051"/>
                  <a:gd name="connsiteX5" fmla="*/ 685729 w 685728"/>
                  <a:gd name="connsiteY5" fmla="*/ 805841 h 1198051"/>
                  <a:gd name="connsiteX6" fmla="*/ 685729 w 685728"/>
                  <a:gd name="connsiteY6" fmla="*/ 1126654 h 1198051"/>
                  <a:gd name="connsiteX7" fmla="*/ 614348 w 685728"/>
                  <a:gd name="connsiteY7" fmla="*/ 1198051 h 1198051"/>
                  <a:gd name="connsiteX8" fmla="*/ 72804 w 685728"/>
                  <a:gd name="connsiteY8" fmla="*/ 1198051 h 1198051"/>
                  <a:gd name="connsiteX9" fmla="*/ 1423 w 685728"/>
                  <a:gd name="connsiteY9" fmla="*/ 1126654 h 1198051"/>
                  <a:gd name="connsiteX10" fmla="*/ 472 w 685728"/>
                  <a:gd name="connsiteY10" fmla="*/ 848680 h 1198051"/>
                  <a:gd name="connsiteX11" fmla="*/ 163220 w 685728"/>
                  <a:gd name="connsiteY11" fmla="*/ 506924 h 1198051"/>
                  <a:gd name="connsiteX12" fmla="*/ 569616 w 685728"/>
                  <a:gd name="connsiteY12" fmla="*/ 1081911 h 1198051"/>
                  <a:gd name="connsiteX13" fmla="*/ 570567 w 685728"/>
                  <a:gd name="connsiteY13" fmla="*/ 1063824 h 1198051"/>
                  <a:gd name="connsiteX14" fmla="*/ 570567 w 685728"/>
                  <a:gd name="connsiteY14" fmla="*/ 793466 h 1198051"/>
                  <a:gd name="connsiteX15" fmla="*/ 344052 w 685728"/>
                  <a:gd name="connsiteY15" fmla="*/ 569754 h 1198051"/>
                  <a:gd name="connsiteX16" fmla="*/ 115633 w 685728"/>
                  <a:gd name="connsiteY16" fmla="*/ 794417 h 1198051"/>
                  <a:gd name="connsiteX17" fmla="*/ 115633 w 685728"/>
                  <a:gd name="connsiteY17" fmla="*/ 1064776 h 1198051"/>
                  <a:gd name="connsiteX18" fmla="*/ 118488 w 685728"/>
                  <a:gd name="connsiteY18" fmla="*/ 1081911 h 1198051"/>
                  <a:gd name="connsiteX19" fmla="*/ 569616 w 685728"/>
                  <a:gd name="connsiteY19" fmla="*/ 1081911 h 1198051"/>
                  <a:gd name="connsiteX20" fmla="*/ 514414 w 685728"/>
                  <a:gd name="connsiteY20" fmla="*/ 287971 h 1198051"/>
                  <a:gd name="connsiteX21" fmla="*/ 348811 w 685728"/>
                  <a:gd name="connsiteY21" fmla="*/ 113761 h 1198051"/>
                  <a:gd name="connsiteX22" fmla="*/ 172738 w 685728"/>
                  <a:gd name="connsiteY22" fmla="*/ 281308 h 1198051"/>
                  <a:gd name="connsiteX23" fmla="*/ 342148 w 685728"/>
                  <a:gd name="connsiteY23" fmla="*/ 455518 h 1198051"/>
                  <a:gd name="connsiteX24" fmla="*/ 514414 w 685728"/>
                  <a:gd name="connsiteY24" fmla="*/ 287971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5728" h="1198051">
                    <a:moveTo>
                      <a:pt x="163220" y="506924"/>
                    </a:moveTo>
                    <a:cubicBezTo>
                      <a:pt x="2375" y="354609"/>
                      <a:pt x="50914" y="169928"/>
                      <a:pt x="145137" y="80443"/>
                    </a:cubicBezTo>
                    <a:cubicBezTo>
                      <a:pt x="256491" y="-27129"/>
                      <a:pt x="432564" y="-27129"/>
                      <a:pt x="543919" y="82347"/>
                    </a:cubicBezTo>
                    <a:cubicBezTo>
                      <a:pt x="640045" y="176591"/>
                      <a:pt x="680018" y="359369"/>
                      <a:pt x="525835" y="505020"/>
                    </a:cubicBezTo>
                    <a:cubicBezTo>
                      <a:pt x="531546" y="510732"/>
                      <a:pt x="537256" y="516443"/>
                      <a:pt x="542967" y="521203"/>
                    </a:cubicBezTo>
                    <a:cubicBezTo>
                      <a:pt x="637190" y="592601"/>
                      <a:pt x="685729" y="686845"/>
                      <a:pt x="685729" y="805841"/>
                    </a:cubicBezTo>
                    <a:cubicBezTo>
                      <a:pt x="685729" y="912462"/>
                      <a:pt x="685729" y="1020034"/>
                      <a:pt x="685729" y="1126654"/>
                    </a:cubicBezTo>
                    <a:cubicBezTo>
                      <a:pt x="685729" y="1178060"/>
                      <a:pt x="665742" y="1198051"/>
                      <a:pt x="614348" y="1198051"/>
                    </a:cubicBezTo>
                    <a:cubicBezTo>
                      <a:pt x="433516" y="1198051"/>
                      <a:pt x="253636" y="1198051"/>
                      <a:pt x="72804" y="1198051"/>
                    </a:cubicBezTo>
                    <a:cubicBezTo>
                      <a:pt x="21410" y="1198051"/>
                      <a:pt x="1423" y="1178060"/>
                      <a:pt x="1423" y="1126654"/>
                    </a:cubicBezTo>
                    <a:cubicBezTo>
                      <a:pt x="1423" y="1034313"/>
                      <a:pt x="4278" y="941021"/>
                      <a:pt x="472" y="848680"/>
                    </a:cubicBezTo>
                    <a:cubicBezTo>
                      <a:pt x="-5239" y="705885"/>
                      <a:pt x="40445" y="589745"/>
                      <a:pt x="163220" y="506924"/>
                    </a:cubicBezTo>
                    <a:close/>
                    <a:moveTo>
                      <a:pt x="569616" y="1081911"/>
                    </a:moveTo>
                    <a:cubicBezTo>
                      <a:pt x="570567" y="1073344"/>
                      <a:pt x="570567" y="1068584"/>
                      <a:pt x="570567" y="1063824"/>
                    </a:cubicBezTo>
                    <a:cubicBezTo>
                      <a:pt x="570567" y="973387"/>
                      <a:pt x="571519" y="883903"/>
                      <a:pt x="570567" y="793466"/>
                    </a:cubicBezTo>
                    <a:cubicBezTo>
                      <a:pt x="568664" y="669710"/>
                      <a:pt x="466827" y="570705"/>
                      <a:pt x="344052" y="569754"/>
                    </a:cubicBezTo>
                    <a:cubicBezTo>
                      <a:pt x="219373" y="568802"/>
                      <a:pt x="117536" y="668758"/>
                      <a:pt x="115633" y="794417"/>
                    </a:cubicBezTo>
                    <a:cubicBezTo>
                      <a:pt x="114681" y="884854"/>
                      <a:pt x="115633" y="974339"/>
                      <a:pt x="115633" y="1064776"/>
                    </a:cubicBezTo>
                    <a:cubicBezTo>
                      <a:pt x="115633" y="1070488"/>
                      <a:pt x="117536" y="1076200"/>
                      <a:pt x="118488" y="1081911"/>
                    </a:cubicBezTo>
                    <a:cubicBezTo>
                      <a:pt x="268864" y="1081911"/>
                      <a:pt x="418288" y="1081911"/>
                      <a:pt x="569616" y="1081911"/>
                    </a:cubicBezTo>
                    <a:close/>
                    <a:moveTo>
                      <a:pt x="514414" y="287971"/>
                    </a:moveTo>
                    <a:cubicBezTo>
                      <a:pt x="516318" y="194679"/>
                      <a:pt x="441130" y="116618"/>
                      <a:pt x="348811" y="113761"/>
                    </a:cubicBezTo>
                    <a:cubicBezTo>
                      <a:pt x="253636" y="111858"/>
                      <a:pt x="174641" y="187063"/>
                      <a:pt x="172738" y="281308"/>
                    </a:cubicBezTo>
                    <a:cubicBezTo>
                      <a:pt x="170834" y="376504"/>
                      <a:pt x="247925" y="454566"/>
                      <a:pt x="342148" y="455518"/>
                    </a:cubicBezTo>
                    <a:cubicBezTo>
                      <a:pt x="435419" y="456469"/>
                      <a:pt x="512511" y="381264"/>
                      <a:pt x="514414" y="287971"/>
                    </a:cubicBezTo>
                    <a:close/>
                  </a:path>
                </a:pathLst>
              </a:custGeom>
              <a:grpFill/>
              <a:ln w="9514"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AC2F07E9-616D-7D6A-8BC2-A42A231B642F}"/>
                  </a:ext>
                </a:extLst>
              </p:cNvPr>
              <p:cNvSpPr/>
              <p:nvPr/>
            </p:nvSpPr>
            <p:spPr>
              <a:xfrm>
                <a:off x="4608736" y="3837617"/>
                <a:ext cx="684305" cy="1197349"/>
              </a:xfrm>
              <a:custGeom>
                <a:avLst/>
                <a:gdLst>
                  <a:gd name="connsiteX0" fmla="*/ 161797 w 684305"/>
                  <a:gd name="connsiteY0" fmla="*/ 506222 h 1197349"/>
                  <a:gd name="connsiteX1" fmla="*/ 140859 w 684305"/>
                  <a:gd name="connsiteY1" fmla="*/ 82597 h 1197349"/>
                  <a:gd name="connsiteX2" fmla="*/ 539640 w 684305"/>
                  <a:gd name="connsiteY2" fmla="*/ 78789 h 1197349"/>
                  <a:gd name="connsiteX3" fmla="*/ 524412 w 684305"/>
                  <a:gd name="connsiteY3" fmla="*/ 504318 h 1197349"/>
                  <a:gd name="connsiteX4" fmla="*/ 541543 w 684305"/>
                  <a:gd name="connsiteY4" fmla="*/ 520502 h 1197349"/>
                  <a:gd name="connsiteX5" fmla="*/ 684305 w 684305"/>
                  <a:gd name="connsiteY5" fmla="*/ 805140 h 1197349"/>
                  <a:gd name="connsiteX6" fmla="*/ 684305 w 684305"/>
                  <a:gd name="connsiteY6" fmla="*/ 1125953 h 1197349"/>
                  <a:gd name="connsiteX7" fmla="*/ 612924 w 684305"/>
                  <a:gd name="connsiteY7" fmla="*/ 1197350 h 1197349"/>
                  <a:gd name="connsiteX8" fmla="*/ 71381 w 684305"/>
                  <a:gd name="connsiteY8" fmla="*/ 1197350 h 1197349"/>
                  <a:gd name="connsiteX9" fmla="*/ 0 w 684305"/>
                  <a:gd name="connsiteY9" fmla="*/ 1125953 h 1197349"/>
                  <a:gd name="connsiteX10" fmla="*/ 0 w 684305"/>
                  <a:gd name="connsiteY10" fmla="*/ 805140 h 1197349"/>
                  <a:gd name="connsiteX11" fmla="*/ 145617 w 684305"/>
                  <a:gd name="connsiteY11" fmla="*/ 518598 h 1197349"/>
                  <a:gd name="connsiteX12" fmla="*/ 161797 w 684305"/>
                  <a:gd name="connsiteY12" fmla="*/ 506222 h 1197349"/>
                  <a:gd name="connsiteX13" fmla="*/ 570096 w 684305"/>
                  <a:gd name="connsiteY13" fmla="*/ 1082162 h 1197349"/>
                  <a:gd name="connsiteX14" fmla="*/ 570096 w 684305"/>
                  <a:gd name="connsiteY14" fmla="*/ 802284 h 1197349"/>
                  <a:gd name="connsiteX15" fmla="*/ 341677 w 684305"/>
                  <a:gd name="connsiteY15" fmla="*/ 570004 h 1197349"/>
                  <a:gd name="connsiteX16" fmla="*/ 114210 w 684305"/>
                  <a:gd name="connsiteY16" fmla="*/ 803236 h 1197349"/>
                  <a:gd name="connsiteX17" fmla="*/ 114210 w 684305"/>
                  <a:gd name="connsiteY17" fmla="*/ 1055507 h 1197349"/>
                  <a:gd name="connsiteX18" fmla="*/ 117065 w 684305"/>
                  <a:gd name="connsiteY18" fmla="*/ 1082162 h 1197349"/>
                  <a:gd name="connsiteX19" fmla="*/ 570096 w 684305"/>
                  <a:gd name="connsiteY19" fmla="*/ 1082162 h 1197349"/>
                  <a:gd name="connsiteX20" fmla="*/ 512991 w 684305"/>
                  <a:gd name="connsiteY20" fmla="*/ 284414 h 1197349"/>
                  <a:gd name="connsiteX21" fmla="*/ 344532 w 684305"/>
                  <a:gd name="connsiteY21" fmla="*/ 113060 h 1197349"/>
                  <a:gd name="connsiteX22" fmla="*/ 171314 w 684305"/>
                  <a:gd name="connsiteY22" fmla="*/ 283462 h 1197349"/>
                  <a:gd name="connsiteX23" fmla="*/ 343580 w 684305"/>
                  <a:gd name="connsiteY23" fmla="*/ 454816 h 1197349"/>
                  <a:gd name="connsiteX24" fmla="*/ 512991 w 684305"/>
                  <a:gd name="connsiteY24" fmla="*/ 284414 h 119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305" h="1197349">
                    <a:moveTo>
                      <a:pt x="161797" y="506222"/>
                    </a:moveTo>
                    <a:cubicBezTo>
                      <a:pt x="3807" y="356764"/>
                      <a:pt x="48539" y="173986"/>
                      <a:pt x="140859" y="82597"/>
                    </a:cubicBezTo>
                    <a:cubicBezTo>
                      <a:pt x="251261" y="-25927"/>
                      <a:pt x="427334" y="-27831"/>
                      <a:pt x="539640" y="78789"/>
                    </a:cubicBezTo>
                    <a:cubicBezTo>
                      <a:pt x="636718" y="171130"/>
                      <a:pt x="680498" y="355811"/>
                      <a:pt x="524412" y="504318"/>
                    </a:cubicBezTo>
                    <a:cubicBezTo>
                      <a:pt x="530123" y="510030"/>
                      <a:pt x="535833" y="515742"/>
                      <a:pt x="541543" y="520502"/>
                    </a:cubicBezTo>
                    <a:cubicBezTo>
                      <a:pt x="635766" y="591899"/>
                      <a:pt x="684305" y="686144"/>
                      <a:pt x="684305" y="805140"/>
                    </a:cubicBezTo>
                    <a:cubicBezTo>
                      <a:pt x="684305" y="911760"/>
                      <a:pt x="684305" y="1019332"/>
                      <a:pt x="684305" y="1125953"/>
                    </a:cubicBezTo>
                    <a:cubicBezTo>
                      <a:pt x="684305" y="1177359"/>
                      <a:pt x="664319" y="1197350"/>
                      <a:pt x="612924" y="1197350"/>
                    </a:cubicBezTo>
                    <a:cubicBezTo>
                      <a:pt x="432093" y="1197350"/>
                      <a:pt x="252213" y="1197350"/>
                      <a:pt x="71381" y="1197350"/>
                    </a:cubicBezTo>
                    <a:cubicBezTo>
                      <a:pt x="19987" y="1197350"/>
                      <a:pt x="0" y="1177359"/>
                      <a:pt x="0" y="1125953"/>
                    </a:cubicBezTo>
                    <a:cubicBezTo>
                      <a:pt x="0" y="1019332"/>
                      <a:pt x="0" y="911760"/>
                      <a:pt x="0" y="805140"/>
                    </a:cubicBezTo>
                    <a:cubicBezTo>
                      <a:pt x="0" y="685192"/>
                      <a:pt x="49491" y="589995"/>
                      <a:pt x="145617" y="518598"/>
                    </a:cubicBezTo>
                    <a:cubicBezTo>
                      <a:pt x="150376" y="514790"/>
                      <a:pt x="155135" y="510982"/>
                      <a:pt x="161797" y="506222"/>
                    </a:cubicBezTo>
                    <a:close/>
                    <a:moveTo>
                      <a:pt x="570096" y="1082162"/>
                    </a:moveTo>
                    <a:cubicBezTo>
                      <a:pt x="570096" y="986965"/>
                      <a:pt x="571048" y="894625"/>
                      <a:pt x="570096" y="802284"/>
                    </a:cubicBezTo>
                    <a:cubicBezTo>
                      <a:pt x="569144" y="670912"/>
                      <a:pt x="469211" y="570004"/>
                      <a:pt x="341677" y="570004"/>
                    </a:cubicBezTo>
                    <a:cubicBezTo>
                      <a:pt x="214143" y="570004"/>
                      <a:pt x="115161" y="670912"/>
                      <a:pt x="114210" y="803236"/>
                    </a:cubicBezTo>
                    <a:cubicBezTo>
                      <a:pt x="113258" y="887009"/>
                      <a:pt x="114210" y="971734"/>
                      <a:pt x="114210" y="1055507"/>
                    </a:cubicBezTo>
                    <a:cubicBezTo>
                      <a:pt x="114210" y="1064075"/>
                      <a:pt x="116113" y="1073594"/>
                      <a:pt x="117065" y="1082162"/>
                    </a:cubicBezTo>
                    <a:cubicBezTo>
                      <a:pt x="268392" y="1082162"/>
                      <a:pt x="416865" y="1082162"/>
                      <a:pt x="570096" y="1082162"/>
                    </a:cubicBezTo>
                    <a:close/>
                    <a:moveTo>
                      <a:pt x="512991" y="284414"/>
                    </a:moveTo>
                    <a:cubicBezTo>
                      <a:pt x="512991" y="191121"/>
                      <a:pt x="436851" y="114012"/>
                      <a:pt x="344532" y="113060"/>
                    </a:cubicBezTo>
                    <a:cubicBezTo>
                      <a:pt x="250309" y="112108"/>
                      <a:pt x="171314" y="189217"/>
                      <a:pt x="171314" y="283462"/>
                    </a:cubicBezTo>
                    <a:cubicBezTo>
                      <a:pt x="171314" y="377707"/>
                      <a:pt x="249358" y="455768"/>
                      <a:pt x="343580" y="454816"/>
                    </a:cubicBezTo>
                    <a:cubicBezTo>
                      <a:pt x="436851" y="454816"/>
                      <a:pt x="512991" y="377707"/>
                      <a:pt x="512991" y="284414"/>
                    </a:cubicBezTo>
                    <a:close/>
                  </a:path>
                </a:pathLst>
              </a:custGeom>
              <a:grpFill/>
              <a:ln w="9514"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FB8DB4F-AF3C-5AB6-1AF7-833EC2D13AFD}"/>
                  </a:ext>
                </a:extLst>
              </p:cNvPr>
              <p:cNvSpPr/>
              <p:nvPr/>
            </p:nvSpPr>
            <p:spPr>
              <a:xfrm>
                <a:off x="5405925" y="3836643"/>
                <a:ext cx="684679" cy="1197794"/>
              </a:xfrm>
              <a:custGeom>
                <a:avLst/>
                <a:gdLst>
                  <a:gd name="connsiteX0" fmla="*/ 522883 w 684679"/>
                  <a:gd name="connsiteY0" fmla="*/ 507196 h 1197794"/>
                  <a:gd name="connsiteX1" fmla="*/ 672306 w 684679"/>
                  <a:gd name="connsiteY1" fmla="*/ 710917 h 1197794"/>
                  <a:gd name="connsiteX2" fmla="*/ 683728 w 684679"/>
                  <a:gd name="connsiteY2" fmla="*/ 784218 h 1197794"/>
                  <a:gd name="connsiteX3" fmla="*/ 684679 w 684679"/>
                  <a:gd name="connsiteY3" fmla="*/ 1133590 h 1197794"/>
                  <a:gd name="connsiteX4" fmla="*/ 620912 w 684679"/>
                  <a:gd name="connsiteY4" fmla="*/ 1197371 h 1197794"/>
                  <a:gd name="connsiteX5" fmla="*/ 65093 w 684679"/>
                  <a:gd name="connsiteY5" fmla="*/ 1197371 h 1197794"/>
                  <a:gd name="connsiteX6" fmla="*/ 1326 w 684679"/>
                  <a:gd name="connsiteY6" fmla="*/ 1133590 h 1197794"/>
                  <a:gd name="connsiteX7" fmla="*/ 2277 w 684679"/>
                  <a:gd name="connsiteY7" fmla="*/ 781362 h 1197794"/>
                  <a:gd name="connsiteX8" fmla="*/ 134570 w 684679"/>
                  <a:gd name="connsiteY8" fmla="*/ 528139 h 1197794"/>
                  <a:gd name="connsiteX9" fmla="*/ 163122 w 684679"/>
                  <a:gd name="connsiteY9" fmla="*/ 507196 h 1197794"/>
                  <a:gd name="connsiteX10" fmla="*/ 60334 w 684679"/>
                  <a:gd name="connsiteY10" fmla="*/ 250165 h 1197794"/>
                  <a:gd name="connsiteX11" fmla="*/ 163122 w 684679"/>
                  <a:gd name="connsiteY11" fmla="*/ 64531 h 1197794"/>
                  <a:gd name="connsiteX12" fmla="*/ 550483 w 684679"/>
                  <a:gd name="connsiteY12" fmla="*/ 90234 h 1197794"/>
                  <a:gd name="connsiteX13" fmla="*/ 522883 w 684679"/>
                  <a:gd name="connsiteY13" fmla="*/ 507196 h 1197794"/>
                  <a:gd name="connsiteX14" fmla="*/ 115535 w 684679"/>
                  <a:gd name="connsiteY14" fmla="*/ 1081231 h 1197794"/>
                  <a:gd name="connsiteX15" fmla="*/ 570470 w 684679"/>
                  <a:gd name="connsiteY15" fmla="*/ 1081231 h 1197794"/>
                  <a:gd name="connsiteX16" fmla="*/ 569518 w 684679"/>
                  <a:gd name="connsiteY16" fmla="*/ 780410 h 1197794"/>
                  <a:gd name="connsiteX17" fmla="*/ 341099 w 684679"/>
                  <a:gd name="connsiteY17" fmla="*/ 570977 h 1197794"/>
                  <a:gd name="connsiteX18" fmla="*/ 116487 w 684679"/>
                  <a:gd name="connsiteY18" fmla="*/ 780410 h 1197794"/>
                  <a:gd name="connsiteX19" fmla="*/ 115535 w 684679"/>
                  <a:gd name="connsiteY19" fmla="*/ 1081231 h 1197794"/>
                  <a:gd name="connsiteX20" fmla="*/ 514317 w 684679"/>
                  <a:gd name="connsiteY20" fmla="*/ 285387 h 1197794"/>
                  <a:gd name="connsiteX21" fmla="*/ 345858 w 684679"/>
                  <a:gd name="connsiteY21" fmla="*/ 114033 h 1197794"/>
                  <a:gd name="connsiteX22" fmla="*/ 172640 w 684679"/>
                  <a:gd name="connsiteY22" fmla="*/ 284436 h 1197794"/>
                  <a:gd name="connsiteX23" fmla="*/ 344906 w 684679"/>
                  <a:gd name="connsiteY23" fmla="*/ 455790 h 1197794"/>
                  <a:gd name="connsiteX24" fmla="*/ 514317 w 684679"/>
                  <a:gd name="connsiteY24" fmla="*/ 285387 h 119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679" h="1197794">
                    <a:moveTo>
                      <a:pt x="522883" y="507196"/>
                    </a:moveTo>
                    <a:cubicBezTo>
                      <a:pt x="598070" y="558602"/>
                      <a:pt x="650416" y="624288"/>
                      <a:pt x="672306" y="710917"/>
                    </a:cubicBezTo>
                    <a:cubicBezTo>
                      <a:pt x="678017" y="734716"/>
                      <a:pt x="683728" y="759467"/>
                      <a:pt x="683728" y="784218"/>
                    </a:cubicBezTo>
                    <a:cubicBezTo>
                      <a:pt x="684679" y="900358"/>
                      <a:pt x="684679" y="1016498"/>
                      <a:pt x="684679" y="1133590"/>
                    </a:cubicBezTo>
                    <a:cubicBezTo>
                      <a:pt x="684679" y="1175476"/>
                      <a:pt x="662789" y="1197371"/>
                      <a:pt x="620912" y="1197371"/>
                    </a:cubicBezTo>
                    <a:cubicBezTo>
                      <a:pt x="435322" y="1198323"/>
                      <a:pt x="250683" y="1197371"/>
                      <a:pt x="65093" y="1197371"/>
                    </a:cubicBezTo>
                    <a:cubicBezTo>
                      <a:pt x="23216" y="1197371"/>
                      <a:pt x="1326" y="1175476"/>
                      <a:pt x="1326" y="1133590"/>
                    </a:cubicBezTo>
                    <a:cubicBezTo>
                      <a:pt x="374" y="1016498"/>
                      <a:pt x="-1530" y="898454"/>
                      <a:pt x="2277" y="781362"/>
                    </a:cubicBezTo>
                    <a:cubicBezTo>
                      <a:pt x="5133" y="676646"/>
                      <a:pt x="53672" y="592873"/>
                      <a:pt x="134570" y="528139"/>
                    </a:cubicBezTo>
                    <a:cubicBezTo>
                      <a:pt x="143136" y="521475"/>
                      <a:pt x="151702" y="515763"/>
                      <a:pt x="163122" y="507196"/>
                    </a:cubicBezTo>
                    <a:cubicBezTo>
                      <a:pt x="86983" y="437702"/>
                      <a:pt x="47961" y="352977"/>
                      <a:pt x="60334" y="250165"/>
                    </a:cubicBezTo>
                    <a:cubicBezTo>
                      <a:pt x="69851" y="174960"/>
                      <a:pt x="104114" y="113082"/>
                      <a:pt x="163122" y="64531"/>
                    </a:cubicBezTo>
                    <a:cubicBezTo>
                      <a:pt x="280187" y="-30665"/>
                      <a:pt x="447695" y="-19242"/>
                      <a:pt x="550483" y="90234"/>
                    </a:cubicBezTo>
                    <a:cubicBezTo>
                      <a:pt x="639947" y="184479"/>
                      <a:pt x="676114" y="362497"/>
                      <a:pt x="522883" y="507196"/>
                    </a:cubicBezTo>
                    <a:close/>
                    <a:moveTo>
                      <a:pt x="115535" y="1081231"/>
                    </a:moveTo>
                    <a:cubicBezTo>
                      <a:pt x="269718" y="1081231"/>
                      <a:pt x="419142" y="1081231"/>
                      <a:pt x="570470" y="1081231"/>
                    </a:cubicBezTo>
                    <a:cubicBezTo>
                      <a:pt x="570470" y="979371"/>
                      <a:pt x="574277" y="879415"/>
                      <a:pt x="569518" y="780410"/>
                    </a:cubicBezTo>
                    <a:cubicBezTo>
                      <a:pt x="563807" y="662366"/>
                      <a:pt x="460067" y="570026"/>
                      <a:pt x="341099" y="570977"/>
                    </a:cubicBezTo>
                    <a:cubicBezTo>
                      <a:pt x="224034" y="571929"/>
                      <a:pt x="121246" y="664270"/>
                      <a:pt x="116487" y="780410"/>
                    </a:cubicBezTo>
                    <a:cubicBezTo>
                      <a:pt x="112680" y="879415"/>
                      <a:pt x="115535" y="979371"/>
                      <a:pt x="115535" y="1081231"/>
                    </a:cubicBezTo>
                    <a:close/>
                    <a:moveTo>
                      <a:pt x="514317" y="285387"/>
                    </a:moveTo>
                    <a:cubicBezTo>
                      <a:pt x="514317" y="192095"/>
                      <a:pt x="438177" y="114985"/>
                      <a:pt x="345858" y="114033"/>
                    </a:cubicBezTo>
                    <a:cubicBezTo>
                      <a:pt x="251635" y="113082"/>
                      <a:pt x="172640" y="190191"/>
                      <a:pt x="172640" y="284436"/>
                    </a:cubicBezTo>
                    <a:cubicBezTo>
                      <a:pt x="172640" y="378680"/>
                      <a:pt x="250683" y="456741"/>
                      <a:pt x="344906" y="455790"/>
                    </a:cubicBezTo>
                    <a:cubicBezTo>
                      <a:pt x="437225" y="455790"/>
                      <a:pt x="514317" y="378680"/>
                      <a:pt x="514317" y="285387"/>
                    </a:cubicBezTo>
                    <a:close/>
                  </a:path>
                </a:pathLst>
              </a:custGeom>
              <a:grpFill/>
              <a:ln w="951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58A87AB9-D6CA-1EC5-CEDE-4E39993895FE}"/>
                  </a:ext>
                </a:extLst>
              </p:cNvPr>
              <p:cNvSpPr/>
              <p:nvPr/>
            </p:nvSpPr>
            <p:spPr>
              <a:xfrm>
                <a:off x="4868563" y="1843700"/>
                <a:ext cx="1077376" cy="279799"/>
              </a:xfrm>
              <a:custGeom>
                <a:avLst/>
                <a:gdLst>
                  <a:gd name="connsiteX0" fmla="*/ 0 w 1077376"/>
                  <a:gd name="connsiteY0" fmla="*/ 174485 h 279799"/>
                  <a:gd name="connsiteX1" fmla="*/ 347387 w 1077376"/>
                  <a:gd name="connsiteY1" fmla="*/ 3131 h 279799"/>
                  <a:gd name="connsiteX2" fmla="*/ 407347 w 1077376"/>
                  <a:gd name="connsiteY2" fmla="*/ 11699 h 279799"/>
                  <a:gd name="connsiteX3" fmla="*/ 684305 w 1077376"/>
                  <a:gd name="connsiteY3" fmla="*/ 149734 h 279799"/>
                  <a:gd name="connsiteX4" fmla="*/ 736651 w 1077376"/>
                  <a:gd name="connsiteY4" fmla="*/ 148782 h 279799"/>
                  <a:gd name="connsiteX5" fmla="*/ 1025982 w 1077376"/>
                  <a:gd name="connsiteY5" fmla="*/ 4083 h 279799"/>
                  <a:gd name="connsiteX6" fmla="*/ 1077376 w 1077376"/>
                  <a:gd name="connsiteY6" fmla="*/ 105943 h 279799"/>
                  <a:gd name="connsiteX7" fmla="*/ 945084 w 1077376"/>
                  <a:gd name="connsiteY7" fmla="*/ 171629 h 279799"/>
                  <a:gd name="connsiteX8" fmla="*/ 751879 w 1077376"/>
                  <a:gd name="connsiteY8" fmla="*/ 268730 h 279799"/>
                  <a:gd name="connsiteX9" fmla="*/ 668125 w 1077376"/>
                  <a:gd name="connsiteY9" fmla="*/ 268730 h 279799"/>
                  <a:gd name="connsiteX10" fmla="*/ 394975 w 1077376"/>
                  <a:gd name="connsiteY10" fmla="*/ 130695 h 279799"/>
                  <a:gd name="connsiteX11" fmla="*/ 342629 w 1077376"/>
                  <a:gd name="connsiteY11" fmla="*/ 130695 h 279799"/>
                  <a:gd name="connsiteX12" fmla="*/ 52346 w 1077376"/>
                  <a:gd name="connsiteY12" fmla="*/ 276345 h 279799"/>
                  <a:gd name="connsiteX13" fmla="*/ 0 w 1077376"/>
                  <a:gd name="connsiteY13" fmla="*/ 174485 h 27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7376" h="279799">
                    <a:moveTo>
                      <a:pt x="0" y="174485"/>
                    </a:moveTo>
                    <a:cubicBezTo>
                      <a:pt x="118016" y="115463"/>
                      <a:pt x="232226" y="57393"/>
                      <a:pt x="347387" y="3131"/>
                    </a:cubicBezTo>
                    <a:cubicBezTo>
                      <a:pt x="362615" y="-4485"/>
                      <a:pt x="389264" y="3131"/>
                      <a:pt x="407347" y="11699"/>
                    </a:cubicBezTo>
                    <a:cubicBezTo>
                      <a:pt x="500618" y="56441"/>
                      <a:pt x="592938" y="102136"/>
                      <a:pt x="684305" y="149734"/>
                    </a:cubicBezTo>
                    <a:cubicBezTo>
                      <a:pt x="703340" y="159254"/>
                      <a:pt x="717616" y="159254"/>
                      <a:pt x="736651" y="148782"/>
                    </a:cubicBezTo>
                    <a:cubicBezTo>
                      <a:pt x="831826" y="100232"/>
                      <a:pt x="927000" y="53585"/>
                      <a:pt x="1025982" y="4083"/>
                    </a:cubicBezTo>
                    <a:cubicBezTo>
                      <a:pt x="1043113" y="37402"/>
                      <a:pt x="1059293" y="69769"/>
                      <a:pt x="1077376" y="105943"/>
                    </a:cubicBezTo>
                    <a:cubicBezTo>
                      <a:pt x="1031692" y="128791"/>
                      <a:pt x="988864" y="150686"/>
                      <a:pt x="945084" y="171629"/>
                    </a:cubicBezTo>
                    <a:cubicBezTo>
                      <a:pt x="880365" y="203996"/>
                      <a:pt x="815646" y="235411"/>
                      <a:pt x="751879" y="268730"/>
                    </a:cubicBezTo>
                    <a:cubicBezTo>
                      <a:pt x="722375" y="283961"/>
                      <a:pt x="696678" y="283009"/>
                      <a:pt x="668125" y="268730"/>
                    </a:cubicBezTo>
                    <a:cubicBezTo>
                      <a:pt x="577710" y="222083"/>
                      <a:pt x="485390" y="178293"/>
                      <a:pt x="394975" y="130695"/>
                    </a:cubicBezTo>
                    <a:cubicBezTo>
                      <a:pt x="375940" y="121175"/>
                      <a:pt x="361663" y="120223"/>
                      <a:pt x="342629" y="130695"/>
                    </a:cubicBezTo>
                    <a:cubicBezTo>
                      <a:pt x="246502" y="180197"/>
                      <a:pt x="150376" y="226843"/>
                      <a:pt x="52346" y="276345"/>
                    </a:cubicBezTo>
                    <a:cubicBezTo>
                      <a:pt x="34263" y="242075"/>
                      <a:pt x="18083" y="210660"/>
                      <a:pt x="0" y="174485"/>
                    </a:cubicBezTo>
                    <a:close/>
                  </a:path>
                </a:pathLst>
              </a:custGeom>
              <a:grpFill/>
              <a:ln w="951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31CE706A-A3D5-B576-7F91-C080DE6A2604}"/>
                  </a:ext>
                </a:extLst>
              </p:cNvPr>
              <p:cNvSpPr/>
              <p:nvPr/>
            </p:nvSpPr>
            <p:spPr>
              <a:xfrm>
                <a:off x="5295897" y="2470369"/>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15C4431D-8F52-C421-1886-705DF82CFC99}"/>
                  </a:ext>
                </a:extLst>
              </p:cNvPr>
              <p:cNvSpPr/>
              <p:nvPr/>
            </p:nvSpPr>
            <p:spPr>
              <a:xfrm>
                <a:off x="5295897" y="2697889"/>
                <a:ext cx="678594" cy="111380"/>
              </a:xfrm>
              <a:custGeom>
                <a:avLst/>
                <a:gdLst>
                  <a:gd name="connsiteX0" fmla="*/ 678595 w 678594"/>
                  <a:gd name="connsiteY0" fmla="*/ 111380 h 111380"/>
                  <a:gd name="connsiteX1" fmla="*/ 0 w 678594"/>
                  <a:gd name="connsiteY1" fmla="*/ 111380 h 111380"/>
                  <a:gd name="connsiteX2" fmla="*/ 0 w 678594"/>
                  <a:gd name="connsiteY2" fmla="*/ 0 h 111380"/>
                  <a:gd name="connsiteX3" fmla="*/ 678595 w 678594"/>
                  <a:gd name="connsiteY3" fmla="*/ 0 h 111380"/>
                  <a:gd name="connsiteX4" fmla="*/ 678595 w 678594"/>
                  <a:gd name="connsiteY4" fmla="*/ 111380 h 11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594" h="111380">
                    <a:moveTo>
                      <a:pt x="678595" y="111380"/>
                    </a:moveTo>
                    <a:cubicBezTo>
                      <a:pt x="452079" y="111380"/>
                      <a:pt x="227467" y="111380"/>
                      <a:pt x="0" y="111380"/>
                    </a:cubicBezTo>
                    <a:cubicBezTo>
                      <a:pt x="0" y="74253"/>
                      <a:pt x="0" y="38079"/>
                      <a:pt x="0" y="0"/>
                    </a:cubicBezTo>
                    <a:cubicBezTo>
                      <a:pt x="225564" y="0"/>
                      <a:pt x="451127" y="0"/>
                      <a:pt x="678595" y="0"/>
                    </a:cubicBezTo>
                    <a:cubicBezTo>
                      <a:pt x="678595" y="35223"/>
                      <a:pt x="678595" y="71397"/>
                      <a:pt x="678595" y="111380"/>
                    </a:cubicBezTo>
                    <a:close/>
                  </a:path>
                </a:pathLst>
              </a:custGeom>
              <a:grpFill/>
              <a:ln w="9514"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4611157E-4979-D111-7773-06F975048CB5}"/>
                  </a:ext>
                </a:extLst>
              </p:cNvPr>
              <p:cNvSpPr/>
              <p:nvPr/>
            </p:nvSpPr>
            <p:spPr>
              <a:xfrm>
                <a:off x="5294945" y="2926361"/>
                <a:ext cx="679546" cy="109476"/>
              </a:xfrm>
              <a:custGeom>
                <a:avLst/>
                <a:gdLst>
                  <a:gd name="connsiteX0" fmla="*/ 0 w 679546"/>
                  <a:gd name="connsiteY0" fmla="*/ 109476 h 109476"/>
                  <a:gd name="connsiteX1" fmla="*/ 0 w 679546"/>
                  <a:gd name="connsiteY1" fmla="*/ 0 h 109476"/>
                  <a:gd name="connsiteX2" fmla="*/ 679547 w 679546"/>
                  <a:gd name="connsiteY2" fmla="*/ 0 h 109476"/>
                  <a:gd name="connsiteX3" fmla="*/ 679547 w 679546"/>
                  <a:gd name="connsiteY3" fmla="*/ 109476 h 109476"/>
                  <a:gd name="connsiteX4" fmla="*/ 0 w 679546"/>
                  <a:gd name="connsiteY4" fmla="*/ 109476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0" y="109476"/>
                    </a:moveTo>
                    <a:cubicBezTo>
                      <a:pt x="0" y="72350"/>
                      <a:pt x="0" y="37127"/>
                      <a:pt x="0" y="0"/>
                    </a:cubicBezTo>
                    <a:cubicBezTo>
                      <a:pt x="226515" y="0"/>
                      <a:pt x="451127" y="0"/>
                      <a:pt x="679547" y="0"/>
                    </a:cubicBezTo>
                    <a:cubicBezTo>
                      <a:pt x="679547" y="35223"/>
                      <a:pt x="679547" y="71397"/>
                      <a:pt x="679547" y="109476"/>
                    </a:cubicBezTo>
                    <a:cubicBezTo>
                      <a:pt x="453983" y="109476"/>
                      <a:pt x="228419" y="109476"/>
                      <a:pt x="0" y="109476"/>
                    </a:cubicBezTo>
                    <a:close/>
                  </a:path>
                </a:pathLst>
              </a:custGeom>
              <a:grpFill/>
              <a:ln w="9514"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3421C6E3-6E7F-2D9F-6801-8A554FC72414}"/>
                  </a:ext>
                </a:extLst>
              </p:cNvPr>
              <p:cNvSpPr/>
              <p:nvPr/>
            </p:nvSpPr>
            <p:spPr>
              <a:xfrm>
                <a:off x="5295897" y="3154833"/>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51225045"/>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228314" y="572475"/>
            <a:ext cx="3291071" cy="4658741"/>
          </a:xfrm>
        </p:spPr>
        <p:txBody>
          <a:bodyPr>
            <a:normAutofit/>
          </a:bodyPr>
          <a:lstStyle/>
          <a:p>
            <a:endParaRPr lang="en-US"/>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8"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8"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3"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5"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5"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5" name="Rectangle 82">
            <a:extLst>
              <a:ext uri="{FF2B5EF4-FFF2-40B4-BE49-F238E27FC236}">
                <a16:creationId xmlns:a16="http://schemas.microsoft.com/office/drawing/2014/main" id="{17A638CD-E16A-4268-90BE-49D660E063BC}"/>
              </a:ext>
            </a:extLst>
          </p:cNvPr>
          <p:cNvSpPr>
            <a:spLocks noChangeArrowheads="1"/>
          </p:cNvSpPr>
          <p:nvPr/>
        </p:nvSpPr>
        <p:spPr bwMode="auto">
          <a:xfrm>
            <a:off x="3857339" y="352399"/>
            <a:ext cx="8215987" cy="60016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l"/>
            <a:r>
              <a:rPr lang="en-GB" sz="2400">
                <a:solidFill>
                  <a:srgbClr val="595959"/>
                </a:solidFill>
                <a:latin typeface="Nuacht Serif Text"/>
              </a:rPr>
              <a:t>El sector de la hostelería se considera uno de los más afectados por las consecuencias de la pandemia de COVID-19, con una ansiedad palpable sobre su capacidad para recuperarse de esta dramática situación. Las empresas de hostelería demostraron tener pocos o insuficientes recursos financieros para soportar un cierre forzoso tras otro. </a:t>
            </a:r>
          </a:p>
          <a:p>
            <a:pPr algn="l"/>
            <a:endParaRPr lang="en-GB" sz="2400" b="0" i="0">
              <a:solidFill>
                <a:srgbClr val="595959"/>
              </a:solidFill>
              <a:effectLst/>
              <a:latin typeface="Nuacht Serif Text"/>
            </a:endParaRPr>
          </a:p>
          <a:p>
            <a:pPr algn="l"/>
            <a:r>
              <a:rPr lang="en-GB" sz="2400" b="0" i="0">
                <a:solidFill>
                  <a:srgbClr val="595959"/>
                </a:solidFill>
                <a:effectLst/>
                <a:latin typeface="Nuacht Serif Text"/>
              </a:rPr>
              <a:t>Para Belle</a:t>
            </a:r>
            <a:r>
              <a:rPr lang="en-GB" sz="2400" b="1" i="0">
                <a:solidFill>
                  <a:srgbClr val="595959"/>
                </a:solidFill>
                <a:effectLst/>
                <a:latin typeface="Nuacht Serif Text"/>
                <a:hlinkClick r:id="rId2"/>
              </a:rPr>
              <a:t>'s Kitchen Rathmullan, Co. Donegal </a:t>
            </a:r>
            <a:r>
              <a:rPr lang="en-GB" sz="2400" b="1" i="0">
                <a:solidFill>
                  <a:srgbClr val="595959"/>
                </a:solidFill>
                <a:effectLst/>
                <a:latin typeface="Nuacht Serif Text"/>
              </a:rPr>
              <a:t>(Irlanda), la resistencia ha sido clave para la supervivencia y la reinvención del negocio. </a:t>
            </a:r>
            <a:r>
              <a:rPr lang="en-GB" sz="2400" i="0">
                <a:solidFill>
                  <a:srgbClr val="595959"/>
                </a:solidFill>
                <a:effectLst/>
                <a:latin typeface="Nuacht Serif Text"/>
              </a:rPr>
              <a:t>Inaugurado en 2004, Belle's Kitchen es un restaurante familiar situado en una zona de turismo rural. Se ha </a:t>
            </a:r>
            <a:r>
              <a:rPr lang="en-GB" sz="2400">
                <a:solidFill>
                  <a:srgbClr val="595959"/>
                </a:solidFill>
                <a:latin typeface="Nuacht Serif Text"/>
              </a:rPr>
              <a:t>enfrentado a </a:t>
            </a:r>
            <a:r>
              <a:rPr lang="en-GB" sz="2400" i="0">
                <a:solidFill>
                  <a:srgbClr val="595959"/>
                </a:solidFill>
                <a:effectLst/>
                <a:latin typeface="Nuacht Serif Text"/>
              </a:rPr>
              <a:t>muchos retos a lo largo de los años, como la recesión mundial de 2008 y, más recientemente, la pandemia de COVID-19.</a:t>
            </a:r>
          </a:p>
          <a:p>
            <a:pPr algn="l"/>
            <a:endParaRPr lang="en-GB" sz="2400" i="0">
              <a:solidFill>
                <a:srgbClr val="595959"/>
              </a:solidFill>
              <a:effectLst/>
              <a:latin typeface="Nuacht Serif Text"/>
            </a:endParaRPr>
          </a:p>
          <a:p>
            <a:pPr algn="l"/>
            <a:r>
              <a:rPr lang="en-GB" sz="2400" i="0">
                <a:solidFill>
                  <a:srgbClr val="595959"/>
                </a:solidFill>
                <a:effectLst/>
                <a:latin typeface="Nuacht Serif Text"/>
              </a:rPr>
              <a:t> Antes de la pandemia de COVID-19, Belle's Kitchen funcionaba 7 días a la semana con personal y directivos que trabajaban muchas horas, con elevados gastos generales de salarios, combustible y suministros. </a:t>
            </a:r>
          </a:p>
        </p:txBody>
      </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pic>
        <p:nvPicPr>
          <p:cNvPr id="2138" name="Picture 2137" descr="Text, letter&#10;&#10;Description automatically generated">
            <a:extLst>
              <a:ext uri="{FF2B5EF4-FFF2-40B4-BE49-F238E27FC236}">
                <a16:creationId xmlns:a16="http://schemas.microsoft.com/office/drawing/2014/main" id="{39E6D030-A7B1-936F-3FDE-D32221483459}"/>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a:ext>
            </a:extLst>
          </a:blip>
          <a:srcRect r="5468"/>
          <a:stretch>
            <a:fillRect/>
          </a:stretch>
        </p:blipFill>
        <p:spPr bwMode="auto">
          <a:xfrm>
            <a:off x="277946" y="2616904"/>
            <a:ext cx="3094566" cy="1472635"/>
          </a:xfrm>
          <a:prstGeom prst="rect">
            <a:avLst/>
          </a:prstGeom>
          <a:ln>
            <a:noFill/>
          </a:ln>
          <a:extLst>
            <a:ext uri="{53640926-AAD7-44D8-BBD7-CCE9431645EC}">
              <a14:shadowObscured xmlns:a14="http://schemas.microsoft.com/office/drawing/2010/main"/>
            </a:ext>
          </a:extLst>
        </p:spPr>
      </p:pic>
      <p:pic>
        <p:nvPicPr>
          <p:cNvPr id="2140" name="Picture 2139" descr="Hand sanitizer and masks">
            <a:extLst>
              <a:ext uri="{FF2B5EF4-FFF2-40B4-BE49-F238E27FC236}">
                <a16:creationId xmlns:a16="http://schemas.microsoft.com/office/drawing/2014/main" id="{022AB700-463B-6876-512F-20597248C0B7}"/>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0" y="0"/>
            <a:ext cx="3650459" cy="2434850"/>
          </a:xfrm>
          <a:prstGeom prst="rect">
            <a:avLst/>
          </a:prstGeom>
        </p:spPr>
      </p:pic>
      <p:sp>
        <p:nvSpPr>
          <p:cNvPr id="2142" name="TextBox 2141">
            <a:extLst>
              <a:ext uri="{FF2B5EF4-FFF2-40B4-BE49-F238E27FC236}">
                <a16:creationId xmlns:a16="http://schemas.microsoft.com/office/drawing/2014/main" id="{89D35896-218D-8727-ABBB-3486C509BBC9}"/>
              </a:ext>
            </a:extLst>
          </p:cNvPr>
          <p:cNvSpPr txBox="1"/>
          <p:nvPr/>
        </p:nvSpPr>
        <p:spPr>
          <a:xfrm>
            <a:off x="228313" y="4584885"/>
            <a:ext cx="3291071" cy="830997"/>
          </a:xfrm>
          <a:prstGeom prst="rect">
            <a:avLst/>
          </a:prstGeom>
          <a:noFill/>
        </p:spPr>
        <p:txBody>
          <a:bodyPr wrap="square">
            <a:spAutoFit/>
          </a:bodyPr>
          <a:lstStyle/>
          <a:p>
            <a:r>
              <a:rPr lang="en-US" sz="2400" b="1">
                <a:solidFill>
                  <a:schemeClr val="bg1"/>
                </a:solidFill>
              </a:rPr>
              <a:t>Así es la resiliencia .....</a:t>
            </a:r>
          </a:p>
        </p:txBody>
      </p:sp>
    </p:spTree>
    <p:extLst>
      <p:ext uri="{BB962C8B-B14F-4D97-AF65-F5344CB8AC3E}">
        <p14:creationId xmlns:p14="http://schemas.microsoft.com/office/powerpoint/2010/main" val="140647297"/>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228314" y="1099629"/>
            <a:ext cx="3291071" cy="4658741"/>
          </a:xfrm>
        </p:spPr>
        <p:txBody>
          <a:bodyPr>
            <a:normAutofit fontScale="92500" lnSpcReduction="10000"/>
          </a:bodyPr>
          <a:lstStyle/>
          <a:p>
            <a:endParaRPr lang="en-US"/>
          </a:p>
          <a:p>
            <a:endParaRPr lang="en-US"/>
          </a:p>
          <a:p>
            <a:endParaRPr lang="en-US"/>
          </a:p>
          <a:p>
            <a:endParaRPr lang="en-US"/>
          </a:p>
          <a:p>
            <a:endParaRPr lang="en-US"/>
          </a:p>
          <a:p>
            <a:endParaRPr lang="en-US"/>
          </a:p>
          <a:p>
            <a:endParaRPr lang="en-US"/>
          </a:p>
          <a:p>
            <a:r>
              <a:rPr lang="en-US" sz="2600" b="1">
                <a:solidFill>
                  <a:schemeClr val="bg1"/>
                </a:solidFill>
              </a:rPr>
              <a:t>Así es la resiliencia .....</a:t>
            </a:r>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8"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8"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3"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5"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5"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pic>
        <p:nvPicPr>
          <p:cNvPr id="2138" name="Picture 2137" descr="Text, letter&#10;&#10;Description automatically generated">
            <a:extLst>
              <a:ext uri="{FF2B5EF4-FFF2-40B4-BE49-F238E27FC236}">
                <a16:creationId xmlns:a16="http://schemas.microsoft.com/office/drawing/2014/main" id="{39E6D030-A7B1-936F-3FDE-D32221483459}"/>
              </a:ext>
            </a:extLst>
          </p:cNvPr>
          <p:cNvPicPr>
            <a:picLocks noChangeAspect="1"/>
          </p:cNvPicPr>
          <p:nvPr/>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a:ext>
            </a:extLst>
          </a:blip>
          <a:srcRect r="5468"/>
          <a:stretch>
            <a:fillRect/>
          </a:stretch>
        </p:blipFill>
        <p:spPr bwMode="auto">
          <a:xfrm>
            <a:off x="277946" y="2616904"/>
            <a:ext cx="3094566" cy="1472635"/>
          </a:xfrm>
          <a:prstGeom prst="rect">
            <a:avLst/>
          </a:prstGeom>
          <a:ln>
            <a:noFill/>
          </a:ln>
          <a:extLst>
            <a:ext uri="{53640926-AAD7-44D8-BBD7-CCE9431645EC}">
              <a14:shadowObscured xmlns:a14="http://schemas.microsoft.com/office/drawing/2010/main"/>
            </a:ext>
          </a:extLst>
        </p:spPr>
      </p:pic>
      <p:pic>
        <p:nvPicPr>
          <p:cNvPr id="2140" name="Picture 2139" descr="Hand sanitizer and masks">
            <a:extLst>
              <a:ext uri="{FF2B5EF4-FFF2-40B4-BE49-F238E27FC236}">
                <a16:creationId xmlns:a16="http://schemas.microsoft.com/office/drawing/2014/main" id="{022AB700-463B-6876-512F-20597248C0B7}"/>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0" y="0"/>
            <a:ext cx="3650459" cy="2434850"/>
          </a:xfrm>
          <a:prstGeom prst="rect">
            <a:avLst/>
          </a:prstGeom>
        </p:spPr>
      </p:pic>
      <p:sp>
        <p:nvSpPr>
          <p:cNvPr id="5" name="TextBox 4">
            <a:extLst>
              <a:ext uri="{FF2B5EF4-FFF2-40B4-BE49-F238E27FC236}">
                <a16:creationId xmlns:a16="http://schemas.microsoft.com/office/drawing/2014/main" id="{E791BC06-F5C9-F957-7DDD-52038BFE17FB}"/>
              </a:ext>
            </a:extLst>
          </p:cNvPr>
          <p:cNvSpPr txBox="1"/>
          <p:nvPr/>
        </p:nvSpPr>
        <p:spPr>
          <a:xfrm>
            <a:off x="4080243" y="452183"/>
            <a:ext cx="7626203" cy="6124754"/>
          </a:xfrm>
          <a:prstGeom prst="rect">
            <a:avLst/>
          </a:prstGeom>
          <a:noFill/>
        </p:spPr>
        <p:txBody>
          <a:bodyPr wrap="square">
            <a:spAutoFit/>
          </a:bodyPr>
          <a:lstStyle/>
          <a:p>
            <a:r>
              <a:rPr lang="en-IE" sz="2200">
                <a:solidFill>
                  <a:srgbClr val="595959"/>
                </a:solidFill>
                <a:effectLst/>
                <a:latin typeface="Calibri" panose="020F0502020204030204" pitchFamily="34" charset="0"/>
                <a:ea typeface="Calibri" panose="020F0502020204030204" pitchFamily="34" charset="0"/>
              </a:rPr>
              <a:t>Belle's Kitchen aprovechó el cierre de COVID-19 como una oportunidad para dar un paso atrás y reevaluar su modelo de negocio y su forma de operar. Se decidió desarrollar un modelo de negocio nuevo y más inteligente que permitiera un mejor equilibrio entre el trabajo y la vida privada.</a:t>
            </a:r>
          </a:p>
          <a:p>
            <a:endParaRPr lang="en-IE" sz="2200">
              <a:solidFill>
                <a:srgbClr val="595959"/>
              </a:solidFill>
              <a:latin typeface="Calibri" panose="020F0502020204030204" pitchFamily="34" charset="0"/>
            </a:endParaRPr>
          </a:p>
          <a:p>
            <a:r>
              <a:rPr lang="en-US" sz="2200">
                <a:solidFill>
                  <a:srgbClr val="595959"/>
                </a:solidFill>
                <a:effectLst/>
                <a:latin typeface="Calibri" panose="020F0502020204030204" pitchFamily="34" charset="0"/>
                <a:ea typeface="Calibri" panose="020F0502020204030204" pitchFamily="34" charset="0"/>
                <a:cs typeface="Calibri" panose="020F0502020204030204" pitchFamily="34" charset="0"/>
              </a:rPr>
              <a:t>Y lo que es más importante, Belle's Kitchen tenía que encontrar la forma de seguir operando su negocio durante el cierre. </a:t>
            </a:r>
            <a:r>
              <a:rPr lang="en-GB" sz="2200">
                <a:solidFill>
                  <a:srgbClr val="595959"/>
                </a:solidFill>
                <a:effectLst/>
                <a:latin typeface="Calibri" panose="020F0502020204030204" pitchFamily="34" charset="0"/>
                <a:ea typeface="Calibri" panose="020F0502020204030204" pitchFamily="34" charset="0"/>
                <a:cs typeface="Calibri" panose="020F0502020204030204" pitchFamily="34" charset="0"/>
              </a:rPr>
              <a:t>Ronnie Blake, el propietario y jefe de cocina, también identificó una nueva oportunidad al descubrir que Co. Donegal, es uno de los mayores consumidores de dulces, tartas y pasteles de Irlanda.  Para dar servicio a este mercado, Ronnie aprovechó la oportunidad que le brindaba el cierre para perfeccionar sus habilidades de repostería. Belle's Kitchen no tardó en ganarse la reputación de producir maravillosos panes y pasteles de masa madre que ahora venden en su recién inaugurada panadería), además de actuar como proveedor de estos pasteles a otros negocios de Donegal. </a:t>
            </a:r>
            <a:r>
              <a:rPr lang="en-US" sz="2200">
                <a:solidFill>
                  <a:srgbClr val="595959"/>
                </a:solidFill>
                <a:effectLst/>
                <a:latin typeface="Calibri" panose="020F0502020204030204" pitchFamily="34" charset="0"/>
                <a:ea typeface="Calibri" panose="020F0502020204030204" pitchFamily="34" charset="0"/>
                <a:cs typeface="Calibri" panose="020F0502020204030204" pitchFamily="34" charset="0"/>
              </a:rPr>
              <a:t>  También empezaron a ofrecer un servicio de comida para llevar que ahora siguen ofreciendo junto con su servicio de comida para llevar. </a:t>
            </a:r>
            <a:endParaRPr lang="en-IE" sz="2200">
              <a:solidFill>
                <a:srgbClr val="595959"/>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IE"/>
          </a:p>
        </p:txBody>
      </p:sp>
    </p:spTree>
    <p:extLst>
      <p:ext uri="{BB962C8B-B14F-4D97-AF65-F5344CB8AC3E}">
        <p14:creationId xmlns:p14="http://schemas.microsoft.com/office/powerpoint/2010/main" val="4020722794"/>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228314" y="1099629"/>
            <a:ext cx="3291071" cy="4658741"/>
          </a:xfrm>
        </p:spPr>
        <p:txBody>
          <a:bodyPr>
            <a:normAutofit/>
          </a:bodyPr>
          <a:lstStyle/>
          <a:p>
            <a:r>
              <a:rPr lang="en-US" sz="2600" b="1">
                <a:solidFill>
                  <a:schemeClr val="bg1"/>
                </a:solidFill>
              </a:rPr>
              <a:t>La capacidad de recuperación también es necesaria cuando la empresa es insolvente. ¿Es la recuperación una opción? </a:t>
            </a:r>
          </a:p>
          <a:p>
            <a:endParaRPr lang="en-US" sz="2600" b="1">
              <a:solidFill>
                <a:schemeClr val="bg1"/>
              </a:solidFill>
            </a:endParaRPr>
          </a:p>
          <a:p>
            <a:r>
              <a:rPr lang="en-US" sz="2600" b="1">
                <a:solidFill>
                  <a:schemeClr val="bg1"/>
                </a:solidFill>
              </a:rPr>
              <a:t>Para PESCANOVA lo fue.</a:t>
            </a:r>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8"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8"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3"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5"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5"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sp>
        <p:nvSpPr>
          <p:cNvPr id="5" name="TextBox 4">
            <a:extLst>
              <a:ext uri="{FF2B5EF4-FFF2-40B4-BE49-F238E27FC236}">
                <a16:creationId xmlns:a16="http://schemas.microsoft.com/office/drawing/2014/main" id="{E791BC06-F5C9-F957-7DDD-52038BFE17FB}"/>
              </a:ext>
            </a:extLst>
          </p:cNvPr>
          <p:cNvSpPr txBox="1"/>
          <p:nvPr/>
        </p:nvSpPr>
        <p:spPr>
          <a:xfrm>
            <a:off x="3875403" y="16248"/>
            <a:ext cx="7626203" cy="6832640"/>
          </a:xfrm>
          <a:prstGeom prst="rect">
            <a:avLst/>
          </a:prstGeom>
          <a:noFill/>
        </p:spPr>
        <p:txBody>
          <a:bodyPr wrap="square">
            <a:spAutoFit/>
          </a:bodyPr>
          <a:lstStyle/>
          <a:p>
            <a:pPr algn="l"/>
            <a:r>
              <a:rPr lang="en-GB" sz="2200" b="1" i="0">
                <a:solidFill>
                  <a:srgbClr val="262626"/>
                </a:solidFill>
                <a:effectLst/>
              </a:rPr>
              <a:t>EMPRESA Pescanova</a:t>
            </a:r>
          </a:p>
          <a:p>
            <a:pPr algn="l"/>
            <a:r>
              <a:rPr lang="en-GB" sz="2200" b="1" i="0">
                <a:solidFill>
                  <a:srgbClr val="262626"/>
                </a:solidFill>
                <a:effectLst/>
              </a:rPr>
              <a:t>Reto: Insolvencia</a:t>
            </a:r>
          </a:p>
          <a:p>
            <a:pPr algn="l"/>
            <a:r>
              <a:rPr lang="en-GB" sz="2200" b="1" i="0">
                <a:solidFill>
                  <a:srgbClr val="262626"/>
                </a:solidFill>
                <a:effectLst/>
              </a:rPr>
              <a:t>Táctica: Reestructuración</a:t>
            </a:r>
          </a:p>
          <a:p>
            <a:pPr algn="l"/>
            <a:endParaRPr lang="en-GB" sz="2200" b="0" i="0">
              <a:solidFill>
                <a:srgbClr val="262626"/>
              </a:solidFill>
              <a:effectLst/>
            </a:endParaRPr>
          </a:p>
          <a:p>
            <a:pPr algn="l"/>
            <a:r>
              <a:rPr lang="en-GB" sz="2200" b="0" i="0">
                <a:solidFill>
                  <a:srgbClr val="262626"/>
                </a:solidFill>
                <a:effectLst/>
              </a:rPr>
              <a:t>Nunca es tarde para cambiar de estrategia. Pescanova, la mayor empresa pesquera de Europa, con más de 12.000 empleados en 27 países, se deslizaba hacia el olvido cuando, en 2013, solicitó el concurso de acreedores. Siete acreedores contrataron al bufete Freshfields para evitar la liquidación. Las águilas jurídicas utilizaron el concurso de acreedores para reestructurar la deuda, crear una nueva empresa, llamada </a:t>
            </a:r>
            <a:r>
              <a:rPr lang="en-GB" sz="2200" b="0" i="0">
                <a:solidFill>
                  <a:srgbClr val="262626"/>
                </a:solidFill>
                <a:effectLst/>
                <a:hlinkClick r:id="rId2"/>
              </a:rPr>
              <a:t>Nueva Pescanova</a:t>
            </a:r>
            <a:r>
              <a:rPr lang="en-GB" sz="2200" b="0" i="0">
                <a:solidFill>
                  <a:srgbClr val="262626"/>
                </a:solidFill>
                <a:effectLst/>
              </a:rPr>
              <a:t>, y ampliar el capital dando a los acreedores una gran participación en la nueva entidad. Ahora Nueva Pescanova es viable y una multinacional líder en el sector de la comercialización de productos del mar. Es una de las pocas empresas presentes en toda la cadena de valor: pescamos, cultivamos, transformamos y comercializamos más de 70 especies de pescado y marisco en 80 países de todo el mundo. El plan ganó el </a:t>
            </a:r>
            <a:r>
              <a:rPr lang="en-GB" sz="2200" b="0" i="0">
                <a:solidFill>
                  <a:srgbClr val="262626"/>
                </a:solidFill>
                <a:effectLst/>
                <a:hlinkClick r:id="rId3"/>
              </a:rPr>
              <a:t>premio de la Turnaround Management Association </a:t>
            </a:r>
            <a:r>
              <a:rPr lang="en-GB" sz="2200" b="0" i="0">
                <a:solidFill>
                  <a:srgbClr val="262626"/>
                </a:solidFill>
                <a:effectLst/>
              </a:rPr>
              <a:t>al cambio de rumbo del año.</a:t>
            </a:r>
          </a:p>
          <a:p>
            <a:pPr algn="l"/>
            <a:endParaRPr lang="en-GB" sz="2200">
              <a:solidFill>
                <a:srgbClr val="262626"/>
              </a:solidFill>
            </a:endParaRPr>
          </a:p>
          <a:p>
            <a:pPr algn="l"/>
            <a:r>
              <a:rPr lang="en-GB" sz="2200" b="0" i="0">
                <a:solidFill>
                  <a:schemeClr val="bg2"/>
                </a:solidFill>
                <a:effectLst/>
                <a:highlight>
                  <a:srgbClr val="F16924"/>
                </a:highlight>
              </a:rPr>
              <a:t>LEER MÁS </a:t>
            </a:r>
            <a:r>
              <a:rPr lang="en-IE" sz="2400" err="1">
                <a:hlinkClick r:id="rId4"/>
              </a:rPr>
              <a:t>Pescanova - Wikipedia</a:t>
            </a:r>
            <a:endParaRPr lang="en-GB" sz="2200" b="0" i="0">
              <a:solidFill>
                <a:srgbClr val="262626"/>
              </a:solidFill>
              <a:effectLst/>
            </a:endParaRPr>
          </a:p>
          <a:p>
            <a:endParaRPr lang="en-IE"/>
          </a:p>
        </p:txBody>
      </p:sp>
      <p:pic>
        <p:nvPicPr>
          <p:cNvPr id="2129" name="Picture 2128">
            <a:extLst>
              <a:ext uri="{FF2B5EF4-FFF2-40B4-BE49-F238E27FC236}">
                <a16:creationId xmlns:a16="http://schemas.microsoft.com/office/drawing/2014/main" id="{E3B3810F-130D-C4AC-5913-89140CF90B78}"/>
              </a:ext>
            </a:extLst>
          </p:cNvPr>
          <p:cNvPicPr>
            <a:picLocks noChangeAspect="1"/>
          </p:cNvPicPr>
          <p:nvPr/>
        </p:nvPicPr>
        <p:blipFill>
          <a:blip r:embed="rId5"/>
          <a:stretch>
            <a:fillRect/>
          </a:stretch>
        </p:blipFill>
        <p:spPr>
          <a:xfrm>
            <a:off x="316900" y="4260756"/>
            <a:ext cx="2995224" cy="1356326"/>
          </a:xfrm>
          <a:prstGeom prst="rect">
            <a:avLst/>
          </a:prstGeom>
        </p:spPr>
      </p:pic>
    </p:spTree>
    <p:extLst>
      <p:ext uri="{BB962C8B-B14F-4D97-AF65-F5344CB8AC3E}">
        <p14:creationId xmlns:p14="http://schemas.microsoft.com/office/powerpoint/2010/main" val="1171954954"/>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344234"/>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US" sz="4000">
                <a:solidFill>
                  <a:schemeClr val="bg1"/>
                </a:solidFill>
              </a:rPr>
              <a:t>05 </a:t>
            </a:r>
            <a:r>
              <a:rPr lang="en-US">
                <a:solidFill>
                  <a:schemeClr val="bg1"/>
                </a:solidFill>
              </a:rPr>
              <a:t>Visión alternativa del </a:t>
            </a:r>
            <a:r>
              <a:rPr lang="en-IE">
                <a:solidFill>
                  <a:schemeClr val="bg1"/>
                </a:solidFill>
              </a:rPr>
              <a:t>aprendizaje y la resiliencia </a:t>
            </a:r>
            <a:endParaRPr lang="en-US">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2092932" y="1767267"/>
            <a:ext cx="6778175" cy="4503942"/>
          </a:xfrm>
        </p:spPr>
        <p:txBody>
          <a:bodyPr>
            <a:normAutofit/>
          </a:bodyPr>
          <a:lstStyle/>
          <a:p>
            <a:pPr marL="12700" indent="-12700" algn="just">
              <a:lnSpc>
                <a:spcPct val="110000"/>
              </a:lnSpc>
            </a:pPr>
            <a:r>
              <a:rPr lang="en-GB" b="0" i="0">
                <a:effectLst/>
              </a:rPr>
              <a:t>El autor Nassim Nicholas Taleb arroja una luz interesante sobre esto en su libro </a:t>
            </a:r>
            <a:r>
              <a:rPr lang="en-GB" b="1" i="1" u="none" strike="noStrike">
                <a:solidFill>
                  <a:srgbClr val="B41F7A"/>
                </a:solidFill>
                <a:effectLst/>
                <a:hlinkClick r:id="rId3">
                  <a:extLst>
                    <a:ext uri="{A12FA001-AC4F-418D-AE19-62706E023703}">
                      <ahyp:hlinkClr xmlns:ahyp="http://schemas.microsoft.com/office/drawing/2018/hyperlinkcolor" val="tx"/>
                    </a:ext>
                  </a:extLst>
                </a:hlinkClick>
              </a:rPr>
              <a:t>Antifragile: Things that Gain from Disorder</a:t>
            </a:r>
            <a:r>
              <a:rPr lang="en-GB" b="0" i="1">
                <a:solidFill>
                  <a:srgbClr val="2D2D2D"/>
                </a:solidFill>
                <a:effectLst/>
              </a:rPr>
              <a:t>. </a:t>
            </a:r>
            <a:r>
              <a:rPr lang="en-GB" b="0" i="0">
                <a:effectLst/>
              </a:rPr>
              <a:t>En él, sugiere que las organizaciones no deberían tener como objetivo desarrollar la resiliencia a las crisis. ¿Por qué? Porque ser resistente significa simplemente volver a estar como antes. En cambio, las organizaciones deben esforzarse por ser "antifrágiles" y salir de la crisis </a:t>
            </a:r>
            <a:r>
              <a:rPr lang="en-GB" b="0" i="1">
                <a:effectLst/>
              </a:rPr>
              <a:t>mejor </a:t>
            </a:r>
            <a:r>
              <a:rPr lang="en-GB" b="0" i="0">
                <a:effectLst/>
              </a:rPr>
              <a:t>que cuando entraron.</a:t>
            </a:r>
            <a:endParaRPr lang="en-GB">
              <a:ea typeface="Lato Light" panose="020F0502020204030203"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EA1C701F-EE2E-9A70-964F-98BE08741BDA}"/>
              </a:ext>
            </a:extLst>
          </p:cNvPr>
          <p:cNvGrpSpPr/>
          <p:nvPr/>
        </p:nvGrpSpPr>
        <p:grpSpPr>
          <a:xfrm>
            <a:off x="497532" y="1828977"/>
            <a:ext cx="912267" cy="912987"/>
            <a:chOff x="2845389" y="1612886"/>
            <a:chExt cx="3419384" cy="3422081"/>
          </a:xfrm>
          <a:solidFill>
            <a:srgbClr val="595959"/>
          </a:solidFill>
        </p:grpSpPr>
        <p:sp>
          <p:nvSpPr>
            <p:cNvPr id="5" name="Freeform 4">
              <a:extLst>
                <a:ext uri="{FF2B5EF4-FFF2-40B4-BE49-F238E27FC236}">
                  <a16:creationId xmlns:a16="http://schemas.microsoft.com/office/drawing/2014/main" id="{44D958D1-B2BC-971A-B22B-81B53760C122}"/>
                </a:ext>
              </a:extLst>
            </p:cNvPr>
            <p:cNvSpPr/>
            <p:nvPr/>
          </p:nvSpPr>
          <p:spPr>
            <a:xfrm>
              <a:off x="4625981" y="1744565"/>
              <a:ext cx="1591319" cy="1762089"/>
            </a:xfrm>
            <a:custGeom>
              <a:avLst/>
              <a:gdLst>
                <a:gd name="connsiteX0" fmla="*/ 1590367 w 1591319"/>
                <a:gd name="connsiteY0" fmla="*/ 1762090 h 1762089"/>
                <a:gd name="connsiteX1" fmla="*/ 453031 w 1591319"/>
                <a:gd name="connsiteY1" fmla="*/ 1762090 h 1762089"/>
                <a:gd name="connsiteX2" fmla="*/ 453031 w 1591319"/>
                <a:gd name="connsiteY2" fmla="*/ 1608823 h 1762089"/>
                <a:gd name="connsiteX3" fmla="*/ 379747 w 1591319"/>
                <a:gd name="connsiteY3" fmla="*/ 1535522 h 1762089"/>
                <a:gd name="connsiteX4" fmla="*/ 0 w 1591319"/>
                <a:gd name="connsiteY4" fmla="*/ 1535522 h 1762089"/>
                <a:gd name="connsiteX5" fmla="*/ 0 w 1591319"/>
                <a:gd name="connsiteY5" fmla="*/ 1434613 h 1762089"/>
                <a:gd name="connsiteX6" fmla="*/ 246502 w 1591319"/>
                <a:gd name="connsiteY6" fmla="*/ 1251836 h 1762089"/>
                <a:gd name="connsiteX7" fmla="*/ 536785 w 1591319"/>
                <a:gd name="connsiteY7" fmla="*/ 962438 h 1762089"/>
                <a:gd name="connsiteX8" fmla="*/ 536785 w 1591319"/>
                <a:gd name="connsiteY8" fmla="*/ 853914 h 1762089"/>
                <a:gd name="connsiteX9" fmla="*/ 420672 w 1591319"/>
                <a:gd name="connsiteY9" fmla="*/ 740630 h 1762089"/>
                <a:gd name="connsiteX10" fmla="*/ 724279 w 1591319"/>
                <a:gd name="connsiteY10" fmla="*/ 439809 h 1762089"/>
                <a:gd name="connsiteX11" fmla="*/ 638622 w 1591319"/>
                <a:gd name="connsiteY11" fmla="*/ 362699 h 1762089"/>
                <a:gd name="connsiteX12" fmla="*/ 348339 w 1591319"/>
                <a:gd name="connsiteY12" fmla="*/ 657809 h 1762089"/>
                <a:gd name="connsiteX13" fmla="*/ 217950 w 1591319"/>
                <a:gd name="connsiteY13" fmla="*/ 665425 h 1762089"/>
                <a:gd name="connsiteX14" fmla="*/ 8566 w 1591319"/>
                <a:gd name="connsiteY14" fmla="*/ 873905 h 1762089"/>
                <a:gd name="connsiteX15" fmla="*/ 0 w 1591319"/>
                <a:gd name="connsiteY15" fmla="*/ 877713 h 1762089"/>
                <a:gd name="connsiteX16" fmla="*/ 0 w 1591319"/>
                <a:gd name="connsiteY16" fmla="*/ 0 h 1762089"/>
                <a:gd name="connsiteX17" fmla="*/ 1591319 w 1591319"/>
                <a:gd name="connsiteY17" fmla="*/ 0 h 1762089"/>
                <a:gd name="connsiteX18" fmla="*/ 1590367 w 1591319"/>
                <a:gd name="connsiteY18" fmla="*/ 1762090 h 1762089"/>
                <a:gd name="connsiteX19" fmla="*/ 313125 w 1591319"/>
                <a:gd name="connsiteY19" fmla="*/ 286542 h 1762089"/>
                <a:gd name="connsiteX20" fmla="*/ 364519 w 1591319"/>
                <a:gd name="connsiteY20" fmla="*/ 388402 h 1762089"/>
                <a:gd name="connsiteX21" fmla="*/ 654801 w 1591319"/>
                <a:gd name="connsiteY21" fmla="*/ 242751 h 1762089"/>
                <a:gd name="connsiteX22" fmla="*/ 707147 w 1591319"/>
                <a:gd name="connsiteY22" fmla="*/ 242751 h 1762089"/>
                <a:gd name="connsiteX23" fmla="*/ 980298 w 1591319"/>
                <a:gd name="connsiteY23" fmla="*/ 380786 h 1762089"/>
                <a:gd name="connsiteX24" fmla="*/ 1064052 w 1591319"/>
                <a:gd name="connsiteY24" fmla="*/ 380786 h 1762089"/>
                <a:gd name="connsiteX25" fmla="*/ 1257256 w 1591319"/>
                <a:gd name="connsiteY25" fmla="*/ 283686 h 1762089"/>
                <a:gd name="connsiteX26" fmla="*/ 1389549 w 1591319"/>
                <a:gd name="connsiteY26" fmla="*/ 218000 h 1762089"/>
                <a:gd name="connsiteX27" fmla="*/ 1338155 w 1591319"/>
                <a:gd name="connsiteY27" fmla="*/ 116140 h 1762089"/>
                <a:gd name="connsiteX28" fmla="*/ 1048824 w 1591319"/>
                <a:gd name="connsiteY28" fmla="*/ 260839 h 1762089"/>
                <a:gd name="connsiteX29" fmla="*/ 996478 w 1591319"/>
                <a:gd name="connsiteY29" fmla="*/ 261791 h 1762089"/>
                <a:gd name="connsiteX30" fmla="*/ 719520 w 1591319"/>
                <a:gd name="connsiteY30" fmla="*/ 123756 h 1762089"/>
                <a:gd name="connsiteX31" fmla="*/ 659560 w 1591319"/>
                <a:gd name="connsiteY31" fmla="*/ 115188 h 1762089"/>
                <a:gd name="connsiteX32" fmla="*/ 313125 w 1591319"/>
                <a:gd name="connsiteY32" fmla="*/ 286542 h 1762089"/>
                <a:gd name="connsiteX33" fmla="*/ 1420005 w 1591319"/>
                <a:gd name="connsiteY33" fmla="*/ 739678 h 1762089"/>
                <a:gd name="connsiteX34" fmla="*/ 740458 w 1591319"/>
                <a:gd name="connsiteY34" fmla="*/ 739678 h 1762089"/>
                <a:gd name="connsiteX35" fmla="*/ 740458 w 1591319"/>
                <a:gd name="connsiteY35" fmla="*/ 849154 h 1762089"/>
                <a:gd name="connsiteX36" fmla="*/ 1420005 w 1591319"/>
                <a:gd name="connsiteY36" fmla="*/ 849154 h 1762089"/>
                <a:gd name="connsiteX37" fmla="*/ 1420005 w 1591319"/>
                <a:gd name="connsiteY37" fmla="*/ 739678 h 1762089"/>
                <a:gd name="connsiteX38" fmla="*/ 1418101 w 1591319"/>
                <a:gd name="connsiteY38" fmla="*/ 1077626 h 1762089"/>
                <a:gd name="connsiteX39" fmla="*/ 1418101 w 1591319"/>
                <a:gd name="connsiteY39" fmla="*/ 966246 h 1762089"/>
                <a:gd name="connsiteX40" fmla="*/ 739507 w 1591319"/>
                <a:gd name="connsiteY40" fmla="*/ 966246 h 1762089"/>
                <a:gd name="connsiteX41" fmla="*/ 739507 w 1591319"/>
                <a:gd name="connsiteY41" fmla="*/ 1077626 h 1762089"/>
                <a:gd name="connsiteX42" fmla="*/ 1418101 w 1591319"/>
                <a:gd name="connsiteY42" fmla="*/ 1077626 h 1762089"/>
                <a:gd name="connsiteX43" fmla="*/ 738555 w 1591319"/>
                <a:gd name="connsiteY43" fmla="*/ 1305146 h 1762089"/>
                <a:gd name="connsiteX44" fmla="*/ 1418101 w 1591319"/>
                <a:gd name="connsiteY44" fmla="*/ 1305146 h 1762089"/>
                <a:gd name="connsiteX45" fmla="*/ 1418101 w 1591319"/>
                <a:gd name="connsiteY45" fmla="*/ 1195670 h 1762089"/>
                <a:gd name="connsiteX46" fmla="*/ 738555 w 1591319"/>
                <a:gd name="connsiteY46" fmla="*/ 1195670 h 1762089"/>
                <a:gd name="connsiteX47" fmla="*/ 738555 w 1591319"/>
                <a:gd name="connsiteY47" fmla="*/ 1305146 h 1762089"/>
                <a:gd name="connsiteX48" fmla="*/ 1420005 w 1591319"/>
                <a:gd name="connsiteY48" fmla="*/ 1424142 h 1762089"/>
                <a:gd name="connsiteX49" fmla="*/ 740458 w 1591319"/>
                <a:gd name="connsiteY49" fmla="*/ 1424142 h 1762089"/>
                <a:gd name="connsiteX50" fmla="*/ 740458 w 1591319"/>
                <a:gd name="connsiteY50" fmla="*/ 1533618 h 1762089"/>
                <a:gd name="connsiteX51" fmla="*/ 1420005 w 1591319"/>
                <a:gd name="connsiteY51" fmla="*/ 1533618 h 1762089"/>
                <a:gd name="connsiteX52" fmla="*/ 1420005 w 1591319"/>
                <a:gd name="connsiteY52" fmla="*/ 1424142 h 176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591319" h="1762089">
                  <a:moveTo>
                    <a:pt x="1590367" y="1762090"/>
                  </a:moveTo>
                  <a:cubicBezTo>
                    <a:pt x="1210621" y="1762090"/>
                    <a:pt x="833729" y="1762090"/>
                    <a:pt x="453031" y="1762090"/>
                  </a:cubicBezTo>
                  <a:cubicBezTo>
                    <a:pt x="453031" y="1709732"/>
                    <a:pt x="453031" y="1659278"/>
                    <a:pt x="453031" y="1608823"/>
                  </a:cubicBezTo>
                  <a:cubicBezTo>
                    <a:pt x="453031" y="1555513"/>
                    <a:pt x="433996" y="1535522"/>
                    <a:pt x="379747" y="1535522"/>
                  </a:cubicBezTo>
                  <a:cubicBezTo>
                    <a:pt x="254116" y="1535522"/>
                    <a:pt x="128486" y="1535522"/>
                    <a:pt x="0" y="1535522"/>
                  </a:cubicBezTo>
                  <a:cubicBezTo>
                    <a:pt x="0" y="1503155"/>
                    <a:pt x="0" y="1471740"/>
                    <a:pt x="0" y="1434613"/>
                  </a:cubicBezTo>
                  <a:cubicBezTo>
                    <a:pt x="109451" y="1414622"/>
                    <a:pt x="172266" y="1325137"/>
                    <a:pt x="246502" y="1251836"/>
                  </a:cubicBezTo>
                  <a:cubicBezTo>
                    <a:pt x="344532" y="1156639"/>
                    <a:pt x="439707" y="1058587"/>
                    <a:pt x="536785" y="962438"/>
                  </a:cubicBezTo>
                  <a:cubicBezTo>
                    <a:pt x="578662" y="920552"/>
                    <a:pt x="578662" y="895800"/>
                    <a:pt x="536785" y="853914"/>
                  </a:cubicBezTo>
                  <a:cubicBezTo>
                    <a:pt x="498715" y="815835"/>
                    <a:pt x="460645" y="779661"/>
                    <a:pt x="420672" y="740630"/>
                  </a:cubicBezTo>
                  <a:cubicBezTo>
                    <a:pt x="523460" y="638769"/>
                    <a:pt x="622442" y="539765"/>
                    <a:pt x="724279" y="439809"/>
                  </a:cubicBezTo>
                  <a:cubicBezTo>
                    <a:pt x="691919" y="411250"/>
                    <a:pt x="666222" y="387450"/>
                    <a:pt x="638622" y="362699"/>
                  </a:cubicBezTo>
                  <a:cubicBezTo>
                    <a:pt x="543447" y="458848"/>
                    <a:pt x="445417" y="558804"/>
                    <a:pt x="348339" y="657809"/>
                  </a:cubicBezTo>
                  <a:cubicBezTo>
                    <a:pt x="280765" y="612114"/>
                    <a:pt x="270296" y="613066"/>
                    <a:pt x="217950" y="665425"/>
                  </a:cubicBezTo>
                  <a:cubicBezTo>
                    <a:pt x="148472" y="734918"/>
                    <a:pt x="78043" y="804412"/>
                    <a:pt x="8566" y="873905"/>
                  </a:cubicBezTo>
                  <a:cubicBezTo>
                    <a:pt x="7614" y="874857"/>
                    <a:pt x="4759" y="875809"/>
                    <a:pt x="0" y="877713"/>
                  </a:cubicBezTo>
                  <a:cubicBezTo>
                    <a:pt x="0" y="585459"/>
                    <a:pt x="0" y="294158"/>
                    <a:pt x="0" y="0"/>
                  </a:cubicBezTo>
                  <a:cubicBezTo>
                    <a:pt x="529171" y="0"/>
                    <a:pt x="1059293" y="0"/>
                    <a:pt x="1591319" y="0"/>
                  </a:cubicBezTo>
                  <a:cubicBezTo>
                    <a:pt x="1590367" y="584507"/>
                    <a:pt x="1590367" y="1171871"/>
                    <a:pt x="1590367" y="1762090"/>
                  </a:cubicBezTo>
                  <a:close/>
                  <a:moveTo>
                    <a:pt x="313125" y="286542"/>
                  </a:moveTo>
                  <a:cubicBezTo>
                    <a:pt x="331208" y="323669"/>
                    <a:pt x="347387" y="355083"/>
                    <a:pt x="364519" y="388402"/>
                  </a:cubicBezTo>
                  <a:cubicBezTo>
                    <a:pt x="462549" y="339852"/>
                    <a:pt x="559627" y="292254"/>
                    <a:pt x="654801" y="242751"/>
                  </a:cubicBezTo>
                  <a:cubicBezTo>
                    <a:pt x="673836" y="233232"/>
                    <a:pt x="688112" y="233232"/>
                    <a:pt x="707147" y="242751"/>
                  </a:cubicBezTo>
                  <a:cubicBezTo>
                    <a:pt x="797563" y="289398"/>
                    <a:pt x="889882" y="333188"/>
                    <a:pt x="980298" y="380786"/>
                  </a:cubicBezTo>
                  <a:cubicBezTo>
                    <a:pt x="1009802" y="396018"/>
                    <a:pt x="1034548" y="396970"/>
                    <a:pt x="1064052" y="380786"/>
                  </a:cubicBezTo>
                  <a:cubicBezTo>
                    <a:pt x="1127819" y="347468"/>
                    <a:pt x="1193490" y="316053"/>
                    <a:pt x="1257256" y="283686"/>
                  </a:cubicBezTo>
                  <a:cubicBezTo>
                    <a:pt x="1300085" y="261791"/>
                    <a:pt x="1343865" y="240847"/>
                    <a:pt x="1389549" y="218000"/>
                  </a:cubicBezTo>
                  <a:cubicBezTo>
                    <a:pt x="1371466" y="181826"/>
                    <a:pt x="1355286" y="150411"/>
                    <a:pt x="1338155" y="116140"/>
                  </a:cubicBezTo>
                  <a:cubicBezTo>
                    <a:pt x="1239173" y="165642"/>
                    <a:pt x="1143999" y="212288"/>
                    <a:pt x="1048824" y="260839"/>
                  </a:cubicBezTo>
                  <a:cubicBezTo>
                    <a:pt x="1029789" y="270358"/>
                    <a:pt x="1015513" y="271310"/>
                    <a:pt x="996478" y="261791"/>
                  </a:cubicBezTo>
                  <a:cubicBezTo>
                    <a:pt x="905110" y="214192"/>
                    <a:pt x="812791" y="168498"/>
                    <a:pt x="719520" y="123756"/>
                  </a:cubicBezTo>
                  <a:cubicBezTo>
                    <a:pt x="701437" y="115188"/>
                    <a:pt x="674788" y="108524"/>
                    <a:pt x="659560" y="115188"/>
                  </a:cubicBezTo>
                  <a:cubicBezTo>
                    <a:pt x="544399" y="170402"/>
                    <a:pt x="431141" y="228472"/>
                    <a:pt x="313125" y="286542"/>
                  </a:cubicBezTo>
                  <a:close/>
                  <a:moveTo>
                    <a:pt x="1420005" y="739678"/>
                  </a:moveTo>
                  <a:cubicBezTo>
                    <a:pt x="1191586" y="739678"/>
                    <a:pt x="965071" y="739678"/>
                    <a:pt x="740458" y="739678"/>
                  </a:cubicBezTo>
                  <a:cubicBezTo>
                    <a:pt x="740458" y="777757"/>
                    <a:pt x="740458" y="813931"/>
                    <a:pt x="740458" y="849154"/>
                  </a:cubicBezTo>
                  <a:cubicBezTo>
                    <a:pt x="967926" y="849154"/>
                    <a:pt x="1193490" y="849154"/>
                    <a:pt x="1420005" y="849154"/>
                  </a:cubicBezTo>
                  <a:cubicBezTo>
                    <a:pt x="1420005" y="812027"/>
                    <a:pt x="1420005" y="776805"/>
                    <a:pt x="1420005" y="739678"/>
                  </a:cubicBezTo>
                  <a:close/>
                  <a:moveTo>
                    <a:pt x="1418101" y="1077626"/>
                  </a:moveTo>
                  <a:cubicBezTo>
                    <a:pt x="1418101" y="1037643"/>
                    <a:pt x="1418101" y="1001469"/>
                    <a:pt x="1418101" y="966246"/>
                  </a:cubicBezTo>
                  <a:cubicBezTo>
                    <a:pt x="1190634" y="966246"/>
                    <a:pt x="965071" y="966246"/>
                    <a:pt x="739507" y="966246"/>
                  </a:cubicBezTo>
                  <a:cubicBezTo>
                    <a:pt x="739507" y="1004324"/>
                    <a:pt x="739507" y="1040499"/>
                    <a:pt x="739507" y="1077626"/>
                  </a:cubicBezTo>
                  <a:cubicBezTo>
                    <a:pt x="966974" y="1077626"/>
                    <a:pt x="1191586" y="1077626"/>
                    <a:pt x="1418101" y="1077626"/>
                  </a:cubicBezTo>
                  <a:close/>
                  <a:moveTo>
                    <a:pt x="738555" y="1305146"/>
                  </a:moveTo>
                  <a:cubicBezTo>
                    <a:pt x="966974" y="1305146"/>
                    <a:pt x="1193490" y="1305146"/>
                    <a:pt x="1418101" y="1305146"/>
                  </a:cubicBezTo>
                  <a:cubicBezTo>
                    <a:pt x="1418101" y="1266115"/>
                    <a:pt x="1418101" y="1230893"/>
                    <a:pt x="1418101" y="1195670"/>
                  </a:cubicBezTo>
                  <a:cubicBezTo>
                    <a:pt x="1190634" y="1195670"/>
                    <a:pt x="965071" y="1195670"/>
                    <a:pt x="738555" y="1195670"/>
                  </a:cubicBezTo>
                  <a:cubicBezTo>
                    <a:pt x="738555" y="1231845"/>
                    <a:pt x="738555" y="1267067"/>
                    <a:pt x="738555" y="1305146"/>
                  </a:cubicBezTo>
                  <a:close/>
                  <a:moveTo>
                    <a:pt x="1420005" y="1424142"/>
                  </a:moveTo>
                  <a:cubicBezTo>
                    <a:pt x="1191586" y="1424142"/>
                    <a:pt x="965071" y="1424142"/>
                    <a:pt x="740458" y="1424142"/>
                  </a:cubicBezTo>
                  <a:cubicBezTo>
                    <a:pt x="740458" y="1462220"/>
                    <a:pt x="740458" y="1498395"/>
                    <a:pt x="740458" y="1533618"/>
                  </a:cubicBezTo>
                  <a:cubicBezTo>
                    <a:pt x="967926" y="1533618"/>
                    <a:pt x="1193490" y="1533618"/>
                    <a:pt x="1420005" y="1533618"/>
                  </a:cubicBezTo>
                  <a:cubicBezTo>
                    <a:pt x="1420005" y="1496491"/>
                    <a:pt x="1420005" y="1461268"/>
                    <a:pt x="1420005" y="1424142"/>
                  </a:cubicBezTo>
                  <a:close/>
                </a:path>
              </a:pathLst>
            </a:custGeom>
            <a:solidFill>
              <a:srgbClr val="F16924"/>
            </a:solidFill>
            <a:ln w="9514" cap="flat">
              <a:noFill/>
              <a:prstDash val="solid"/>
              <a:miter/>
            </a:ln>
          </p:spPr>
          <p:txBody>
            <a:bodyPr rtlCol="0" anchor="ctr"/>
            <a:lstStyle/>
            <a:p>
              <a:endParaRPr lang="en-US"/>
            </a:p>
          </p:txBody>
        </p:sp>
        <p:grpSp>
          <p:nvGrpSpPr>
            <p:cNvPr id="8" name="Group 7">
              <a:extLst>
                <a:ext uri="{FF2B5EF4-FFF2-40B4-BE49-F238E27FC236}">
                  <a16:creationId xmlns:a16="http://schemas.microsoft.com/office/drawing/2014/main" id="{974C2706-2496-00AF-249A-48C9C6D37500}"/>
                </a:ext>
              </a:extLst>
            </p:cNvPr>
            <p:cNvGrpSpPr/>
            <p:nvPr/>
          </p:nvGrpSpPr>
          <p:grpSpPr>
            <a:xfrm>
              <a:off x="2845389" y="1612886"/>
              <a:ext cx="3419384" cy="3422081"/>
              <a:chOff x="2845389" y="1612886"/>
              <a:chExt cx="3419384" cy="3422081"/>
            </a:xfrm>
            <a:grpFill/>
          </p:grpSpPr>
          <p:sp>
            <p:nvSpPr>
              <p:cNvPr id="10" name="Freeform 9">
                <a:extLst>
                  <a:ext uri="{FF2B5EF4-FFF2-40B4-BE49-F238E27FC236}">
                    <a16:creationId xmlns:a16="http://schemas.microsoft.com/office/drawing/2014/main" id="{FBAFFE75-D104-EA26-E548-CAD2613B1998}"/>
                  </a:ext>
                </a:extLst>
              </p:cNvPr>
              <p:cNvSpPr/>
              <p:nvPr/>
            </p:nvSpPr>
            <p:spPr>
              <a:xfrm>
                <a:off x="2845389" y="1612886"/>
                <a:ext cx="3419384" cy="2222603"/>
              </a:xfrm>
              <a:custGeom>
                <a:avLst/>
                <a:gdLst>
                  <a:gd name="connsiteX0" fmla="*/ 486104 w 3419384"/>
                  <a:gd name="connsiteY0" fmla="*/ 684226 h 2222603"/>
                  <a:gd name="connsiteX1" fmla="*/ 399495 w 3419384"/>
                  <a:gd name="connsiteY1" fmla="*/ 489073 h 2222603"/>
                  <a:gd name="connsiteX2" fmla="*/ 398544 w 3419384"/>
                  <a:gd name="connsiteY2" fmla="*/ 147317 h 2222603"/>
                  <a:gd name="connsiteX3" fmla="*/ 564147 w 3419384"/>
                  <a:gd name="connsiteY3" fmla="*/ 714 h 2222603"/>
                  <a:gd name="connsiteX4" fmla="*/ 909631 w 3419384"/>
                  <a:gd name="connsiteY4" fmla="*/ 714 h 2222603"/>
                  <a:gd name="connsiteX5" fmla="*/ 1080945 w 3419384"/>
                  <a:gd name="connsiteY5" fmla="*/ 171116 h 2222603"/>
                  <a:gd name="connsiteX6" fmla="*/ 1102836 w 3419384"/>
                  <a:gd name="connsiteY6" fmla="*/ 258697 h 2222603"/>
                  <a:gd name="connsiteX7" fmla="*/ 1181831 w 3419384"/>
                  <a:gd name="connsiteY7" fmla="*/ 418627 h 2222603"/>
                  <a:gd name="connsiteX8" fmla="*/ 1121870 w 3419384"/>
                  <a:gd name="connsiteY8" fmla="*/ 514776 h 2222603"/>
                  <a:gd name="connsiteX9" fmla="*/ 1085704 w 3419384"/>
                  <a:gd name="connsiteY9" fmla="*/ 514776 h 2222603"/>
                  <a:gd name="connsiteX10" fmla="*/ 1003854 w 3419384"/>
                  <a:gd name="connsiteY10" fmla="*/ 686130 h 2222603"/>
                  <a:gd name="connsiteX11" fmla="*/ 1151375 w 3419384"/>
                  <a:gd name="connsiteY11" fmla="*/ 685178 h 2222603"/>
                  <a:gd name="connsiteX12" fmla="*/ 1456885 w 3419384"/>
                  <a:gd name="connsiteY12" fmla="*/ 826069 h 2222603"/>
                  <a:gd name="connsiteX13" fmla="*/ 1594888 w 3419384"/>
                  <a:gd name="connsiteY13" fmla="*/ 987903 h 2222603"/>
                  <a:gd name="connsiteX14" fmla="*/ 1594888 w 3419384"/>
                  <a:gd name="connsiteY14" fmla="*/ 942209 h 2222603"/>
                  <a:gd name="connsiteX15" fmla="*/ 1594888 w 3419384"/>
                  <a:gd name="connsiteY15" fmla="*/ 83535 h 2222603"/>
                  <a:gd name="connsiteX16" fmla="*/ 1677690 w 3419384"/>
                  <a:gd name="connsiteY16" fmla="*/ 2618 h 2222603"/>
                  <a:gd name="connsiteX17" fmla="*/ 3337535 w 3419384"/>
                  <a:gd name="connsiteY17" fmla="*/ 2618 h 2222603"/>
                  <a:gd name="connsiteX18" fmla="*/ 3419385 w 3419384"/>
                  <a:gd name="connsiteY18" fmla="*/ 84487 h 2222603"/>
                  <a:gd name="connsiteX19" fmla="*/ 3419385 w 3419384"/>
                  <a:gd name="connsiteY19" fmla="*/ 1916070 h 2222603"/>
                  <a:gd name="connsiteX20" fmla="*/ 3337535 w 3419384"/>
                  <a:gd name="connsiteY20" fmla="*/ 1997940 h 2222603"/>
                  <a:gd name="connsiteX21" fmla="*/ 2098362 w 3419384"/>
                  <a:gd name="connsiteY21" fmla="*/ 1997940 h 2222603"/>
                  <a:gd name="connsiteX22" fmla="*/ 2052678 w 3419384"/>
                  <a:gd name="connsiteY22" fmla="*/ 1997940 h 2222603"/>
                  <a:gd name="connsiteX23" fmla="*/ 2052678 w 3419384"/>
                  <a:gd name="connsiteY23" fmla="*/ 2110272 h 2222603"/>
                  <a:gd name="connsiteX24" fmla="*/ 1939420 w 3419384"/>
                  <a:gd name="connsiteY24" fmla="*/ 2110272 h 2222603"/>
                  <a:gd name="connsiteX25" fmla="*/ 1939420 w 3419384"/>
                  <a:gd name="connsiteY25" fmla="*/ 1999843 h 2222603"/>
                  <a:gd name="connsiteX26" fmla="*/ 229133 w 3419384"/>
                  <a:gd name="connsiteY26" fmla="*/ 1999843 h 2222603"/>
                  <a:gd name="connsiteX27" fmla="*/ 229133 w 3419384"/>
                  <a:gd name="connsiteY27" fmla="*/ 2222604 h 2222603"/>
                  <a:gd name="connsiteX28" fmla="*/ 114923 w 3419384"/>
                  <a:gd name="connsiteY28" fmla="*/ 2222604 h 2222603"/>
                  <a:gd name="connsiteX29" fmla="*/ 114923 w 3419384"/>
                  <a:gd name="connsiteY29" fmla="*/ 1996988 h 2222603"/>
                  <a:gd name="connsiteX30" fmla="*/ 58770 w 3419384"/>
                  <a:gd name="connsiteY30" fmla="*/ 1996988 h 2222603"/>
                  <a:gd name="connsiteX31" fmla="*/ 714 w 3419384"/>
                  <a:gd name="connsiteY31" fmla="*/ 1937966 h 2222603"/>
                  <a:gd name="connsiteX32" fmla="*/ 714 w 3419384"/>
                  <a:gd name="connsiteY32" fmla="*/ 1713302 h 2222603"/>
                  <a:gd name="connsiteX33" fmla="*/ 59722 w 3419384"/>
                  <a:gd name="connsiteY33" fmla="*/ 1655232 h 2222603"/>
                  <a:gd name="connsiteX34" fmla="*/ 173932 w 3419384"/>
                  <a:gd name="connsiteY34" fmla="*/ 1655232 h 2222603"/>
                  <a:gd name="connsiteX35" fmla="*/ 113972 w 3419384"/>
                  <a:gd name="connsiteY35" fmla="*/ 1388681 h 2222603"/>
                  <a:gd name="connsiteX36" fmla="*/ 113972 w 3419384"/>
                  <a:gd name="connsiteY36" fmla="*/ 982191 h 2222603"/>
                  <a:gd name="connsiteX37" fmla="*/ 409965 w 3419384"/>
                  <a:gd name="connsiteY37" fmla="*/ 685178 h 2222603"/>
                  <a:gd name="connsiteX38" fmla="*/ 486104 w 3419384"/>
                  <a:gd name="connsiteY38" fmla="*/ 684226 h 2222603"/>
                  <a:gd name="connsiteX39" fmla="*/ 3300417 w 3419384"/>
                  <a:gd name="connsiteY39" fmla="*/ 1879896 h 2222603"/>
                  <a:gd name="connsiteX40" fmla="*/ 3300417 w 3419384"/>
                  <a:gd name="connsiteY40" fmla="*/ 116854 h 2222603"/>
                  <a:gd name="connsiteX41" fmla="*/ 1709098 w 3419384"/>
                  <a:gd name="connsiteY41" fmla="*/ 116854 h 2222603"/>
                  <a:gd name="connsiteX42" fmla="*/ 1709098 w 3419384"/>
                  <a:gd name="connsiteY42" fmla="*/ 994567 h 2222603"/>
                  <a:gd name="connsiteX43" fmla="*/ 1717663 w 3419384"/>
                  <a:gd name="connsiteY43" fmla="*/ 990759 h 2222603"/>
                  <a:gd name="connsiteX44" fmla="*/ 1927048 w 3419384"/>
                  <a:gd name="connsiteY44" fmla="*/ 782278 h 2222603"/>
                  <a:gd name="connsiteX45" fmla="*/ 2057437 w 3419384"/>
                  <a:gd name="connsiteY45" fmla="*/ 774663 h 2222603"/>
                  <a:gd name="connsiteX46" fmla="*/ 2347719 w 3419384"/>
                  <a:gd name="connsiteY46" fmla="*/ 479553 h 2222603"/>
                  <a:gd name="connsiteX47" fmla="*/ 2433376 w 3419384"/>
                  <a:gd name="connsiteY47" fmla="*/ 556662 h 2222603"/>
                  <a:gd name="connsiteX48" fmla="*/ 2129769 w 3419384"/>
                  <a:gd name="connsiteY48" fmla="*/ 857484 h 2222603"/>
                  <a:gd name="connsiteX49" fmla="*/ 2245882 w 3419384"/>
                  <a:gd name="connsiteY49" fmla="*/ 970768 h 2222603"/>
                  <a:gd name="connsiteX50" fmla="*/ 2245882 w 3419384"/>
                  <a:gd name="connsiteY50" fmla="*/ 1079292 h 2222603"/>
                  <a:gd name="connsiteX51" fmla="*/ 1955600 w 3419384"/>
                  <a:gd name="connsiteY51" fmla="*/ 1368690 h 2222603"/>
                  <a:gd name="connsiteX52" fmla="*/ 1709098 w 3419384"/>
                  <a:gd name="connsiteY52" fmla="*/ 1551467 h 2222603"/>
                  <a:gd name="connsiteX53" fmla="*/ 1709098 w 3419384"/>
                  <a:gd name="connsiteY53" fmla="*/ 1652376 h 2222603"/>
                  <a:gd name="connsiteX54" fmla="*/ 2088844 w 3419384"/>
                  <a:gd name="connsiteY54" fmla="*/ 1652376 h 2222603"/>
                  <a:gd name="connsiteX55" fmla="*/ 2162129 w 3419384"/>
                  <a:gd name="connsiteY55" fmla="*/ 1725677 h 2222603"/>
                  <a:gd name="connsiteX56" fmla="*/ 2162129 w 3419384"/>
                  <a:gd name="connsiteY56" fmla="*/ 1878944 h 2222603"/>
                  <a:gd name="connsiteX57" fmla="*/ 3300417 w 3419384"/>
                  <a:gd name="connsiteY57" fmla="*/ 1879896 h 2222603"/>
                  <a:gd name="connsiteX58" fmla="*/ 1988911 w 3419384"/>
                  <a:gd name="connsiteY58" fmla="*/ 882235 h 2222603"/>
                  <a:gd name="connsiteX59" fmla="*/ 1704339 w 3419384"/>
                  <a:gd name="connsiteY59" fmla="*/ 1167825 h 2222603"/>
                  <a:gd name="connsiteX60" fmla="*/ 1594888 w 3419384"/>
                  <a:gd name="connsiteY60" fmla="*/ 1164017 h 2222603"/>
                  <a:gd name="connsiteX61" fmla="*/ 1339820 w 3419384"/>
                  <a:gd name="connsiteY61" fmla="*/ 866051 h 2222603"/>
                  <a:gd name="connsiteX62" fmla="*/ 1193251 w 3419384"/>
                  <a:gd name="connsiteY62" fmla="*/ 798462 h 2222603"/>
                  <a:gd name="connsiteX63" fmla="*/ 976253 w 3419384"/>
                  <a:gd name="connsiteY63" fmla="*/ 798462 h 2222603"/>
                  <a:gd name="connsiteX64" fmla="*/ 929618 w 3419384"/>
                  <a:gd name="connsiteY64" fmla="*/ 826069 h 2222603"/>
                  <a:gd name="connsiteX65" fmla="*/ 795422 w 3419384"/>
                  <a:gd name="connsiteY65" fmla="*/ 1097379 h 2222603"/>
                  <a:gd name="connsiteX66" fmla="*/ 736413 w 3419384"/>
                  <a:gd name="connsiteY66" fmla="*/ 1141170 h 2222603"/>
                  <a:gd name="connsiteX67" fmla="*/ 681212 w 3419384"/>
                  <a:gd name="connsiteY67" fmla="*/ 1098331 h 2222603"/>
                  <a:gd name="connsiteX68" fmla="*/ 587941 w 3419384"/>
                  <a:gd name="connsiteY68" fmla="*/ 910794 h 2222603"/>
                  <a:gd name="connsiteX69" fmla="*/ 529885 w 3419384"/>
                  <a:gd name="connsiteY69" fmla="*/ 807982 h 2222603"/>
                  <a:gd name="connsiteX70" fmla="*/ 409013 w 3419384"/>
                  <a:gd name="connsiteY70" fmla="*/ 800366 h 2222603"/>
                  <a:gd name="connsiteX71" fmla="*/ 226278 w 3419384"/>
                  <a:gd name="connsiteY71" fmla="*/ 982191 h 2222603"/>
                  <a:gd name="connsiteX72" fmla="*/ 226278 w 3419384"/>
                  <a:gd name="connsiteY72" fmla="*/ 1470550 h 2222603"/>
                  <a:gd name="connsiteX73" fmla="*/ 410916 w 3419384"/>
                  <a:gd name="connsiteY73" fmla="*/ 1655232 h 2222603"/>
                  <a:gd name="connsiteX74" fmla="*/ 820167 w 3419384"/>
                  <a:gd name="connsiteY74" fmla="*/ 1655232 h 2222603"/>
                  <a:gd name="connsiteX75" fmla="*/ 853478 w 3419384"/>
                  <a:gd name="connsiteY75" fmla="*/ 1653328 h 2222603"/>
                  <a:gd name="connsiteX76" fmla="*/ 853478 w 3419384"/>
                  <a:gd name="connsiteY76" fmla="*/ 1501965 h 2222603"/>
                  <a:gd name="connsiteX77" fmla="*/ 778290 w 3419384"/>
                  <a:gd name="connsiteY77" fmla="*/ 1427712 h 2222603"/>
                  <a:gd name="connsiteX78" fmla="*/ 522271 w 3419384"/>
                  <a:gd name="connsiteY78" fmla="*/ 1427712 h 2222603"/>
                  <a:gd name="connsiteX79" fmla="*/ 456600 w 3419384"/>
                  <a:gd name="connsiteY79" fmla="*/ 1381065 h 2222603"/>
                  <a:gd name="connsiteX80" fmla="*/ 455648 w 3419384"/>
                  <a:gd name="connsiteY80" fmla="*/ 1201144 h 2222603"/>
                  <a:gd name="connsiteX81" fmla="*/ 568906 w 3419384"/>
                  <a:gd name="connsiteY81" fmla="*/ 1201144 h 2222603"/>
                  <a:gd name="connsiteX82" fmla="*/ 568906 w 3419384"/>
                  <a:gd name="connsiteY82" fmla="*/ 1313476 h 2222603"/>
                  <a:gd name="connsiteX83" fmla="*/ 782097 w 3419384"/>
                  <a:gd name="connsiteY83" fmla="*/ 1313476 h 2222603"/>
                  <a:gd name="connsiteX84" fmla="*/ 967688 w 3419384"/>
                  <a:gd name="connsiteY84" fmla="*/ 1497205 h 2222603"/>
                  <a:gd name="connsiteX85" fmla="*/ 967688 w 3419384"/>
                  <a:gd name="connsiteY85" fmla="*/ 1653328 h 2222603"/>
                  <a:gd name="connsiteX86" fmla="*/ 1252260 w 3419384"/>
                  <a:gd name="connsiteY86" fmla="*/ 1653328 h 2222603"/>
                  <a:gd name="connsiteX87" fmla="*/ 1252260 w 3419384"/>
                  <a:gd name="connsiteY87" fmla="*/ 1269685 h 2222603"/>
                  <a:gd name="connsiteX88" fmla="*/ 1289378 w 3419384"/>
                  <a:gd name="connsiteY88" fmla="*/ 1203048 h 2222603"/>
                  <a:gd name="connsiteX89" fmla="*/ 1358855 w 3419384"/>
                  <a:gd name="connsiteY89" fmla="*/ 1223991 h 2222603"/>
                  <a:gd name="connsiteX90" fmla="*/ 1519700 w 3419384"/>
                  <a:gd name="connsiteY90" fmla="*/ 1384873 h 2222603"/>
                  <a:gd name="connsiteX91" fmla="*/ 1783334 w 3419384"/>
                  <a:gd name="connsiteY91" fmla="*/ 1383921 h 2222603"/>
                  <a:gd name="connsiteX92" fmla="*/ 2118349 w 3419384"/>
                  <a:gd name="connsiteY92" fmla="*/ 1048829 h 2222603"/>
                  <a:gd name="connsiteX93" fmla="*/ 2136432 w 3419384"/>
                  <a:gd name="connsiteY93" fmla="*/ 1028838 h 2222603"/>
                  <a:gd name="connsiteX94" fmla="*/ 1988911 w 3419384"/>
                  <a:gd name="connsiteY94" fmla="*/ 882235 h 2222603"/>
                  <a:gd name="connsiteX95" fmla="*/ 1041924 w 3419384"/>
                  <a:gd name="connsiteY95" fmla="*/ 396732 h 2222603"/>
                  <a:gd name="connsiteX96" fmla="*/ 1031455 w 3419384"/>
                  <a:gd name="connsiteY96" fmla="*/ 373885 h 2222603"/>
                  <a:gd name="connsiteX97" fmla="*/ 962929 w 3419384"/>
                  <a:gd name="connsiteY97" fmla="*/ 164452 h 2222603"/>
                  <a:gd name="connsiteX98" fmla="*/ 905824 w 3419384"/>
                  <a:gd name="connsiteY98" fmla="*/ 113998 h 2222603"/>
                  <a:gd name="connsiteX99" fmla="*/ 567954 w 3419384"/>
                  <a:gd name="connsiteY99" fmla="*/ 113998 h 2222603"/>
                  <a:gd name="connsiteX100" fmla="*/ 509898 w 3419384"/>
                  <a:gd name="connsiteY100" fmla="*/ 172068 h 2222603"/>
                  <a:gd name="connsiteX101" fmla="*/ 510850 w 3419384"/>
                  <a:gd name="connsiteY101" fmla="*/ 460514 h 2222603"/>
                  <a:gd name="connsiteX102" fmla="*/ 735462 w 3419384"/>
                  <a:gd name="connsiteY102" fmla="*/ 683274 h 2222603"/>
                  <a:gd name="connsiteX103" fmla="*/ 964832 w 3419384"/>
                  <a:gd name="connsiteY103" fmla="*/ 473841 h 2222603"/>
                  <a:gd name="connsiteX104" fmla="*/ 1041924 w 3419384"/>
                  <a:gd name="connsiteY104" fmla="*/ 396732 h 2222603"/>
                  <a:gd name="connsiteX105" fmla="*/ 112068 w 3419384"/>
                  <a:gd name="connsiteY105" fmla="*/ 1879896 h 2222603"/>
                  <a:gd name="connsiteX106" fmla="*/ 2046016 w 3419384"/>
                  <a:gd name="connsiteY106" fmla="*/ 1879896 h 2222603"/>
                  <a:gd name="connsiteX107" fmla="*/ 2046016 w 3419384"/>
                  <a:gd name="connsiteY107" fmla="*/ 1769468 h 2222603"/>
                  <a:gd name="connsiteX108" fmla="*/ 112068 w 3419384"/>
                  <a:gd name="connsiteY108" fmla="*/ 1769468 h 2222603"/>
                  <a:gd name="connsiteX109" fmla="*/ 112068 w 3419384"/>
                  <a:gd name="connsiteY109" fmla="*/ 1879896 h 2222603"/>
                  <a:gd name="connsiteX110" fmla="*/ 1592033 w 3419384"/>
                  <a:gd name="connsiteY110" fmla="*/ 1551467 h 2222603"/>
                  <a:gd name="connsiteX111" fmla="*/ 1367421 w 3419384"/>
                  <a:gd name="connsiteY111" fmla="*/ 1395345 h 2222603"/>
                  <a:gd name="connsiteX112" fmla="*/ 1367421 w 3419384"/>
                  <a:gd name="connsiteY112" fmla="*/ 1651424 h 2222603"/>
                  <a:gd name="connsiteX113" fmla="*/ 1592033 w 3419384"/>
                  <a:gd name="connsiteY113" fmla="*/ 1651424 h 2222603"/>
                  <a:gd name="connsiteX114" fmla="*/ 1592033 w 3419384"/>
                  <a:gd name="connsiteY114" fmla="*/ 1551467 h 2222603"/>
                  <a:gd name="connsiteX115" fmla="*/ 815408 w 3419384"/>
                  <a:gd name="connsiteY115" fmla="*/ 801318 h 2222603"/>
                  <a:gd name="connsiteX116" fmla="*/ 660274 w 3419384"/>
                  <a:gd name="connsiteY116" fmla="*/ 801318 h 2222603"/>
                  <a:gd name="connsiteX117" fmla="*/ 737365 w 3419384"/>
                  <a:gd name="connsiteY117" fmla="*/ 955536 h 2222603"/>
                  <a:gd name="connsiteX118" fmla="*/ 815408 w 3419384"/>
                  <a:gd name="connsiteY118" fmla="*/ 801318 h 222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3419384" h="2222603">
                    <a:moveTo>
                      <a:pt x="486104" y="684226"/>
                    </a:moveTo>
                    <a:cubicBezTo>
                      <a:pt x="436613" y="622348"/>
                      <a:pt x="403302" y="560470"/>
                      <a:pt x="399495" y="489073"/>
                    </a:cubicBezTo>
                    <a:cubicBezTo>
                      <a:pt x="394737" y="374837"/>
                      <a:pt x="392833" y="260601"/>
                      <a:pt x="398544" y="147317"/>
                    </a:cubicBezTo>
                    <a:cubicBezTo>
                      <a:pt x="403302" y="63544"/>
                      <a:pt x="478490" y="714"/>
                      <a:pt x="564147" y="714"/>
                    </a:cubicBezTo>
                    <a:cubicBezTo>
                      <a:pt x="679309" y="-238"/>
                      <a:pt x="794470" y="-238"/>
                      <a:pt x="909631" y="714"/>
                    </a:cubicBezTo>
                    <a:cubicBezTo>
                      <a:pt x="1004806" y="1666"/>
                      <a:pt x="1076187" y="74967"/>
                      <a:pt x="1080945" y="171116"/>
                    </a:cubicBezTo>
                    <a:cubicBezTo>
                      <a:pt x="1082849" y="200627"/>
                      <a:pt x="1090463" y="231090"/>
                      <a:pt x="1102836" y="258697"/>
                    </a:cubicBezTo>
                    <a:cubicBezTo>
                      <a:pt x="1126629" y="312959"/>
                      <a:pt x="1155182" y="365317"/>
                      <a:pt x="1181831" y="418627"/>
                    </a:cubicBezTo>
                    <a:cubicBezTo>
                      <a:pt x="1209431" y="475745"/>
                      <a:pt x="1185637" y="513824"/>
                      <a:pt x="1121870" y="514776"/>
                    </a:cubicBezTo>
                    <a:cubicBezTo>
                      <a:pt x="1107594" y="514776"/>
                      <a:pt x="1093318" y="514776"/>
                      <a:pt x="1085704" y="514776"/>
                    </a:cubicBezTo>
                    <a:cubicBezTo>
                      <a:pt x="1057152" y="573798"/>
                      <a:pt x="1031455" y="628060"/>
                      <a:pt x="1003854" y="686130"/>
                    </a:cubicBezTo>
                    <a:cubicBezTo>
                      <a:pt x="1050490" y="686130"/>
                      <a:pt x="1100932" y="688986"/>
                      <a:pt x="1151375" y="685178"/>
                    </a:cubicBezTo>
                    <a:cubicBezTo>
                      <a:pt x="1279860" y="675658"/>
                      <a:pt x="1379794" y="723256"/>
                      <a:pt x="1456885" y="826069"/>
                    </a:cubicBezTo>
                    <a:cubicBezTo>
                      <a:pt x="1497810" y="879379"/>
                      <a:pt x="1544446" y="928881"/>
                      <a:pt x="1594888" y="987903"/>
                    </a:cubicBezTo>
                    <a:cubicBezTo>
                      <a:pt x="1594888" y="966960"/>
                      <a:pt x="1594888" y="954584"/>
                      <a:pt x="1594888" y="942209"/>
                    </a:cubicBezTo>
                    <a:cubicBezTo>
                      <a:pt x="1594888" y="655667"/>
                      <a:pt x="1594888" y="370077"/>
                      <a:pt x="1594888" y="83535"/>
                    </a:cubicBezTo>
                    <a:cubicBezTo>
                      <a:pt x="1594888" y="18801"/>
                      <a:pt x="1611068" y="2618"/>
                      <a:pt x="1677690" y="2618"/>
                    </a:cubicBezTo>
                    <a:cubicBezTo>
                      <a:pt x="2230654" y="2618"/>
                      <a:pt x="2784571" y="2618"/>
                      <a:pt x="3337535" y="2618"/>
                    </a:cubicBezTo>
                    <a:cubicBezTo>
                      <a:pt x="3403205" y="2618"/>
                      <a:pt x="3419385" y="18801"/>
                      <a:pt x="3419385" y="84487"/>
                    </a:cubicBezTo>
                    <a:cubicBezTo>
                      <a:pt x="3419385" y="694697"/>
                      <a:pt x="3419385" y="1305860"/>
                      <a:pt x="3419385" y="1916070"/>
                    </a:cubicBezTo>
                    <a:cubicBezTo>
                      <a:pt x="3419385" y="1981756"/>
                      <a:pt x="3403205" y="1997940"/>
                      <a:pt x="3337535" y="1997940"/>
                    </a:cubicBezTo>
                    <a:cubicBezTo>
                      <a:pt x="2924477" y="1997940"/>
                      <a:pt x="2511419" y="1997940"/>
                      <a:pt x="2098362" y="1997940"/>
                    </a:cubicBezTo>
                    <a:cubicBezTo>
                      <a:pt x="2084086" y="1997940"/>
                      <a:pt x="2069809" y="1997940"/>
                      <a:pt x="2052678" y="1997940"/>
                    </a:cubicBezTo>
                    <a:cubicBezTo>
                      <a:pt x="2052678" y="2036018"/>
                      <a:pt x="2052678" y="2072193"/>
                      <a:pt x="2052678" y="2110272"/>
                    </a:cubicBezTo>
                    <a:cubicBezTo>
                      <a:pt x="2013656" y="2110272"/>
                      <a:pt x="1978442" y="2110272"/>
                      <a:pt x="1939420" y="2110272"/>
                    </a:cubicBezTo>
                    <a:cubicBezTo>
                      <a:pt x="1939420" y="2074097"/>
                      <a:pt x="1939420" y="2038874"/>
                      <a:pt x="1939420" y="1999843"/>
                    </a:cubicBezTo>
                    <a:cubicBezTo>
                      <a:pt x="1367421" y="1999843"/>
                      <a:pt x="799229" y="1999843"/>
                      <a:pt x="229133" y="1999843"/>
                    </a:cubicBezTo>
                    <a:cubicBezTo>
                      <a:pt x="229133" y="2074097"/>
                      <a:pt x="229133" y="2147398"/>
                      <a:pt x="229133" y="2222604"/>
                    </a:cubicBezTo>
                    <a:cubicBezTo>
                      <a:pt x="190111" y="2222604"/>
                      <a:pt x="154897" y="2222604"/>
                      <a:pt x="114923" y="2222604"/>
                    </a:cubicBezTo>
                    <a:cubicBezTo>
                      <a:pt x="114923" y="2149302"/>
                      <a:pt x="114923" y="2075049"/>
                      <a:pt x="114923" y="1996988"/>
                    </a:cubicBezTo>
                    <a:cubicBezTo>
                      <a:pt x="93985" y="1996988"/>
                      <a:pt x="75902" y="1997940"/>
                      <a:pt x="58770" y="1996988"/>
                    </a:cubicBezTo>
                    <a:cubicBezTo>
                      <a:pt x="23556" y="1995084"/>
                      <a:pt x="1666" y="1974140"/>
                      <a:pt x="714" y="1937966"/>
                    </a:cubicBezTo>
                    <a:cubicBezTo>
                      <a:pt x="-238" y="1862760"/>
                      <a:pt x="-238" y="1788507"/>
                      <a:pt x="714" y="1713302"/>
                    </a:cubicBezTo>
                    <a:cubicBezTo>
                      <a:pt x="1666" y="1677127"/>
                      <a:pt x="23556" y="1656184"/>
                      <a:pt x="59722" y="1655232"/>
                    </a:cubicBezTo>
                    <a:cubicBezTo>
                      <a:pt x="94937" y="1654280"/>
                      <a:pt x="130151" y="1655232"/>
                      <a:pt x="173932" y="1655232"/>
                    </a:cubicBezTo>
                    <a:cubicBezTo>
                      <a:pt x="107309" y="1572410"/>
                      <a:pt x="113972" y="1480070"/>
                      <a:pt x="113972" y="1388681"/>
                    </a:cubicBezTo>
                    <a:cubicBezTo>
                      <a:pt x="114923" y="1253502"/>
                      <a:pt x="113972" y="1118323"/>
                      <a:pt x="113972" y="982191"/>
                    </a:cubicBezTo>
                    <a:cubicBezTo>
                      <a:pt x="113972" y="807982"/>
                      <a:pt x="236747" y="686130"/>
                      <a:pt x="409965" y="685178"/>
                    </a:cubicBezTo>
                    <a:cubicBezTo>
                      <a:pt x="429951" y="684226"/>
                      <a:pt x="453745" y="684226"/>
                      <a:pt x="486104" y="684226"/>
                    </a:cubicBezTo>
                    <a:close/>
                    <a:moveTo>
                      <a:pt x="3300417" y="1879896"/>
                    </a:moveTo>
                    <a:cubicBezTo>
                      <a:pt x="3300417" y="1289677"/>
                      <a:pt x="3300417" y="702313"/>
                      <a:pt x="3300417" y="116854"/>
                    </a:cubicBezTo>
                    <a:cubicBezTo>
                      <a:pt x="2768391" y="116854"/>
                      <a:pt x="2238268" y="116854"/>
                      <a:pt x="1709098" y="116854"/>
                    </a:cubicBezTo>
                    <a:cubicBezTo>
                      <a:pt x="1709098" y="411011"/>
                      <a:pt x="1709098" y="702313"/>
                      <a:pt x="1709098" y="994567"/>
                    </a:cubicBezTo>
                    <a:cubicBezTo>
                      <a:pt x="1713857" y="992663"/>
                      <a:pt x="1715760" y="992663"/>
                      <a:pt x="1717663" y="990759"/>
                    </a:cubicBezTo>
                    <a:cubicBezTo>
                      <a:pt x="1787141" y="921266"/>
                      <a:pt x="1857570" y="851772"/>
                      <a:pt x="1927048" y="782278"/>
                    </a:cubicBezTo>
                    <a:cubicBezTo>
                      <a:pt x="1979394" y="729920"/>
                      <a:pt x="1989863" y="728968"/>
                      <a:pt x="2057437" y="774663"/>
                    </a:cubicBezTo>
                    <a:cubicBezTo>
                      <a:pt x="2154515" y="675658"/>
                      <a:pt x="2253496" y="575702"/>
                      <a:pt x="2347719" y="479553"/>
                    </a:cubicBezTo>
                    <a:cubicBezTo>
                      <a:pt x="2375320" y="504304"/>
                      <a:pt x="2401969" y="528103"/>
                      <a:pt x="2433376" y="556662"/>
                    </a:cubicBezTo>
                    <a:cubicBezTo>
                      <a:pt x="2331540" y="657571"/>
                      <a:pt x="2231606" y="756575"/>
                      <a:pt x="2129769" y="857484"/>
                    </a:cubicBezTo>
                    <a:cubicBezTo>
                      <a:pt x="2169743" y="896514"/>
                      <a:pt x="2207813" y="933641"/>
                      <a:pt x="2245882" y="970768"/>
                    </a:cubicBezTo>
                    <a:cubicBezTo>
                      <a:pt x="2287759" y="1012654"/>
                      <a:pt x="2287759" y="1037405"/>
                      <a:pt x="2245882" y="1079292"/>
                    </a:cubicBezTo>
                    <a:cubicBezTo>
                      <a:pt x="2149756" y="1176393"/>
                      <a:pt x="2053630" y="1273493"/>
                      <a:pt x="1955600" y="1368690"/>
                    </a:cubicBezTo>
                    <a:cubicBezTo>
                      <a:pt x="1880412" y="1441991"/>
                      <a:pt x="1818549" y="1531476"/>
                      <a:pt x="1709098" y="1551467"/>
                    </a:cubicBezTo>
                    <a:cubicBezTo>
                      <a:pt x="1709098" y="1588594"/>
                      <a:pt x="1709098" y="1620009"/>
                      <a:pt x="1709098" y="1652376"/>
                    </a:cubicBezTo>
                    <a:cubicBezTo>
                      <a:pt x="1837583" y="1652376"/>
                      <a:pt x="1963214" y="1652376"/>
                      <a:pt x="2088844" y="1652376"/>
                    </a:cubicBezTo>
                    <a:cubicBezTo>
                      <a:pt x="2142142" y="1652376"/>
                      <a:pt x="2161177" y="1671415"/>
                      <a:pt x="2162129" y="1725677"/>
                    </a:cubicBezTo>
                    <a:cubicBezTo>
                      <a:pt x="2162129" y="1776131"/>
                      <a:pt x="2162129" y="1826586"/>
                      <a:pt x="2162129" y="1878944"/>
                    </a:cubicBezTo>
                    <a:cubicBezTo>
                      <a:pt x="2543779" y="1879896"/>
                      <a:pt x="2920670" y="1879896"/>
                      <a:pt x="3300417" y="1879896"/>
                    </a:cubicBezTo>
                    <a:close/>
                    <a:moveTo>
                      <a:pt x="1988911" y="882235"/>
                    </a:moveTo>
                    <a:cubicBezTo>
                      <a:pt x="1893736" y="977431"/>
                      <a:pt x="1798562" y="1072628"/>
                      <a:pt x="1704339" y="1167825"/>
                    </a:cubicBezTo>
                    <a:cubicBezTo>
                      <a:pt x="1661510" y="1209711"/>
                      <a:pt x="1632958" y="1208759"/>
                      <a:pt x="1594888" y="1164017"/>
                    </a:cubicBezTo>
                    <a:cubicBezTo>
                      <a:pt x="1510183" y="1065013"/>
                      <a:pt x="1424526" y="966008"/>
                      <a:pt x="1339820" y="866051"/>
                    </a:cubicBezTo>
                    <a:cubicBezTo>
                      <a:pt x="1300799" y="820357"/>
                      <a:pt x="1253211" y="797510"/>
                      <a:pt x="1193251" y="798462"/>
                    </a:cubicBezTo>
                    <a:cubicBezTo>
                      <a:pt x="1120919" y="799414"/>
                      <a:pt x="1048586" y="799414"/>
                      <a:pt x="976253" y="798462"/>
                    </a:cubicBezTo>
                    <a:cubicBezTo>
                      <a:pt x="952460" y="797510"/>
                      <a:pt x="940087" y="805126"/>
                      <a:pt x="929618" y="826069"/>
                    </a:cubicBezTo>
                    <a:cubicBezTo>
                      <a:pt x="885837" y="916506"/>
                      <a:pt x="840154" y="1006942"/>
                      <a:pt x="795422" y="1097379"/>
                    </a:cubicBezTo>
                    <a:cubicBezTo>
                      <a:pt x="783049" y="1122131"/>
                      <a:pt x="766869" y="1141170"/>
                      <a:pt x="736413" y="1141170"/>
                    </a:cubicBezTo>
                    <a:cubicBezTo>
                      <a:pt x="707861" y="1140218"/>
                      <a:pt x="692633" y="1122131"/>
                      <a:pt x="681212" y="1098331"/>
                    </a:cubicBezTo>
                    <a:cubicBezTo>
                      <a:pt x="650756" y="1035501"/>
                      <a:pt x="619349" y="972672"/>
                      <a:pt x="587941" y="910794"/>
                    </a:cubicBezTo>
                    <a:cubicBezTo>
                      <a:pt x="569858" y="874619"/>
                      <a:pt x="559389" y="825117"/>
                      <a:pt x="529885" y="807982"/>
                    </a:cubicBezTo>
                    <a:cubicBezTo>
                      <a:pt x="499429" y="788942"/>
                      <a:pt x="449938" y="800366"/>
                      <a:pt x="409013" y="800366"/>
                    </a:cubicBezTo>
                    <a:cubicBezTo>
                      <a:pt x="297659" y="800366"/>
                      <a:pt x="226278" y="871763"/>
                      <a:pt x="226278" y="982191"/>
                    </a:cubicBezTo>
                    <a:cubicBezTo>
                      <a:pt x="226278" y="1144978"/>
                      <a:pt x="226278" y="1307764"/>
                      <a:pt x="226278" y="1470550"/>
                    </a:cubicBezTo>
                    <a:cubicBezTo>
                      <a:pt x="226278" y="1583834"/>
                      <a:pt x="297659" y="1655232"/>
                      <a:pt x="410916" y="1655232"/>
                    </a:cubicBezTo>
                    <a:cubicBezTo>
                      <a:pt x="547016" y="1655232"/>
                      <a:pt x="684067" y="1655232"/>
                      <a:pt x="820167" y="1655232"/>
                    </a:cubicBezTo>
                    <a:cubicBezTo>
                      <a:pt x="830636" y="1655232"/>
                      <a:pt x="841105" y="1654280"/>
                      <a:pt x="853478" y="1653328"/>
                    </a:cubicBezTo>
                    <a:cubicBezTo>
                      <a:pt x="853478" y="1600969"/>
                      <a:pt x="853478" y="1551467"/>
                      <a:pt x="853478" y="1501965"/>
                    </a:cubicBezTo>
                    <a:cubicBezTo>
                      <a:pt x="853478" y="1445799"/>
                      <a:pt x="834443" y="1427712"/>
                      <a:pt x="778290" y="1427712"/>
                    </a:cubicBezTo>
                    <a:cubicBezTo>
                      <a:pt x="692633" y="1427712"/>
                      <a:pt x="606976" y="1427712"/>
                      <a:pt x="522271" y="1427712"/>
                    </a:cubicBezTo>
                    <a:cubicBezTo>
                      <a:pt x="488008" y="1427712"/>
                      <a:pt x="459455" y="1415336"/>
                      <a:pt x="456600" y="1381065"/>
                    </a:cubicBezTo>
                    <a:cubicBezTo>
                      <a:pt x="451841" y="1321091"/>
                      <a:pt x="455648" y="1261118"/>
                      <a:pt x="455648" y="1201144"/>
                    </a:cubicBezTo>
                    <a:cubicBezTo>
                      <a:pt x="494670" y="1201144"/>
                      <a:pt x="529885" y="1201144"/>
                      <a:pt x="568906" y="1201144"/>
                    </a:cubicBezTo>
                    <a:cubicBezTo>
                      <a:pt x="568906" y="1239222"/>
                      <a:pt x="568906" y="1275397"/>
                      <a:pt x="568906" y="1313476"/>
                    </a:cubicBezTo>
                    <a:cubicBezTo>
                      <a:pt x="642191" y="1313476"/>
                      <a:pt x="712620" y="1313476"/>
                      <a:pt x="782097" y="1313476"/>
                    </a:cubicBezTo>
                    <a:cubicBezTo>
                      <a:pt x="896307" y="1313476"/>
                      <a:pt x="966736" y="1383921"/>
                      <a:pt x="967688" y="1497205"/>
                    </a:cubicBezTo>
                    <a:cubicBezTo>
                      <a:pt x="967688" y="1548611"/>
                      <a:pt x="967688" y="1600969"/>
                      <a:pt x="967688" y="1653328"/>
                    </a:cubicBezTo>
                    <a:cubicBezTo>
                      <a:pt x="1064766" y="1653328"/>
                      <a:pt x="1158037" y="1653328"/>
                      <a:pt x="1252260" y="1653328"/>
                    </a:cubicBezTo>
                    <a:cubicBezTo>
                      <a:pt x="1252260" y="1523860"/>
                      <a:pt x="1252260" y="1397249"/>
                      <a:pt x="1252260" y="1269685"/>
                    </a:cubicBezTo>
                    <a:cubicBezTo>
                      <a:pt x="1252260" y="1240174"/>
                      <a:pt x="1259874" y="1215423"/>
                      <a:pt x="1289378" y="1203048"/>
                    </a:cubicBezTo>
                    <a:cubicBezTo>
                      <a:pt x="1317930" y="1191624"/>
                      <a:pt x="1339820" y="1204952"/>
                      <a:pt x="1358855" y="1223991"/>
                    </a:cubicBezTo>
                    <a:cubicBezTo>
                      <a:pt x="1412153" y="1278253"/>
                      <a:pt x="1466402" y="1331563"/>
                      <a:pt x="1519700" y="1384873"/>
                    </a:cubicBezTo>
                    <a:cubicBezTo>
                      <a:pt x="1602502" y="1466742"/>
                      <a:pt x="1700532" y="1466742"/>
                      <a:pt x="1783334" y="1383921"/>
                    </a:cubicBezTo>
                    <a:cubicBezTo>
                      <a:pt x="1895640" y="1272541"/>
                      <a:pt x="2006994" y="1160209"/>
                      <a:pt x="2118349" y="1048829"/>
                    </a:cubicBezTo>
                    <a:cubicBezTo>
                      <a:pt x="2125962" y="1041213"/>
                      <a:pt x="2131673" y="1033598"/>
                      <a:pt x="2136432" y="1028838"/>
                    </a:cubicBezTo>
                    <a:cubicBezTo>
                      <a:pt x="2085037" y="979336"/>
                      <a:pt x="2038402" y="931737"/>
                      <a:pt x="1988911" y="882235"/>
                    </a:cubicBezTo>
                    <a:close/>
                    <a:moveTo>
                      <a:pt x="1041924" y="396732"/>
                    </a:moveTo>
                    <a:cubicBezTo>
                      <a:pt x="1037165" y="387212"/>
                      <a:pt x="1034310" y="380549"/>
                      <a:pt x="1031455" y="373885"/>
                    </a:cubicBezTo>
                    <a:cubicBezTo>
                      <a:pt x="1000999" y="307247"/>
                      <a:pt x="955315" y="246321"/>
                      <a:pt x="962929" y="164452"/>
                    </a:cubicBezTo>
                    <a:cubicBezTo>
                      <a:pt x="965784" y="133037"/>
                      <a:pt x="938183" y="113998"/>
                      <a:pt x="905824" y="113998"/>
                    </a:cubicBezTo>
                    <a:cubicBezTo>
                      <a:pt x="793518" y="113046"/>
                      <a:pt x="680260" y="113046"/>
                      <a:pt x="567954" y="113998"/>
                    </a:cubicBezTo>
                    <a:cubicBezTo>
                      <a:pt x="532740" y="113998"/>
                      <a:pt x="509898" y="136845"/>
                      <a:pt x="509898" y="172068"/>
                    </a:cubicBezTo>
                    <a:cubicBezTo>
                      <a:pt x="508946" y="268217"/>
                      <a:pt x="507043" y="364365"/>
                      <a:pt x="510850" y="460514"/>
                    </a:cubicBezTo>
                    <a:cubicBezTo>
                      <a:pt x="515608" y="584269"/>
                      <a:pt x="618397" y="682322"/>
                      <a:pt x="735462" y="683274"/>
                    </a:cubicBezTo>
                    <a:cubicBezTo>
                      <a:pt x="854430" y="684226"/>
                      <a:pt x="954363" y="592837"/>
                      <a:pt x="964832" y="473841"/>
                    </a:cubicBezTo>
                    <a:cubicBezTo>
                      <a:pt x="970543" y="414819"/>
                      <a:pt x="980060" y="404348"/>
                      <a:pt x="1041924" y="396732"/>
                    </a:cubicBezTo>
                    <a:close/>
                    <a:moveTo>
                      <a:pt x="112068" y="1879896"/>
                    </a:moveTo>
                    <a:cubicBezTo>
                      <a:pt x="758304" y="1879896"/>
                      <a:pt x="1402636" y="1879896"/>
                      <a:pt x="2046016" y="1879896"/>
                    </a:cubicBezTo>
                    <a:cubicBezTo>
                      <a:pt x="2046016" y="1841817"/>
                      <a:pt x="2046016" y="1805642"/>
                      <a:pt x="2046016" y="1769468"/>
                    </a:cubicBezTo>
                    <a:cubicBezTo>
                      <a:pt x="1399780" y="1769468"/>
                      <a:pt x="757352" y="1769468"/>
                      <a:pt x="112068" y="1769468"/>
                    </a:cubicBezTo>
                    <a:cubicBezTo>
                      <a:pt x="112068" y="1806594"/>
                      <a:pt x="112068" y="1841817"/>
                      <a:pt x="112068" y="1879896"/>
                    </a:cubicBezTo>
                    <a:close/>
                    <a:moveTo>
                      <a:pt x="1592033" y="1551467"/>
                    </a:moveTo>
                    <a:cubicBezTo>
                      <a:pt x="1493051" y="1536236"/>
                      <a:pt x="1435947" y="1461031"/>
                      <a:pt x="1367421" y="1395345"/>
                    </a:cubicBezTo>
                    <a:cubicBezTo>
                      <a:pt x="1367421" y="1484830"/>
                      <a:pt x="1367421" y="1567651"/>
                      <a:pt x="1367421" y="1651424"/>
                    </a:cubicBezTo>
                    <a:cubicBezTo>
                      <a:pt x="1443561" y="1651424"/>
                      <a:pt x="1517797" y="1651424"/>
                      <a:pt x="1592033" y="1651424"/>
                    </a:cubicBezTo>
                    <a:cubicBezTo>
                      <a:pt x="1592033" y="1618105"/>
                      <a:pt x="1592033" y="1587642"/>
                      <a:pt x="1592033" y="1551467"/>
                    </a:cubicBezTo>
                    <a:close/>
                    <a:moveTo>
                      <a:pt x="815408" y="801318"/>
                    </a:moveTo>
                    <a:cubicBezTo>
                      <a:pt x="762111" y="801318"/>
                      <a:pt x="713572" y="801318"/>
                      <a:pt x="660274" y="801318"/>
                    </a:cubicBezTo>
                    <a:cubicBezTo>
                      <a:pt x="685971" y="852724"/>
                      <a:pt x="709764" y="901274"/>
                      <a:pt x="737365" y="955536"/>
                    </a:cubicBezTo>
                    <a:cubicBezTo>
                      <a:pt x="764966" y="900322"/>
                      <a:pt x="788759" y="852724"/>
                      <a:pt x="815408" y="801318"/>
                    </a:cubicBezTo>
                    <a:close/>
                  </a:path>
                </a:pathLst>
              </a:custGeom>
              <a:grpFill/>
              <a:ln w="9514"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88913B7-A655-6C44-52B7-88014961542A}"/>
                  </a:ext>
                </a:extLst>
              </p:cNvPr>
              <p:cNvSpPr/>
              <p:nvPr/>
            </p:nvSpPr>
            <p:spPr>
              <a:xfrm>
                <a:off x="3012029" y="3836916"/>
                <a:ext cx="685886" cy="1198051"/>
              </a:xfrm>
              <a:custGeom>
                <a:avLst/>
                <a:gdLst>
                  <a:gd name="connsiteX0" fmla="*/ 163378 w 685886"/>
                  <a:gd name="connsiteY0" fmla="*/ 506924 h 1198051"/>
                  <a:gd name="connsiteX1" fmla="*/ 145295 w 685886"/>
                  <a:gd name="connsiteY1" fmla="*/ 80443 h 1198051"/>
                  <a:gd name="connsiteX2" fmla="*/ 544076 w 685886"/>
                  <a:gd name="connsiteY2" fmla="*/ 82347 h 1198051"/>
                  <a:gd name="connsiteX3" fmla="*/ 525993 w 685886"/>
                  <a:gd name="connsiteY3" fmla="*/ 505020 h 1198051"/>
                  <a:gd name="connsiteX4" fmla="*/ 543125 w 685886"/>
                  <a:gd name="connsiteY4" fmla="*/ 521203 h 1198051"/>
                  <a:gd name="connsiteX5" fmla="*/ 685887 w 685886"/>
                  <a:gd name="connsiteY5" fmla="*/ 805841 h 1198051"/>
                  <a:gd name="connsiteX6" fmla="*/ 685887 w 685886"/>
                  <a:gd name="connsiteY6" fmla="*/ 1126654 h 1198051"/>
                  <a:gd name="connsiteX7" fmla="*/ 614506 w 685886"/>
                  <a:gd name="connsiteY7" fmla="*/ 1198051 h 1198051"/>
                  <a:gd name="connsiteX8" fmla="*/ 72962 w 685886"/>
                  <a:gd name="connsiteY8" fmla="*/ 1198051 h 1198051"/>
                  <a:gd name="connsiteX9" fmla="*/ 1581 w 685886"/>
                  <a:gd name="connsiteY9" fmla="*/ 1126654 h 1198051"/>
                  <a:gd name="connsiteX10" fmla="*/ 629 w 685886"/>
                  <a:gd name="connsiteY10" fmla="*/ 848680 h 1198051"/>
                  <a:gd name="connsiteX11" fmla="*/ 163378 w 685886"/>
                  <a:gd name="connsiteY11" fmla="*/ 506924 h 1198051"/>
                  <a:gd name="connsiteX12" fmla="*/ 570725 w 685886"/>
                  <a:gd name="connsiteY12" fmla="*/ 1081911 h 1198051"/>
                  <a:gd name="connsiteX13" fmla="*/ 570725 w 685886"/>
                  <a:gd name="connsiteY13" fmla="*/ 798226 h 1198051"/>
                  <a:gd name="connsiteX14" fmla="*/ 363245 w 685886"/>
                  <a:gd name="connsiteY14" fmla="*/ 570705 h 1198051"/>
                  <a:gd name="connsiteX15" fmla="*/ 121501 w 685886"/>
                  <a:gd name="connsiteY15" fmla="*/ 758243 h 1198051"/>
                  <a:gd name="connsiteX16" fmla="*/ 118646 w 685886"/>
                  <a:gd name="connsiteY16" fmla="*/ 1081911 h 1198051"/>
                  <a:gd name="connsiteX17" fmla="*/ 570725 w 685886"/>
                  <a:gd name="connsiteY17" fmla="*/ 1081911 h 1198051"/>
                  <a:gd name="connsiteX18" fmla="*/ 513621 w 685886"/>
                  <a:gd name="connsiteY18" fmla="*/ 286067 h 1198051"/>
                  <a:gd name="connsiteX19" fmla="*/ 345161 w 685886"/>
                  <a:gd name="connsiteY19" fmla="*/ 113761 h 1198051"/>
                  <a:gd name="connsiteX20" fmla="*/ 171944 w 685886"/>
                  <a:gd name="connsiteY20" fmla="*/ 284164 h 1198051"/>
                  <a:gd name="connsiteX21" fmla="*/ 343258 w 685886"/>
                  <a:gd name="connsiteY21" fmla="*/ 456469 h 1198051"/>
                  <a:gd name="connsiteX22" fmla="*/ 513621 w 685886"/>
                  <a:gd name="connsiteY22" fmla="*/ 286067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5886" h="1198051">
                    <a:moveTo>
                      <a:pt x="163378" y="506924"/>
                    </a:moveTo>
                    <a:cubicBezTo>
                      <a:pt x="2533" y="354609"/>
                      <a:pt x="51072" y="169928"/>
                      <a:pt x="145295" y="80443"/>
                    </a:cubicBezTo>
                    <a:cubicBezTo>
                      <a:pt x="256649" y="-27129"/>
                      <a:pt x="432722" y="-27129"/>
                      <a:pt x="544076" y="82347"/>
                    </a:cubicBezTo>
                    <a:cubicBezTo>
                      <a:pt x="640203" y="176591"/>
                      <a:pt x="680176" y="359369"/>
                      <a:pt x="525993" y="505020"/>
                    </a:cubicBezTo>
                    <a:cubicBezTo>
                      <a:pt x="531704" y="510732"/>
                      <a:pt x="537414" y="516443"/>
                      <a:pt x="543125" y="521203"/>
                    </a:cubicBezTo>
                    <a:cubicBezTo>
                      <a:pt x="637348" y="592601"/>
                      <a:pt x="685887" y="686845"/>
                      <a:pt x="685887" y="805841"/>
                    </a:cubicBezTo>
                    <a:cubicBezTo>
                      <a:pt x="685887" y="912462"/>
                      <a:pt x="685887" y="1020034"/>
                      <a:pt x="685887" y="1126654"/>
                    </a:cubicBezTo>
                    <a:cubicBezTo>
                      <a:pt x="685887" y="1178060"/>
                      <a:pt x="665900" y="1198051"/>
                      <a:pt x="614506" y="1198051"/>
                    </a:cubicBezTo>
                    <a:cubicBezTo>
                      <a:pt x="433674" y="1198051"/>
                      <a:pt x="253794" y="1198051"/>
                      <a:pt x="72962" y="1198051"/>
                    </a:cubicBezTo>
                    <a:cubicBezTo>
                      <a:pt x="21568" y="1198051"/>
                      <a:pt x="1581" y="1178060"/>
                      <a:pt x="1581" y="1126654"/>
                    </a:cubicBezTo>
                    <a:cubicBezTo>
                      <a:pt x="1581" y="1034313"/>
                      <a:pt x="4436" y="941021"/>
                      <a:pt x="629" y="848680"/>
                    </a:cubicBezTo>
                    <a:cubicBezTo>
                      <a:pt x="-6033" y="705885"/>
                      <a:pt x="39651" y="589745"/>
                      <a:pt x="163378" y="506924"/>
                    </a:cubicBezTo>
                    <a:close/>
                    <a:moveTo>
                      <a:pt x="570725" y="1081911"/>
                    </a:moveTo>
                    <a:cubicBezTo>
                      <a:pt x="570725" y="984811"/>
                      <a:pt x="571677" y="891518"/>
                      <a:pt x="570725" y="798226"/>
                    </a:cubicBezTo>
                    <a:cubicBezTo>
                      <a:pt x="569774" y="678278"/>
                      <a:pt x="479358" y="581177"/>
                      <a:pt x="363245" y="570705"/>
                    </a:cubicBezTo>
                    <a:cubicBezTo>
                      <a:pt x="246180" y="560234"/>
                      <a:pt x="133874" y="639247"/>
                      <a:pt x="121501" y="758243"/>
                    </a:cubicBezTo>
                    <a:cubicBezTo>
                      <a:pt x="110080" y="864863"/>
                      <a:pt x="118646" y="972435"/>
                      <a:pt x="118646" y="1081911"/>
                    </a:cubicBezTo>
                    <a:cubicBezTo>
                      <a:pt x="268070" y="1081911"/>
                      <a:pt x="417494" y="1081911"/>
                      <a:pt x="570725" y="1081911"/>
                    </a:cubicBezTo>
                    <a:close/>
                    <a:moveTo>
                      <a:pt x="513621" y="286067"/>
                    </a:moveTo>
                    <a:cubicBezTo>
                      <a:pt x="513621" y="192775"/>
                      <a:pt x="438433" y="115666"/>
                      <a:pt x="345161" y="113761"/>
                    </a:cubicBezTo>
                    <a:cubicBezTo>
                      <a:pt x="249987" y="112810"/>
                      <a:pt x="171944" y="188967"/>
                      <a:pt x="171944" y="284164"/>
                    </a:cubicBezTo>
                    <a:cubicBezTo>
                      <a:pt x="171944" y="378408"/>
                      <a:pt x="249035" y="456469"/>
                      <a:pt x="343258" y="456469"/>
                    </a:cubicBezTo>
                    <a:cubicBezTo>
                      <a:pt x="436529" y="455518"/>
                      <a:pt x="513621" y="379360"/>
                      <a:pt x="513621" y="286067"/>
                    </a:cubicBezTo>
                    <a:close/>
                  </a:path>
                </a:pathLst>
              </a:custGeom>
              <a:grpFill/>
              <a:ln w="9514"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065C604B-2FC3-353F-4806-2091339011CB}"/>
                  </a:ext>
                </a:extLst>
              </p:cNvPr>
              <p:cNvSpPr/>
              <p:nvPr/>
            </p:nvSpPr>
            <p:spPr>
              <a:xfrm>
                <a:off x="3809750" y="3836916"/>
                <a:ext cx="685728" cy="1198051"/>
              </a:xfrm>
              <a:custGeom>
                <a:avLst/>
                <a:gdLst>
                  <a:gd name="connsiteX0" fmla="*/ 163220 w 685728"/>
                  <a:gd name="connsiteY0" fmla="*/ 506924 h 1198051"/>
                  <a:gd name="connsiteX1" fmla="*/ 145137 w 685728"/>
                  <a:gd name="connsiteY1" fmla="*/ 80443 h 1198051"/>
                  <a:gd name="connsiteX2" fmla="*/ 543919 w 685728"/>
                  <a:gd name="connsiteY2" fmla="*/ 82347 h 1198051"/>
                  <a:gd name="connsiteX3" fmla="*/ 525835 w 685728"/>
                  <a:gd name="connsiteY3" fmla="*/ 505020 h 1198051"/>
                  <a:gd name="connsiteX4" fmla="*/ 542967 w 685728"/>
                  <a:gd name="connsiteY4" fmla="*/ 521203 h 1198051"/>
                  <a:gd name="connsiteX5" fmla="*/ 685729 w 685728"/>
                  <a:gd name="connsiteY5" fmla="*/ 805841 h 1198051"/>
                  <a:gd name="connsiteX6" fmla="*/ 685729 w 685728"/>
                  <a:gd name="connsiteY6" fmla="*/ 1126654 h 1198051"/>
                  <a:gd name="connsiteX7" fmla="*/ 614348 w 685728"/>
                  <a:gd name="connsiteY7" fmla="*/ 1198051 h 1198051"/>
                  <a:gd name="connsiteX8" fmla="*/ 72804 w 685728"/>
                  <a:gd name="connsiteY8" fmla="*/ 1198051 h 1198051"/>
                  <a:gd name="connsiteX9" fmla="*/ 1423 w 685728"/>
                  <a:gd name="connsiteY9" fmla="*/ 1126654 h 1198051"/>
                  <a:gd name="connsiteX10" fmla="*/ 472 w 685728"/>
                  <a:gd name="connsiteY10" fmla="*/ 848680 h 1198051"/>
                  <a:gd name="connsiteX11" fmla="*/ 163220 w 685728"/>
                  <a:gd name="connsiteY11" fmla="*/ 506924 h 1198051"/>
                  <a:gd name="connsiteX12" fmla="*/ 569616 w 685728"/>
                  <a:gd name="connsiteY12" fmla="*/ 1081911 h 1198051"/>
                  <a:gd name="connsiteX13" fmla="*/ 570567 w 685728"/>
                  <a:gd name="connsiteY13" fmla="*/ 1063824 h 1198051"/>
                  <a:gd name="connsiteX14" fmla="*/ 570567 w 685728"/>
                  <a:gd name="connsiteY14" fmla="*/ 793466 h 1198051"/>
                  <a:gd name="connsiteX15" fmla="*/ 344052 w 685728"/>
                  <a:gd name="connsiteY15" fmla="*/ 569754 h 1198051"/>
                  <a:gd name="connsiteX16" fmla="*/ 115633 w 685728"/>
                  <a:gd name="connsiteY16" fmla="*/ 794417 h 1198051"/>
                  <a:gd name="connsiteX17" fmla="*/ 115633 w 685728"/>
                  <a:gd name="connsiteY17" fmla="*/ 1064776 h 1198051"/>
                  <a:gd name="connsiteX18" fmla="*/ 118488 w 685728"/>
                  <a:gd name="connsiteY18" fmla="*/ 1081911 h 1198051"/>
                  <a:gd name="connsiteX19" fmla="*/ 569616 w 685728"/>
                  <a:gd name="connsiteY19" fmla="*/ 1081911 h 1198051"/>
                  <a:gd name="connsiteX20" fmla="*/ 514414 w 685728"/>
                  <a:gd name="connsiteY20" fmla="*/ 287971 h 1198051"/>
                  <a:gd name="connsiteX21" fmla="*/ 348811 w 685728"/>
                  <a:gd name="connsiteY21" fmla="*/ 113761 h 1198051"/>
                  <a:gd name="connsiteX22" fmla="*/ 172738 w 685728"/>
                  <a:gd name="connsiteY22" fmla="*/ 281308 h 1198051"/>
                  <a:gd name="connsiteX23" fmla="*/ 342148 w 685728"/>
                  <a:gd name="connsiteY23" fmla="*/ 455518 h 1198051"/>
                  <a:gd name="connsiteX24" fmla="*/ 514414 w 685728"/>
                  <a:gd name="connsiteY24" fmla="*/ 287971 h 119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5728" h="1198051">
                    <a:moveTo>
                      <a:pt x="163220" y="506924"/>
                    </a:moveTo>
                    <a:cubicBezTo>
                      <a:pt x="2375" y="354609"/>
                      <a:pt x="50914" y="169928"/>
                      <a:pt x="145137" y="80443"/>
                    </a:cubicBezTo>
                    <a:cubicBezTo>
                      <a:pt x="256491" y="-27129"/>
                      <a:pt x="432564" y="-27129"/>
                      <a:pt x="543919" y="82347"/>
                    </a:cubicBezTo>
                    <a:cubicBezTo>
                      <a:pt x="640045" y="176591"/>
                      <a:pt x="680018" y="359369"/>
                      <a:pt x="525835" y="505020"/>
                    </a:cubicBezTo>
                    <a:cubicBezTo>
                      <a:pt x="531546" y="510732"/>
                      <a:pt x="537256" y="516443"/>
                      <a:pt x="542967" y="521203"/>
                    </a:cubicBezTo>
                    <a:cubicBezTo>
                      <a:pt x="637190" y="592601"/>
                      <a:pt x="685729" y="686845"/>
                      <a:pt x="685729" y="805841"/>
                    </a:cubicBezTo>
                    <a:cubicBezTo>
                      <a:pt x="685729" y="912462"/>
                      <a:pt x="685729" y="1020034"/>
                      <a:pt x="685729" y="1126654"/>
                    </a:cubicBezTo>
                    <a:cubicBezTo>
                      <a:pt x="685729" y="1178060"/>
                      <a:pt x="665742" y="1198051"/>
                      <a:pt x="614348" y="1198051"/>
                    </a:cubicBezTo>
                    <a:cubicBezTo>
                      <a:pt x="433516" y="1198051"/>
                      <a:pt x="253636" y="1198051"/>
                      <a:pt x="72804" y="1198051"/>
                    </a:cubicBezTo>
                    <a:cubicBezTo>
                      <a:pt x="21410" y="1198051"/>
                      <a:pt x="1423" y="1178060"/>
                      <a:pt x="1423" y="1126654"/>
                    </a:cubicBezTo>
                    <a:cubicBezTo>
                      <a:pt x="1423" y="1034313"/>
                      <a:pt x="4278" y="941021"/>
                      <a:pt x="472" y="848680"/>
                    </a:cubicBezTo>
                    <a:cubicBezTo>
                      <a:pt x="-5239" y="705885"/>
                      <a:pt x="40445" y="589745"/>
                      <a:pt x="163220" y="506924"/>
                    </a:cubicBezTo>
                    <a:close/>
                    <a:moveTo>
                      <a:pt x="569616" y="1081911"/>
                    </a:moveTo>
                    <a:cubicBezTo>
                      <a:pt x="570567" y="1073344"/>
                      <a:pt x="570567" y="1068584"/>
                      <a:pt x="570567" y="1063824"/>
                    </a:cubicBezTo>
                    <a:cubicBezTo>
                      <a:pt x="570567" y="973387"/>
                      <a:pt x="571519" y="883903"/>
                      <a:pt x="570567" y="793466"/>
                    </a:cubicBezTo>
                    <a:cubicBezTo>
                      <a:pt x="568664" y="669710"/>
                      <a:pt x="466827" y="570705"/>
                      <a:pt x="344052" y="569754"/>
                    </a:cubicBezTo>
                    <a:cubicBezTo>
                      <a:pt x="219373" y="568802"/>
                      <a:pt x="117536" y="668758"/>
                      <a:pt x="115633" y="794417"/>
                    </a:cubicBezTo>
                    <a:cubicBezTo>
                      <a:pt x="114681" y="884854"/>
                      <a:pt x="115633" y="974339"/>
                      <a:pt x="115633" y="1064776"/>
                    </a:cubicBezTo>
                    <a:cubicBezTo>
                      <a:pt x="115633" y="1070488"/>
                      <a:pt x="117536" y="1076200"/>
                      <a:pt x="118488" y="1081911"/>
                    </a:cubicBezTo>
                    <a:cubicBezTo>
                      <a:pt x="268864" y="1081911"/>
                      <a:pt x="418288" y="1081911"/>
                      <a:pt x="569616" y="1081911"/>
                    </a:cubicBezTo>
                    <a:close/>
                    <a:moveTo>
                      <a:pt x="514414" y="287971"/>
                    </a:moveTo>
                    <a:cubicBezTo>
                      <a:pt x="516318" y="194679"/>
                      <a:pt x="441130" y="116618"/>
                      <a:pt x="348811" y="113761"/>
                    </a:cubicBezTo>
                    <a:cubicBezTo>
                      <a:pt x="253636" y="111858"/>
                      <a:pt x="174641" y="187063"/>
                      <a:pt x="172738" y="281308"/>
                    </a:cubicBezTo>
                    <a:cubicBezTo>
                      <a:pt x="170834" y="376504"/>
                      <a:pt x="247925" y="454566"/>
                      <a:pt x="342148" y="455518"/>
                    </a:cubicBezTo>
                    <a:cubicBezTo>
                      <a:pt x="435419" y="456469"/>
                      <a:pt x="512511" y="381264"/>
                      <a:pt x="514414" y="287971"/>
                    </a:cubicBezTo>
                    <a:close/>
                  </a:path>
                </a:pathLst>
              </a:custGeom>
              <a:grpFill/>
              <a:ln w="9514"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AC2F07E9-616D-7D6A-8BC2-A42A231B642F}"/>
                  </a:ext>
                </a:extLst>
              </p:cNvPr>
              <p:cNvSpPr/>
              <p:nvPr/>
            </p:nvSpPr>
            <p:spPr>
              <a:xfrm>
                <a:off x="4608736" y="3837617"/>
                <a:ext cx="684305" cy="1197349"/>
              </a:xfrm>
              <a:custGeom>
                <a:avLst/>
                <a:gdLst>
                  <a:gd name="connsiteX0" fmla="*/ 161797 w 684305"/>
                  <a:gd name="connsiteY0" fmla="*/ 506222 h 1197349"/>
                  <a:gd name="connsiteX1" fmla="*/ 140859 w 684305"/>
                  <a:gd name="connsiteY1" fmla="*/ 82597 h 1197349"/>
                  <a:gd name="connsiteX2" fmla="*/ 539640 w 684305"/>
                  <a:gd name="connsiteY2" fmla="*/ 78789 h 1197349"/>
                  <a:gd name="connsiteX3" fmla="*/ 524412 w 684305"/>
                  <a:gd name="connsiteY3" fmla="*/ 504318 h 1197349"/>
                  <a:gd name="connsiteX4" fmla="*/ 541543 w 684305"/>
                  <a:gd name="connsiteY4" fmla="*/ 520502 h 1197349"/>
                  <a:gd name="connsiteX5" fmla="*/ 684305 w 684305"/>
                  <a:gd name="connsiteY5" fmla="*/ 805140 h 1197349"/>
                  <a:gd name="connsiteX6" fmla="*/ 684305 w 684305"/>
                  <a:gd name="connsiteY6" fmla="*/ 1125953 h 1197349"/>
                  <a:gd name="connsiteX7" fmla="*/ 612924 w 684305"/>
                  <a:gd name="connsiteY7" fmla="*/ 1197350 h 1197349"/>
                  <a:gd name="connsiteX8" fmla="*/ 71381 w 684305"/>
                  <a:gd name="connsiteY8" fmla="*/ 1197350 h 1197349"/>
                  <a:gd name="connsiteX9" fmla="*/ 0 w 684305"/>
                  <a:gd name="connsiteY9" fmla="*/ 1125953 h 1197349"/>
                  <a:gd name="connsiteX10" fmla="*/ 0 w 684305"/>
                  <a:gd name="connsiteY10" fmla="*/ 805140 h 1197349"/>
                  <a:gd name="connsiteX11" fmla="*/ 145617 w 684305"/>
                  <a:gd name="connsiteY11" fmla="*/ 518598 h 1197349"/>
                  <a:gd name="connsiteX12" fmla="*/ 161797 w 684305"/>
                  <a:gd name="connsiteY12" fmla="*/ 506222 h 1197349"/>
                  <a:gd name="connsiteX13" fmla="*/ 570096 w 684305"/>
                  <a:gd name="connsiteY13" fmla="*/ 1082162 h 1197349"/>
                  <a:gd name="connsiteX14" fmla="*/ 570096 w 684305"/>
                  <a:gd name="connsiteY14" fmla="*/ 802284 h 1197349"/>
                  <a:gd name="connsiteX15" fmla="*/ 341677 w 684305"/>
                  <a:gd name="connsiteY15" fmla="*/ 570004 h 1197349"/>
                  <a:gd name="connsiteX16" fmla="*/ 114210 w 684305"/>
                  <a:gd name="connsiteY16" fmla="*/ 803236 h 1197349"/>
                  <a:gd name="connsiteX17" fmla="*/ 114210 w 684305"/>
                  <a:gd name="connsiteY17" fmla="*/ 1055507 h 1197349"/>
                  <a:gd name="connsiteX18" fmla="*/ 117065 w 684305"/>
                  <a:gd name="connsiteY18" fmla="*/ 1082162 h 1197349"/>
                  <a:gd name="connsiteX19" fmla="*/ 570096 w 684305"/>
                  <a:gd name="connsiteY19" fmla="*/ 1082162 h 1197349"/>
                  <a:gd name="connsiteX20" fmla="*/ 512991 w 684305"/>
                  <a:gd name="connsiteY20" fmla="*/ 284414 h 1197349"/>
                  <a:gd name="connsiteX21" fmla="*/ 344532 w 684305"/>
                  <a:gd name="connsiteY21" fmla="*/ 113060 h 1197349"/>
                  <a:gd name="connsiteX22" fmla="*/ 171314 w 684305"/>
                  <a:gd name="connsiteY22" fmla="*/ 283462 h 1197349"/>
                  <a:gd name="connsiteX23" fmla="*/ 343580 w 684305"/>
                  <a:gd name="connsiteY23" fmla="*/ 454816 h 1197349"/>
                  <a:gd name="connsiteX24" fmla="*/ 512991 w 684305"/>
                  <a:gd name="connsiteY24" fmla="*/ 284414 h 119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305" h="1197349">
                    <a:moveTo>
                      <a:pt x="161797" y="506222"/>
                    </a:moveTo>
                    <a:cubicBezTo>
                      <a:pt x="3807" y="356764"/>
                      <a:pt x="48539" y="173986"/>
                      <a:pt x="140859" y="82597"/>
                    </a:cubicBezTo>
                    <a:cubicBezTo>
                      <a:pt x="251261" y="-25927"/>
                      <a:pt x="427334" y="-27831"/>
                      <a:pt x="539640" y="78789"/>
                    </a:cubicBezTo>
                    <a:cubicBezTo>
                      <a:pt x="636718" y="171130"/>
                      <a:pt x="680498" y="355811"/>
                      <a:pt x="524412" y="504318"/>
                    </a:cubicBezTo>
                    <a:cubicBezTo>
                      <a:pt x="530123" y="510030"/>
                      <a:pt x="535833" y="515742"/>
                      <a:pt x="541543" y="520502"/>
                    </a:cubicBezTo>
                    <a:cubicBezTo>
                      <a:pt x="635766" y="591899"/>
                      <a:pt x="684305" y="686144"/>
                      <a:pt x="684305" y="805140"/>
                    </a:cubicBezTo>
                    <a:cubicBezTo>
                      <a:pt x="684305" y="911760"/>
                      <a:pt x="684305" y="1019332"/>
                      <a:pt x="684305" y="1125953"/>
                    </a:cubicBezTo>
                    <a:cubicBezTo>
                      <a:pt x="684305" y="1177359"/>
                      <a:pt x="664319" y="1197350"/>
                      <a:pt x="612924" y="1197350"/>
                    </a:cubicBezTo>
                    <a:cubicBezTo>
                      <a:pt x="432093" y="1197350"/>
                      <a:pt x="252213" y="1197350"/>
                      <a:pt x="71381" y="1197350"/>
                    </a:cubicBezTo>
                    <a:cubicBezTo>
                      <a:pt x="19987" y="1197350"/>
                      <a:pt x="0" y="1177359"/>
                      <a:pt x="0" y="1125953"/>
                    </a:cubicBezTo>
                    <a:cubicBezTo>
                      <a:pt x="0" y="1019332"/>
                      <a:pt x="0" y="911760"/>
                      <a:pt x="0" y="805140"/>
                    </a:cubicBezTo>
                    <a:cubicBezTo>
                      <a:pt x="0" y="685192"/>
                      <a:pt x="49491" y="589995"/>
                      <a:pt x="145617" y="518598"/>
                    </a:cubicBezTo>
                    <a:cubicBezTo>
                      <a:pt x="150376" y="514790"/>
                      <a:pt x="155135" y="510982"/>
                      <a:pt x="161797" y="506222"/>
                    </a:cubicBezTo>
                    <a:close/>
                    <a:moveTo>
                      <a:pt x="570096" y="1082162"/>
                    </a:moveTo>
                    <a:cubicBezTo>
                      <a:pt x="570096" y="986965"/>
                      <a:pt x="571048" y="894625"/>
                      <a:pt x="570096" y="802284"/>
                    </a:cubicBezTo>
                    <a:cubicBezTo>
                      <a:pt x="569144" y="670912"/>
                      <a:pt x="469211" y="570004"/>
                      <a:pt x="341677" y="570004"/>
                    </a:cubicBezTo>
                    <a:cubicBezTo>
                      <a:pt x="214143" y="570004"/>
                      <a:pt x="115161" y="670912"/>
                      <a:pt x="114210" y="803236"/>
                    </a:cubicBezTo>
                    <a:cubicBezTo>
                      <a:pt x="113258" y="887009"/>
                      <a:pt x="114210" y="971734"/>
                      <a:pt x="114210" y="1055507"/>
                    </a:cubicBezTo>
                    <a:cubicBezTo>
                      <a:pt x="114210" y="1064075"/>
                      <a:pt x="116113" y="1073594"/>
                      <a:pt x="117065" y="1082162"/>
                    </a:cubicBezTo>
                    <a:cubicBezTo>
                      <a:pt x="268392" y="1082162"/>
                      <a:pt x="416865" y="1082162"/>
                      <a:pt x="570096" y="1082162"/>
                    </a:cubicBezTo>
                    <a:close/>
                    <a:moveTo>
                      <a:pt x="512991" y="284414"/>
                    </a:moveTo>
                    <a:cubicBezTo>
                      <a:pt x="512991" y="191121"/>
                      <a:pt x="436851" y="114012"/>
                      <a:pt x="344532" y="113060"/>
                    </a:cubicBezTo>
                    <a:cubicBezTo>
                      <a:pt x="250309" y="112108"/>
                      <a:pt x="171314" y="189217"/>
                      <a:pt x="171314" y="283462"/>
                    </a:cubicBezTo>
                    <a:cubicBezTo>
                      <a:pt x="171314" y="377707"/>
                      <a:pt x="249358" y="455768"/>
                      <a:pt x="343580" y="454816"/>
                    </a:cubicBezTo>
                    <a:cubicBezTo>
                      <a:pt x="436851" y="454816"/>
                      <a:pt x="512991" y="377707"/>
                      <a:pt x="512991" y="284414"/>
                    </a:cubicBezTo>
                    <a:close/>
                  </a:path>
                </a:pathLst>
              </a:custGeom>
              <a:grpFill/>
              <a:ln w="9514"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CFB8DB4F-AF3C-5AB6-1AF7-833EC2D13AFD}"/>
                  </a:ext>
                </a:extLst>
              </p:cNvPr>
              <p:cNvSpPr/>
              <p:nvPr/>
            </p:nvSpPr>
            <p:spPr>
              <a:xfrm>
                <a:off x="5405925" y="3836643"/>
                <a:ext cx="684679" cy="1197794"/>
              </a:xfrm>
              <a:custGeom>
                <a:avLst/>
                <a:gdLst>
                  <a:gd name="connsiteX0" fmla="*/ 522883 w 684679"/>
                  <a:gd name="connsiteY0" fmla="*/ 507196 h 1197794"/>
                  <a:gd name="connsiteX1" fmla="*/ 672306 w 684679"/>
                  <a:gd name="connsiteY1" fmla="*/ 710917 h 1197794"/>
                  <a:gd name="connsiteX2" fmla="*/ 683728 w 684679"/>
                  <a:gd name="connsiteY2" fmla="*/ 784218 h 1197794"/>
                  <a:gd name="connsiteX3" fmla="*/ 684679 w 684679"/>
                  <a:gd name="connsiteY3" fmla="*/ 1133590 h 1197794"/>
                  <a:gd name="connsiteX4" fmla="*/ 620912 w 684679"/>
                  <a:gd name="connsiteY4" fmla="*/ 1197371 h 1197794"/>
                  <a:gd name="connsiteX5" fmla="*/ 65093 w 684679"/>
                  <a:gd name="connsiteY5" fmla="*/ 1197371 h 1197794"/>
                  <a:gd name="connsiteX6" fmla="*/ 1326 w 684679"/>
                  <a:gd name="connsiteY6" fmla="*/ 1133590 h 1197794"/>
                  <a:gd name="connsiteX7" fmla="*/ 2277 w 684679"/>
                  <a:gd name="connsiteY7" fmla="*/ 781362 h 1197794"/>
                  <a:gd name="connsiteX8" fmla="*/ 134570 w 684679"/>
                  <a:gd name="connsiteY8" fmla="*/ 528139 h 1197794"/>
                  <a:gd name="connsiteX9" fmla="*/ 163122 w 684679"/>
                  <a:gd name="connsiteY9" fmla="*/ 507196 h 1197794"/>
                  <a:gd name="connsiteX10" fmla="*/ 60334 w 684679"/>
                  <a:gd name="connsiteY10" fmla="*/ 250165 h 1197794"/>
                  <a:gd name="connsiteX11" fmla="*/ 163122 w 684679"/>
                  <a:gd name="connsiteY11" fmla="*/ 64531 h 1197794"/>
                  <a:gd name="connsiteX12" fmla="*/ 550483 w 684679"/>
                  <a:gd name="connsiteY12" fmla="*/ 90234 h 1197794"/>
                  <a:gd name="connsiteX13" fmla="*/ 522883 w 684679"/>
                  <a:gd name="connsiteY13" fmla="*/ 507196 h 1197794"/>
                  <a:gd name="connsiteX14" fmla="*/ 115535 w 684679"/>
                  <a:gd name="connsiteY14" fmla="*/ 1081231 h 1197794"/>
                  <a:gd name="connsiteX15" fmla="*/ 570470 w 684679"/>
                  <a:gd name="connsiteY15" fmla="*/ 1081231 h 1197794"/>
                  <a:gd name="connsiteX16" fmla="*/ 569518 w 684679"/>
                  <a:gd name="connsiteY16" fmla="*/ 780410 h 1197794"/>
                  <a:gd name="connsiteX17" fmla="*/ 341099 w 684679"/>
                  <a:gd name="connsiteY17" fmla="*/ 570977 h 1197794"/>
                  <a:gd name="connsiteX18" fmla="*/ 116487 w 684679"/>
                  <a:gd name="connsiteY18" fmla="*/ 780410 h 1197794"/>
                  <a:gd name="connsiteX19" fmla="*/ 115535 w 684679"/>
                  <a:gd name="connsiteY19" fmla="*/ 1081231 h 1197794"/>
                  <a:gd name="connsiteX20" fmla="*/ 514317 w 684679"/>
                  <a:gd name="connsiteY20" fmla="*/ 285387 h 1197794"/>
                  <a:gd name="connsiteX21" fmla="*/ 345858 w 684679"/>
                  <a:gd name="connsiteY21" fmla="*/ 114033 h 1197794"/>
                  <a:gd name="connsiteX22" fmla="*/ 172640 w 684679"/>
                  <a:gd name="connsiteY22" fmla="*/ 284436 h 1197794"/>
                  <a:gd name="connsiteX23" fmla="*/ 344906 w 684679"/>
                  <a:gd name="connsiteY23" fmla="*/ 455790 h 1197794"/>
                  <a:gd name="connsiteX24" fmla="*/ 514317 w 684679"/>
                  <a:gd name="connsiteY24" fmla="*/ 285387 h 119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4679" h="1197794">
                    <a:moveTo>
                      <a:pt x="522883" y="507196"/>
                    </a:moveTo>
                    <a:cubicBezTo>
                      <a:pt x="598070" y="558602"/>
                      <a:pt x="650416" y="624288"/>
                      <a:pt x="672306" y="710917"/>
                    </a:cubicBezTo>
                    <a:cubicBezTo>
                      <a:pt x="678017" y="734716"/>
                      <a:pt x="683728" y="759467"/>
                      <a:pt x="683728" y="784218"/>
                    </a:cubicBezTo>
                    <a:cubicBezTo>
                      <a:pt x="684679" y="900358"/>
                      <a:pt x="684679" y="1016498"/>
                      <a:pt x="684679" y="1133590"/>
                    </a:cubicBezTo>
                    <a:cubicBezTo>
                      <a:pt x="684679" y="1175476"/>
                      <a:pt x="662789" y="1197371"/>
                      <a:pt x="620912" y="1197371"/>
                    </a:cubicBezTo>
                    <a:cubicBezTo>
                      <a:pt x="435322" y="1198323"/>
                      <a:pt x="250683" y="1197371"/>
                      <a:pt x="65093" y="1197371"/>
                    </a:cubicBezTo>
                    <a:cubicBezTo>
                      <a:pt x="23216" y="1197371"/>
                      <a:pt x="1326" y="1175476"/>
                      <a:pt x="1326" y="1133590"/>
                    </a:cubicBezTo>
                    <a:cubicBezTo>
                      <a:pt x="374" y="1016498"/>
                      <a:pt x="-1530" y="898454"/>
                      <a:pt x="2277" y="781362"/>
                    </a:cubicBezTo>
                    <a:cubicBezTo>
                      <a:pt x="5133" y="676646"/>
                      <a:pt x="53672" y="592873"/>
                      <a:pt x="134570" y="528139"/>
                    </a:cubicBezTo>
                    <a:cubicBezTo>
                      <a:pt x="143136" y="521475"/>
                      <a:pt x="151702" y="515763"/>
                      <a:pt x="163122" y="507196"/>
                    </a:cubicBezTo>
                    <a:cubicBezTo>
                      <a:pt x="86983" y="437702"/>
                      <a:pt x="47961" y="352977"/>
                      <a:pt x="60334" y="250165"/>
                    </a:cubicBezTo>
                    <a:cubicBezTo>
                      <a:pt x="69851" y="174960"/>
                      <a:pt x="104114" y="113082"/>
                      <a:pt x="163122" y="64531"/>
                    </a:cubicBezTo>
                    <a:cubicBezTo>
                      <a:pt x="280187" y="-30665"/>
                      <a:pt x="447695" y="-19242"/>
                      <a:pt x="550483" y="90234"/>
                    </a:cubicBezTo>
                    <a:cubicBezTo>
                      <a:pt x="639947" y="184479"/>
                      <a:pt x="676114" y="362497"/>
                      <a:pt x="522883" y="507196"/>
                    </a:cubicBezTo>
                    <a:close/>
                    <a:moveTo>
                      <a:pt x="115535" y="1081231"/>
                    </a:moveTo>
                    <a:cubicBezTo>
                      <a:pt x="269718" y="1081231"/>
                      <a:pt x="419142" y="1081231"/>
                      <a:pt x="570470" y="1081231"/>
                    </a:cubicBezTo>
                    <a:cubicBezTo>
                      <a:pt x="570470" y="979371"/>
                      <a:pt x="574277" y="879415"/>
                      <a:pt x="569518" y="780410"/>
                    </a:cubicBezTo>
                    <a:cubicBezTo>
                      <a:pt x="563807" y="662366"/>
                      <a:pt x="460067" y="570026"/>
                      <a:pt x="341099" y="570977"/>
                    </a:cubicBezTo>
                    <a:cubicBezTo>
                      <a:pt x="224034" y="571929"/>
                      <a:pt x="121246" y="664270"/>
                      <a:pt x="116487" y="780410"/>
                    </a:cubicBezTo>
                    <a:cubicBezTo>
                      <a:pt x="112680" y="879415"/>
                      <a:pt x="115535" y="979371"/>
                      <a:pt x="115535" y="1081231"/>
                    </a:cubicBezTo>
                    <a:close/>
                    <a:moveTo>
                      <a:pt x="514317" y="285387"/>
                    </a:moveTo>
                    <a:cubicBezTo>
                      <a:pt x="514317" y="192095"/>
                      <a:pt x="438177" y="114985"/>
                      <a:pt x="345858" y="114033"/>
                    </a:cubicBezTo>
                    <a:cubicBezTo>
                      <a:pt x="251635" y="113082"/>
                      <a:pt x="172640" y="190191"/>
                      <a:pt x="172640" y="284436"/>
                    </a:cubicBezTo>
                    <a:cubicBezTo>
                      <a:pt x="172640" y="378680"/>
                      <a:pt x="250683" y="456741"/>
                      <a:pt x="344906" y="455790"/>
                    </a:cubicBezTo>
                    <a:cubicBezTo>
                      <a:pt x="437225" y="455790"/>
                      <a:pt x="514317" y="378680"/>
                      <a:pt x="514317" y="285387"/>
                    </a:cubicBezTo>
                    <a:close/>
                  </a:path>
                </a:pathLst>
              </a:custGeom>
              <a:grpFill/>
              <a:ln w="951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58A87AB9-D6CA-1EC5-CEDE-4E39993895FE}"/>
                  </a:ext>
                </a:extLst>
              </p:cNvPr>
              <p:cNvSpPr/>
              <p:nvPr/>
            </p:nvSpPr>
            <p:spPr>
              <a:xfrm>
                <a:off x="4868563" y="1843700"/>
                <a:ext cx="1077376" cy="279799"/>
              </a:xfrm>
              <a:custGeom>
                <a:avLst/>
                <a:gdLst>
                  <a:gd name="connsiteX0" fmla="*/ 0 w 1077376"/>
                  <a:gd name="connsiteY0" fmla="*/ 174485 h 279799"/>
                  <a:gd name="connsiteX1" fmla="*/ 347387 w 1077376"/>
                  <a:gd name="connsiteY1" fmla="*/ 3131 h 279799"/>
                  <a:gd name="connsiteX2" fmla="*/ 407347 w 1077376"/>
                  <a:gd name="connsiteY2" fmla="*/ 11699 h 279799"/>
                  <a:gd name="connsiteX3" fmla="*/ 684305 w 1077376"/>
                  <a:gd name="connsiteY3" fmla="*/ 149734 h 279799"/>
                  <a:gd name="connsiteX4" fmla="*/ 736651 w 1077376"/>
                  <a:gd name="connsiteY4" fmla="*/ 148782 h 279799"/>
                  <a:gd name="connsiteX5" fmla="*/ 1025982 w 1077376"/>
                  <a:gd name="connsiteY5" fmla="*/ 4083 h 279799"/>
                  <a:gd name="connsiteX6" fmla="*/ 1077376 w 1077376"/>
                  <a:gd name="connsiteY6" fmla="*/ 105943 h 279799"/>
                  <a:gd name="connsiteX7" fmla="*/ 945084 w 1077376"/>
                  <a:gd name="connsiteY7" fmla="*/ 171629 h 279799"/>
                  <a:gd name="connsiteX8" fmla="*/ 751879 w 1077376"/>
                  <a:gd name="connsiteY8" fmla="*/ 268730 h 279799"/>
                  <a:gd name="connsiteX9" fmla="*/ 668125 w 1077376"/>
                  <a:gd name="connsiteY9" fmla="*/ 268730 h 279799"/>
                  <a:gd name="connsiteX10" fmla="*/ 394975 w 1077376"/>
                  <a:gd name="connsiteY10" fmla="*/ 130695 h 279799"/>
                  <a:gd name="connsiteX11" fmla="*/ 342629 w 1077376"/>
                  <a:gd name="connsiteY11" fmla="*/ 130695 h 279799"/>
                  <a:gd name="connsiteX12" fmla="*/ 52346 w 1077376"/>
                  <a:gd name="connsiteY12" fmla="*/ 276345 h 279799"/>
                  <a:gd name="connsiteX13" fmla="*/ 0 w 1077376"/>
                  <a:gd name="connsiteY13" fmla="*/ 174485 h 27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7376" h="279799">
                    <a:moveTo>
                      <a:pt x="0" y="174485"/>
                    </a:moveTo>
                    <a:cubicBezTo>
                      <a:pt x="118016" y="115463"/>
                      <a:pt x="232226" y="57393"/>
                      <a:pt x="347387" y="3131"/>
                    </a:cubicBezTo>
                    <a:cubicBezTo>
                      <a:pt x="362615" y="-4485"/>
                      <a:pt x="389264" y="3131"/>
                      <a:pt x="407347" y="11699"/>
                    </a:cubicBezTo>
                    <a:cubicBezTo>
                      <a:pt x="500618" y="56441"/>
                      <a:pt x="592938" y="102136"/>
                      <a:pt x="684305" y="149734"/>
                    </a:cubicBezTo>
                    <a:cubicBezTo>
                      <a:pt x="703340" y="159254"/>
                      <a:pt x="717616" y="159254"/>
                      <a:pt x="736651" y="148782"/>
                    </a:cubicBezTo>
                    <a:cubicBezTo>
                      <a:pt x="831826" y="100232"/>
                      <a:pt x="927000" y="53585"/>
                      <a:pt x="1025982" y="4083"/>
                    </a:cubicBezTo>
                    <a:cubicBezTo>
                      <a:pt x="1043113" y="37402"/>
                      <a:pt x="1059293" y="69769"/>
                      <a:pt x="1077376" y="105943"/>
                    </a:cubicBezTo>
                    <a:cubicBezTo>
                      <a:pt x="1031692" y="128791"/>
                      <a:pt x="988864" y="150686"/>
                      <a:pt x="945084" y="171629"/>
                    </a:cubicBezTo>
                    <a:cubicBezTo>
                      <a:pt x="880365" y="203996"/>
                      <a:pt x="815646" y="235411"/>
                      <a:pt x="751879" y="268730"/>
                    </a:cubicBezTo>
                    <a:cubicBezTo>
                      <a:pt x="722375" y="283961"/>
                      <a:pt x="696678" y="283009"/>
                      <a:pt x="668125" y="268730"/>
                    </a:cubicBezTo>
                    <a:cubicBezTo>
                      <a:pt x="577710" y="222083"/>
                      <a:pt x="485390" y="178293"/>
                      <a:pt x="394975" y="130695"/>
                    </a:cubicBezTo>
                    <a:cubicBezTo>
                      <a:pt x="375940" y="121175"/>
                      <a:pt x="361663" y="120223"/>
                      <a:pt x="342629" y="130695"/>
                    </a:cubicBezTo>
                    <a:cubicBezTo>
                      <a:pt x="246502" y="180197"/>
                      <a:pt x="150376" y="226843"/>
                      <a:pt x="52346" y="276345"/>
                    </a:cubicBezTo>
                    <a:cubicBezTo>
                      <a:pt x="34263" y="242075"/>
                      <a:pt x="18083" y="210660"/>
                      <a:pt x="0" y="174485"/>
                    </a:cubicBezTo>
                    <a:close/>
                  </a:path>
                </a:pathLst>
              </a:custGeom>
              <a:grpFill/>
              <a:ln w="951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31CE706A-A3D5-B576-7F91-C080DE6A2604}"/>
                  </a:ext>
                </a:extLst>
              </p:cNvPr>
              <p:cNvSpPr/>
              <p:nvPr/>
            </p:nvSpPr>
            <p:spPr>
              <a:xfrm>
                <a:off x="5295897" y="2470369"/>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15C4431D-8F52-C421-1886-705DF82CFC99}"/>
                  </a:ext>
                </a:extLst>
              </p:cNvPr>
              <p:cNvSpPr/>
              <p:nvPr/>
            </p:nvSpPr>
            <p:spPr>
              <a:xfrm>
                <a:off x="5295897" y="2697889"/>
                <a:ext cx="678594" cy="111380"/>
              </a:xfrm>
              <a:custGeom>
                <a:avLst/>
                <a:gdLst>
                  <a:gd name="connsiteX0" fmla="*/ 678595 w 678594"/>
                  <a:gd name="connsiteY0" fmla="*/ 111380 h 111380"/>
                  <a:gd name="connsiteX1" fmla="*/ 0 w 678594"/>
                  <a:gd name="connsiteY1" fmla="*/ 111380 h 111380"/>
                  <a:gd name="connsiteX2" fmla="*/ 0 w 678594"/>
                  <a:gd name="connsiteY2" fmla="*/ 0 h 111380"/>
                  <a:gd name="connsiteX3" fmla="*/ 678595 w 678594"/>
                  <a:gd name="connsiteY3" fmla="*/ 0 h 111380"/>
                  <a:gd name="connsiteX4" fmla="*/ 678595 w 678594"/>
                  <a:gd name="connsiteY4" fmla="*/ 111380 h 111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8594" h="111380">
                    <a:moveTo>
                      <a:pt x="678595" y="111380"/>
                    </a:moveTo>
                    <a:cubicBezTo>
                      <a:pt x="452079" y="111380"/>
                      <a:pt x="227467" y="111380"/>
                      <a:pt x="0" y="111380"/>
                    </a:cubicBezTo>
                    <a:cubicBezTo>
                      <a:pt x="0" y="74253"/>
                      <a:pt x="0" y="38079"/>
                      <a:pt x="0" y="0"/>
                    </a:cubicBezTo>
                    <a:cubicBezTo>
                      <a:pt x="225564" y="0"/>
                      <a:pt x="451127" y="0"/>
                      <a:pt x="678595" y="0"/>
                    </a:cubicBezTo>
                    <a:cubicBezTo>
                      <a:pt x="678595" y="35223"/>
                      <a:pt x="678595" y="71397"/>
                      <a:pt x="678595" y="111380"/>
                    </a:cubicBezTo>
                    <a:close/>
                  </a:path>
                </a:pathLst>
              </a:custGeom>
              <a:grpFill/>
              <a:ln w="9514"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4611157E-4979-D111-7773-06F975048CB5}"/>
                  </a:ext>
                </a:extLst>
              </p:cNvPr>
              <p:cNvSpPr/>
              <p:nvPr/>
            </p:nvSpPr>
            <p:spPr>
              <a:xfrm>
                <a:off x="5294945" y="2926361"/>
                <a:ext cx="679546" cy="109476"/>
              </a:xfrm>
              <a:custGeom>
                <a:avLst/>
                <a:gdLst>
                  <a:gd name="connsiteX0" fmla="*/ 0 w 679546"/>
                  <a:gd name="connsiteY0" fmla="*/ 109476 h 109476"/>
                  <a:gd name="connsiteX1" fmla="*/ 0 w 679546"/>
                  <a:gd name="connsiteY1" fmla="*/ 0 h 109476"/>
                  <a:gd name="connsiteX2" fmla="*/ 679547 w 679546"/>
                  <a:gd name="connsiteY2" fmla="*/ 0 h 109476"/>
                  <a:gd name="connsiteX3" fmla="*/ 679547 w 679546"/>
                  <a:gd name="connsiteY3" fmla="*/ 109476 h 109476"/>
                  <a:gd name="connsiteX4" fmla="*/ 0 w 679546"/>
                  <a:gd name="connsiteY4" fmla="*/ 109476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0" y="109476"/>
                    </a:moveTo>
                    <a:cubicBezTo>
                      <a:pt x="0" y="72350"/>
                      <a:pt x="0" y="37127"/>
                      <a:pt x="0" y="0"/>
                    </a:cubicBezTo>
                    <a:cubicBezTo>
                      <a:pt x="226515" y="0"/>
                      <a:pt x="451127" y="0"/>
                      <a:pt x="679547" y="0"/>
                    </a:cubicBezTo>
                    <a:cubicBezTo>
                      <a:pt x="679547" y="35223"/>
                      <a:pt x="679547" y="71397"/>
                      <a:pt x="679547" y="109476"/>
                    </a:cubicBezTo>
                    <a:cubicBezTo>
                      <a:pt x="453983" y="109476"/>
                      <a:pt x="228419" y="109476"/>
                      <a:pt x="0" y="109476"/>
                    </a:cubicBezTo>
                    <a:close/>
                  </a:path>
                </a:pathLst>
              </a:custGeom>
              <a:grpFill/>
              <a:ln w="9514"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3421C6E3-6E7F-2D9F-6801-8A554FC72414}"/>
                  </a:ext>
                </a:extLst>
              </p:cNvPr>
              <p:cNvSpPr/>
              <p:nvPr/>
            </p:nvSpPr>
            <p:spPr>
              <a:xfrm>
                <a:off x="5295897" y="3154833"/>
                <a:ext cx="679546" cy="109476"/>
              </a:xfrm>
              <a:custGeom>
                <a:avLst/>
                <a:gdLst>
                  <a:gd name="connsiteX0" fmla="*/ 679547 w 679546"/>
                  <a:gd name="connsiteY0" fmla="*/ 0 h 109476"/>
                  <a:gd name="connsiteX1" fmla="*/ 679547 w 679546"/>
                  <a:gd name="connsiteY1" fmla="*/ 109476 h 109476"/>
                  <a:gd name="connsiteX2" fmla="*/ 0 w 679546"/>
                  <a:gd name="connsiteY2" fmla="*/ 109476 h 109476"/>
                  <a:gd name="connsiteX3" fmla="*/ 0 w 679546"/>
                  <a:gd name="connsiteY3" fmla="*/ 0 h 109476"/>
                  <a:gd name="connsiteX4" fmla="*/ 679547 w 679546"/>
                  <a:gd name="connsiteY4" fmla="*/ 0 h 1094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9546" h="109476">
                    <a:moveTo>
                      <a:pt x="679547" y="0"/>
                    </a:moveTo>
                    <a:cubicBezTo>
                      <a:pt x="679547" y="38079"/>
                      <a:pt x="679547" y="72349"/>
                      <a:pt x="679547" y="109476"/>
                    </a:cubicBezTo>
                    <a:cubicBezTo>
                      <a:pt x="453031" y="109476"/>
                      <a:pt x="227467" y="109476"/>
                      <a:pt x="0" y="109476"/>
                    </a:cubicBezTo>
                    <a:cubicBezTo>
                      <a:pt x="0" y="74253"/>
                      <a:pt x="0" y="38079"/>
                      <a:pt x="0" y="0"/>
                    </a:cubicBezTo>
                    <a:cubicBezTo>
                      <a:pt x="224612" y="0"/>
                      <a:pt x="451127" y="0"/>
                      <a:pt x="679547" y="0"/>
                    </a:cubicBezTo>
                    <a:close/>
                  </a:path>
                </a:pathLst>
              </a:custGeom>
              <a:grpFill/>
              <a:ln w="9514" cap="flat">
                <a:noFill/>
                <a:prstDash val="solid"/>
                <a:miter/>
              </a:ln>
            </p:spPr>
            <p:txBody>
              <a:bodyPr rtlCol="0" anchor="ctr"/>
              <a:lstStyle/>
              <a:p>
                <a:endParaRPr lang="en-US"/>
              </a:p>
            </p:txBody>
          </p:sp>
        </p:grpSp>
      </p:grpSp>
      <p:pic>
        <p:nvPicPr>
          <p:cNvPr id="21" name="Picture 20">
            <a:extLst>
              <a:ext uri="{FF2B5EF4-FFF2-40B4-BE49-F238E27FC236}">
                <a16:creationId xmlns:a16="http://schemas.microsoft.com/office/drawing/2014/main" id="{019EC385-BD9C-EE0C-DFA3-79CB9A9912A1}"/>
              </a:ext>
            </a:extLst>
          </p:cNvPr>
          <p:cNvPicPr>
            <a:picLocks noChangeAspect="1"/>
          </p:cNvPicPr>
          <p:nvPr/>
        </p:nvPicPr>
        <p:blipFill>
          <a:blip r:embed="rId4"/>
          <a:stretch>
            <a:fillRect/>
          </a:stretch>
        </p:blipFill>
        <p:spPr>
          <a:xfrm>
            <a:off x="9171836" y="1687072"/>
            <a:ext cx="2745916" cy="4174603"/>
          </a:xfrm>
          <a:prstGeom prst="rect">
            <a:avLst/>
          </a:prstGeom>
        </p:spPr>
      </p:pic>
    </p:spTree>
    <p:extLst>
      <p:ext uri="{BB962C8B-B14F-4D97-AF65-F5344CB8AC3E}">
        <p14:creationId xmlns:p14="http://schemas.microsoft.com/office/powerpoint/2010/main" val="3516957244"/>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4678EC-8A3F-3741-8E47-AE94DA479C25}"/>
              </a:ext>
            </a:extLst>
          </p:cNvPr>
          <p:cNvSpPr>
            <a:spLocks noGrp="1"/>
          </p:cNvSpPr>
          <p:nvPr>
            <p:ph type="body" sz="quarter" idx="16"/>
          </p:nvPr>
        </p:nvSpPr>
        <p:spPr>
          <a:xfrm>
            <a:off x="2114670" y="1087961"/>
            <a:ext cx="4474068" cy="3423588"/>
          </a:xfrm>
        </p:spPr>
        <p:txBody>
          <a:bodyPr>
            <a:normAutofit/>
          </a:bodyPr>
          <a:lstStyle/>
          <a:p>
            <a:r>
              <a:rPr lang="en-US" sz="4000"/>
              <a:t>LA LÍNEA DE TIEMPO DE UNA CRISIS EMPRESARIAL</a:t>
            </a:r>
          </a:p>
        </p:txBody>
      </p:sp>
      <p:sp>
        <p:nvSpPr>
          <p:cNvPr id="3" name="Text Placeholder 2">
            <a:extLst>
              <a:ext uri="{FF2B5EF4-FFF2-40B4-BE49-F238E27FC236}">
                <a16:creationId xmlns:a16="http://schemas.microsoft.com/office/drawing/2014/main" id="{C64FC772-7FB9-DFE3-9540-0AEF9721728B}"/>
              </a:ext>
            </a:extLst>
          </p:cNvPr>
          <p:cNvSpPr>
            <a:spLocks noGrp="1"/>
          </p:cNvSpPr>
          <p:nvPr>
            <p:ph type="body" sz="quarter" idx="17"/>
          </p:nvPr>
        </p:nvSpPr>
        <p:spPr/>
        <p:txBody>
          <a:bodyPr/>
          <a:lstStyle/>
          <a:p>
            <a:r>
              <a:rPr lang="en-US"/>
              <a:t>03</a:t>
            </a:r>
          </a:p>
        </p:txBody>
      </p:sp>
    </p:spTree>
    <p:extLst>
      <p:ext uri="{BB962C8B-B14F-4D97-AF65-F5344CB8AC3E}">
        <p14:creationId xmlns:p14="http://schemas.microsoft.com/office/powerpoint/2010/main" val="1834181408"/>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2E46B46-CF68-61F4-1C8A-00F03B9451AE}"/>
              </a:ext>
            </a:extLst>
          </p:cNvPr>
          <p:cNvSpPr/>
          <p:nvPr/>
        </p:nvSpPr>
        <p:spPr>
          <a:xfrm>
            <a:off x="0" y="0"/>
            <a:ext cx="3574870"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1C458E62-4EE5-2ECA-EB50-22B64C3C9E80}"/>
              </a:ext>
            </a:extLst>
          </p:cNvPr>
          <p:cNvSpPr>
            <a:spLocks noGrp="1"/>
          </p:cNvSpPr>
          <p:nvPr>
            <p:ph type="body" sz="quarter" idx="18"/>
          </p:nvPr>
        </p:nvSpPr>
        <p:spPr>
          <a:xfrm>
            <a:off x="350261" y="2233730"/>
            <a:ext cx="3033159" cy="4172556"/>
          </a:xfrm>
        </p:spPr>
        <p:txBody>
          <a:bodyPr>
            <a:normAutofit fontScale="92500" lnSpcReduction="10000"/>
          </a:bodyPr>
          <a:lstStyle/>
          <a:p>
            <a:r>
              <a:rPr lang="en-US" b="1">
                <a:solidFill>
                  <a:schemeClr val="bg1"/>
                </a:solidFill>
              </a:rPr>
              <a:t>Problemas de fondo:</a:t>
            </a:r>
          </a:p>
          <a:p>
            <a:pPr marL="342900" indent="-342900">
              <a:buClr>
                <a:srgbClr val="EDA13E"/>
              </a:buClr>
              <a:buFont typeface="Arial" panose="020B0604020202020204" pitchFamily="34" charset="0"/>
              <a:buChar char="•"/>
            </a:pPr>
            <a:r>
              <a:rPr lang="en-US">
                <a:solidFill>
                  <a:schemeClr val="bg1"/>
                </a:solidFill>
              </a:rPr>
              <a:t>Los empresarios reaccionan con un gran retraso</a:t>
            </a:r>
          </a:p>
          <a:p>
            <a:pPr marL="342900" indent="-342900">
              <a:buClr>
                <a:srgbClr val="EDA13E"/>
              </a:buClr>
              <a:buFont typeface="Arial" panose="020B0604020202020204" pitchFamily="34" charset="0"/>
              <a:buChar char="•"/>
            </a:pPr>
            <a:r>
              <a:rPr lang="en-US">
                <a:solidFill>
                  <a:schemeClr val="bg1"/>
                </a:solidFill>
              </a:rPr>
              <a:t>Si los líderes indican una crisis, las causas de la misma a menudo ya han surtido efecto (y no pueden remediarse a corto plazo)</a:t>
            </a:r>
          </a:p>
          <a:p>
            <a:pPr marL="342900" indent="-342900">
              <a:buClr>
                <a:srgbClr val="EDA13E"/>
              </a:buClr>
              <a:buFont typeface="Arial" panose="020B0604020202020204" pitchFamily="34" charset="0"/>
              <a:buChar char="•"/>
            </a:pPr>
            <a:r>
              <a:rPr lang="en-US">
                <a:solidFill>
                  <a:schemeClr val="bg1"/>
                </a:solidFill>
              </a:rPr>
              <a:t>Se requiere un análisis de riesgo permanente</a:t>
            </a:r>
          </a:p>
          <a:p>
            <a:endParaRPr lang="en-US">
              <a:solidFill>
                <a:schemeClr val="bg1"/>
              </a:solidFill>
            </a:endParaRPr>
          </a:p>
          <a:p>
            <a:endParaRPr lang="en-US">
              <a:solidFill>
                <a:schemeClr val="bg1"/>
              </a:solidFill>
            </a:endParaRPr>
          </a:p>
        </p:txBody>
      </p:sp>
      <p:sp>
        <p:nvSpPr>
          <p:cNvPr id="33" name="Textplatzhalter 32">
            <a:extLst>
              <a:ext uri="{FF2B5EF4-FFF2-40B4-BE49-F238E27FC236}">
                <a16:creationId xmlns:a16="http://schemas.microsoft.com/office/drawing/2014/main" id="{FCDA0349-4ACF-42A2-9A08-4FD30F57369C}"/>
              </a:ext>
            </a:extLst>
          </p:cNvPr>
          <p:cNvSpPr>
            <a:spLocks noGrp="1"/>
          </p:cNvSpPr>
          <p:nvPr>
            <p:ph type="body" sz="quarter" idx="16"/>
          </p:nvPr>
        </p:nvSpPr>
        <p:spPr>
          <a:xfrm>
            <a:off x="392411" y="420981"/>
            <a:ext cx="3025497" cy="2079165"/>
          </a:xfrm>
        </p:spPr>
        <p:txBody>
          <a:bodyPr>
            <a:normAutofit/>
          </a:bodyPr>
          <a:lstStyle/>
          <a:p>
            <a:pPr>
              <a:lnSpc>
                <a:spcPts val="3620"/>
              </a:lnSpc>
            </a:pPr>
            <a:r>
              <a:rPr lang="en-GB">
                <a:solidFill>
                  <a:schemeClr val="bg1"/>
                </a:solidFill>
              </a:rPr>
              <a:t>Las crisis rara vez (nunca) llegan de la noche a la mañana</a:t>
            </a:r>
          </a:p>
          <a:p>
            <a:pPr>
              <a:lnSpc>
                <a:spcPts val="3620"/>
              </a:lnSpc>
            </a:pPr>
            <a:endParaRPr lang="en-GB"/>
          </a:p>
        </p:txBody>
      </p:sp>
      <p:graphicFrame>
        <p:nvGraphicFramePr>
          <p:cNvPr id="4" name="Diagramm 3">
            <a:extLst>
              <a:ext uri="{FF2B5EF4-FFF2-40B4-BE49-F238E27FC236}">
                <a16:creationId xmlns:a16="http://schemas.microsoft.com/office/drawing/2014/main" id="{472ACC91-BE8E-44C4-B923-7D5F1489EFD6}"/>
              </a:ext>
            </a:extLst>
          </p:cNvPr>
          <p:cNvGraphicFramePr/>
          <p:nvPr>
            <p:extLst>
              <p:ext uri="{D42A27DB-BD31-4B8C-83A1-F6EECF244321}">
                <p14:modId xmlns:p14="http://schemas.microsoft.com/office/powerpoint/2010/main" val="1998999347"/>
              </p:ext>
            </p:extLst>
          </p:nvPr>
        </p:nvGraphicFramePr>
        <p:xfrm>
          <a:off x="3850916" y="2002971"/>
          <a:ext cx="8149584" cy="4135362"/>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hteck 24">
            <a:extLst>
              <a:ext uri="{FF2B5EF4-FFF2-40B4-BE49-F238E27FC236}">
                <a16:creationId xmlns:a16="http://schemas.microsoft.com/office/drawing/2014/main" id="{40BC27F4-D010-4482-BAAD-34D3A8756294}"/>
              </a:ext>
            </a:extLst>
          </p:cNvPr>
          <p:cNvSpPr/>
          <p:nvPr/>
        </p:nvSpPr>
        <p:spPr>
          <a:xfrm>
            <a:off x="7727456" y="6415424"/>
            <a:ext cx="5614852" cy="260502"/>
          </a:xfrm>
          <a:prstGeom prst="rect">
            <a:avLst/>
          </a:prstGeom>
        </p:spPr>
        <p:txBody>
          <a:bodyPr vert="horz" wrap="square" lIns="81580" tIns="40790" rIns="81580" bIns="40790" rtlCol="0">
            <a:spAutoFit/>
          </a:bodyPr>
          <a:lstStyle/>
          <a:p>
            <a:pPr marL="0" marR="0" lvl="0" indent="0" algn="l" defTabSz="1087636" rtl="0" eaLnBrk="1" fontAlgn="auto" latinLnBrk="0" hangingPunct="1">
              <a:lnSpc>
                <a:spcPts val="1500"/>
              </a:lnSpc>
              <a:spcBef>
                <a:spcPct val="20000"/>
              </a:spcBef>
              <a:spcAft>
                <a:spcPct val="0"/>
              </a:spcAft>
              <a:buClrTx/>
              <a:buSzTx/>
              <a:buFontTx/>
              <a:buNone/>
              <a:defRPr/>
            </a:pPr>
            <a:r>
              <a:rPr kumimoji="0" lang="en-GB" sz="1000" b="1" i="0" u="none" strike="noStrike" kern="1200" cap="none" spc="0" normalizeH="0" baseline="0" noProof="0">
                <a:ln>
                  <a:noFill/>
                </a:ln>
                <a:solidFill>
                  <a:srgbClr val="B41F7A"/>
                </a:solidFill>
                <a:effectLst/>
                <a:uLnTx/>
                <a:uFillTx/>
                <a:latin typeface="Calibri Light" panose="020F0302020204030204"/>
                <a:ea typeface="+mn-ea"/>
                <a:cs typeface="+mn-cs"/>
              </a:rPr>
              <a:t>Fuente: Roland Berger - basado en un análisis de 800 casos de reestructuración</a:t>
            </a:r>
          </a:p>
        </p:txBody>
      </p:sp>
      <p:sp>
        <p:nvSpPr>
          <p:cNvPr id="6" name="object 29">
            <a:extLst>
              <a:ext uri="{FF2B5EF4-FFF2-40B4-BE49-F238E27FC236}">
                <a16:creationId xmlns:a16="http://schemas.microsoft.com/office/drawing/2014/main" id="{6DDD553E-2F34-499B-B76A-A3754ECCE186}"/>
              </a:ext>
            </a:extLst>
          </p:cNvPr>
          <p:cNvSpPr/>
          <p:nvPr/>
        </p:nvSpPr>
        <p:spPr>
          <a:xfrm>
            <a:off x="4318462" y="2762054"/>
            <a:ext cx="7258214" cy="2662675"/>
          </a:xfrm>
          <a:custGeom>
            <a:avLst/>
            <a:gdLst/>
            <a:ahLst/>
            <a:cxnLst/>
            <a:rect l="l" t="t" r="r" b="b"/>
            <a:pathLst>
              <a:path w="4752340" h="1823085">
                <a:moveTo>
                  <a:pt x="0" y="1822830"/>
                </a:moveTo>
                <a:lnTo>
                  <a:pt x="62215" y="1822643"/>
                </a:lnTo>
                <a:lnTo>
                  <a:pt x="124273" y="1822081"/>
                </a:lnTo>
                <a:lnTo>
                  <a:pt x="186168" y="1821148"/>
                </a:lnTo>
                <a:lnTo>
                  <a:pt x="247894" y="1819845"/>
                </a:lnTo>
                <a:lnTo>
                  <a:pt x="309447" y="1818173"/>
                </a:lnTo>
                <a:lnTo>
                  <a:pt x="370820" y="1816136"/>
                </a:lnTo>
                <a:lnTo>
                  <a:pt x="432009" y="1813736"/>
                </a:lnTo>
                <a:lnTo>
                  <a:pt x="493009" y="1810973"/>
                </a:lnTo>
                <a:lnTo>
                  <a:pt x="553813" y="1807851"/>
                </a:lnTo>
                <a:lnTo>
                  <a:pt x="614417" y="1804372"/>
                </a:lnTo>
                <a:lnTo>
                  <a:pt x="674816" y="1800537"/>
                </a:lnTo>
                <a:lnTo>
                  <a:pt x="735003" y="1796348"/>
                </a:lnTo>
                <a:lnTo>
                  <a:pt x="794975" y="1791807"/>
                </a:lnTo>
                <a:lnTo>
                  <a:pt x="854725" y="1786918"/>
                </a:lnTo>
                <a:lnTo>
                  <a:pt x="914248" y="1781680"/>
                </a:lnTo>
                <a:lnTo>
                  <a:pt x="973538" y="1776098"/>
                </a:lnTo>
                <a:lnTo>
                  <a:pt x="1032592" y="1770171"/>
                </a:lnTo>
                <a:lnTo>
                  <a:pt x="1091403" y="1763904"/>
                </a:lnTo>
                <a:lnTo>
                  <a:pt x="1149965" y="1757297"/>
                </a:lnTo>
                <a:lnTo>
                  <a:pt x="1208274" y="1750353"/>
                </a:lnTo>
                <a:lnTo>
                  <a:pt x="1266325" y="1743074"/>
                </a:lnTo>
                <a:lnTo>
                  <a:pt x="1324111" y="1735462"/>
                </a:lnTo>
                <a:lnTo>
                  <a:pt x="1381629" y="1727518"/>
                </a:lnTo>
                <a:lnTo>
                  <a:pt x="1438871" y="1719245"/>
                </a:lnTo>
                <a:lnTo>
                  <a:pt x="1495834" y="1710645"/>
                </a:lnTo>
                <a:lnTo>
                  <a:pt x="1552511" y="1701721"/>
                </a:lnTo>
                <a:lnTo>
                  <a:pt x="1608898" y="1692473"/>
                </a:lnTo>
                <a:lnTo>
                  <a:pt x="1664989" y="1682904"/>
                </a:lnTo>
                <a:lnTo>
                  <a:pt x="1720779" y="1673016"/>
                </a:lnTo>
                <a:lnTo>
                  <a:pt x="1776263" y="1662811"/>
                </a:lnTo>
                <a:lnTo>
                  <a:pt x="1831434" y="1652292"/>
                </a:lnTo>
                <a:lnTo>
                  <a:pt x="1886289" y="1641459"/>
                </a:lnTo>
                <a:lnTo>
                  <a:pt x="1940821" y="1630316"/>
                </a:lnTo>
                <a:lnTo>
                  <a:pt x="1995025" y="1618864"/>
                </a:lnTo>
                <a:lnTo>
                  <a:pt x="2048897" y="1607105"/>
                </a:lnTo>
                <a:lnTo>
                  <a:pt x="2102430" y="1595042"/>
                </a:lnTo>
                <a:lnTo>
                  <a:pt x="2155619" y="1582676"/>
                </a:lnTo>
                <a:lnTo>
                  <a:pt x="2208460" y="1570009"/>
                </a:lnTo>
                <a:lnTo>
                  <a:pt x="2260946" y="1557044"/>
                </a:lnTo>
                <a:lnTo>
                  <a:pt x="2313073" y="1543782"/>
                </a:lnTo>
                <a:lnTo>
                  <a:pt x="2364834" y="1530226"/>
                </a:lnTo>
                <a:lnTo>
                  <a:pt x="2416226" y="1516377"/>
                </a:lnTo>
                <a:lnTo>
                  <a:pt x="2467242" y="1502238"/>
                </a:lnTo>
                <a:lnTo>
                  <a:pt x="2517878" y="1487811"/>
                </a:lnTo>
                <a:lnTo>
                  <a:pt x="2568127" y="1473097"/>
                </a:lnTo>
                <a:lnTo>
                  <a:pt x="2617985" y="1458098"/>
                </a:lnTo>
                <a:lnTo>
                  <a:pt x="2667446" y="1442818"/>
                </a:lnTo>
                <a:lnTo>
                  <a:pt x="2716505" y="1427257"/>
                </a:lnTo>
                <a:lnTo>
                  <a:pt x="2765156" y="1411418"/>
                </a:lnTo>
                <a:lnTo>
                  <a:pt x="2813396" y="1395303"/>
                </a:lnTo>
                <a:lnTo>
                  <a:pt x="2861217" y="1378913"/>
                </a:lnTo>
                <a:lnTo>
                  <a:pt x="2908615" y="1362252"/>
                </a:lnTo>
                <a:lnTo>
                  <a:pt x="2955584" y="1345320"/>
                </a:lnTo>
                <a:lnTo>
                  <a:pt x="3002119" y="1328121"/>
                </a:lnTo>
                <a:lnTo>
                  <a:pt x="3048215" y="1310655"/>
                </a:lnTo>
                <a:lnTo>
                  <a:pt x="3093867" y="1292926"/>
                </a:lnTo>
                <a:lnTo>
                  <a:pt x="3139069" y="1274934"/>
                </a:lnTo>
                <a:lnTo>
                  <a:pt x="3183816" y="1256683"/>
                </a:lnTo>
                <a:lnTo>
                  <a:pt x="3228102" y="1238174"/>
                </a:lnTo>
                <a:lnTo>
                  <a:pt x="3271923" y="1219409"/>
                </a:lnTo>
                <a:lnTo>
                  <a:pt x="3315272" y="1200390"/>
                </a:lnTo>
                <a:lnTo>
                  <a:pt x="3358145" y="1181120"/>
                </a:lnTo>
                <a:lnTo>
                  <a:pt x="3400537" y="1161599"/>
                </a:lnTo>
                <a:lnTo>
                  <a:pt x="3442441" y="1141832"/>
                </a:lnTo>
                <a:lnTo>
                  <a:pt x="3483854" y="1121818"/>
                </a:lnTo>
                <a:lnTo>
                  <a:pt x="3524768" y="1101561"/>
                </a:lnTo>
                <a:lnTo>
                  <a:pt x="3565180" y="1081062"/>
                </a:lnTo>
                <a:lnTo>
                  <a:pt x="3605084" y="1060324"/>
                </a:lnTo>
                <a:lnTo>
                  <a:pt x="3644474" y="1039348"/>
                </a:lnTo>
                <a:lnTo>
                  <a:pt x="3683345" y="1018137"/>
                </a:lnTo>
                <a:lnTo>
                  <a:pt x="3721692" y="996693"/>
                </a:lnTo>
                <a:lnTo>
                  <a:pt x="3759509" y="975017"/>
                </a:lnTo>
                <a:lnTo>
                  <a:pt x="3796792" y="953111"/>
                </a:lnTo>
                <a:lnTo>
                  <a:pt x="3833535" y="930979"/>
                </a:lnTo>
                <a:lnTo>
                  <a:pt x="3869732" y="908621"/>
                </a:lnTo>
                <a:lnTo>
                  <a:pt x="3905379" y="886040"/>
                </a:lnTo>
                <a:lnTo>
                  <a:pt x="3940470" y="863238"/>
                </a:lnTo>
                <a:lnTo>
                  <a:pt x="3974999" y="840216"/>
                </a:lnTo>
                <a:lnTo>
                  <a:pt x="4008962" y="816978"/>
                </a:lnTo>
                <a:lnTo>
                  <a:pt x="4042353" y="793524"/>
                </a:lnTo>
                <a:lnTo>
                  <a:pt x="4075167" y="769857"/>
                </a:lnTo>
                <a:lnTo>
                  <a:pt x="4107398" y="745980"/>
                </a:lnTo>
                <a:lnTo>
                  <a:pt x="4139041" y="721893"/>
                </a:lnTo>
                <a:lnTo>
                  <a:pt x="4170091" y="697599"/>
                </a:lnTo>
                <a:lnTo>
                  <a:pt x="4200543" y="673101"/>
                </a:lnTo>
                <a:lnTo>
                  <a:pt x="4230391" y="648399"/>
                </a:lnTo>
                <a:lnTo>
                  <a:pt x="4259630" y="623497"/>
                </a:lnTo>
                <a:lnTo>
                  <a:pt x="4316259" y="573098"/>
                </a:lnTo>
                <a:lnTo>
                  <a:pt x="4370388" y="521921"/>
                </a:lnTo>
                <a:lnTo>
                  <a:pt x="4421975" y="469980"/>
                </a:lnTo>
                <a:lnTo>
                  <a:pt x="4470976" y="417294"/>
                </a:lnTo>
                <a:lnTo>
                  <a:pt x="4517351" y="363877"/>
                </a:lnTo>
                <a:lnTo>
                  <a:pt x="4561055" y="309747"/>
                </a:lnTo>
                <a:lnTo>
                  <a:pt x="4602047" y="254919"/>
                </a:lnTo>
                <a:lnTo>
                  <a:pt x="4640284" y="199410"/>
                </a:lnTo>
                <a:lnTo>
                  <a:pt x="4675724" y="143236"/>
                </a:lnTo>
                <a:lnTo>
                  <a:pt x="4708324" y="86414"/>
                </a:lnTo>
                <a:lnTo>
                  <a:pt x="4738041" y="28959"/>
                </a:lnTo>
                <a:lnTo>
                  <a:pt x="4751806" y="0"/>
                </a:lnTo>
              </a:path>
            </a:pathLst>
          </a:custGeom>
          <a:ln w="57912">
            <a:solidFill>
              <a:srgbClr val="B41F7A"/>
            </a:solidFill>
          </a:ln>
        </p:spPr>
        <p:txBody>
          <a:bodyPr wrap="square" lIns="0" tIns="0" rIns="0" bIns="0" rtlCol="0"/>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3" name="Gerader Verbinder 2">
            <a:extLst>
              <a:ext uri="{FF2B5EF4-FFF2-40B4-BE49-F238E27FC236}">
                <a16:creationId xmlns:a16="http://schemas.microsoft.com/office/drawing/2014/main" id="{57387484-E062-42FB-AC7E-273B6FBB749F}"/>
              </a:ext>
            </a:extLst>
          </p:cNvPr>
          <p:cNvCxnSpPr/>
          <p:nvPr/>
        </p:nvCxnSpPr>
        <p:spPr>
          <a:xfrm flipH="1" flipV="1">
            <a:off x="10228643" y="2573518"/>
            <a:ext cx="0" cy="2851211"/>
          </a:xfrm>
          <a:prstGeom prst="line">
            <a:avLst/>
          </a:prstGeom>
          <a:ln w="25400">
            <a:solidFill>
              <a:srgbClr val="F16924"/>
            </a:solidFill>
          </a:ln>
        </p:spPr>
        <p:style>
          <a:lnRef idx="1">
            <a:schemeClr val="accent1"/>
          </a:lnRef>
          <a:fillRef idx="0">
            <a:schemeClr val="accent1"/>
          </a:fillRef>
          <a:effectRef idx="0">
            <a:schemeClr val="accent1"/>
          </a:effectRef>
          <a:fontRef idx="minor">
            <a:schemeClr val="tx1"/>
          </a:fontRef>
        </p:style>
      </p:cxnSp>
      <p:sp>
        <p:nvSpPr>
          <p:cNvPr id="9" name="Subtitle 2">
            <a:extLst>
              <a:ext uri="{FF2B5EF4-FFF2-40B4-BE49-F238E27FC236}">
                <a16:creationId xmlns:a16="http://schemas.microsoft.com/office/drawing/2014/main" id="{96F965B8-D26C-47FE-89AD-21579D22B6B5}"/>
              </a:ext>
            </a:extLst>
          </p:cNvPr>
          <p:cNvSpPr txBox="1"/>
          <p:nvPr/>
        </p:nvSpPr>
        <p:spPr>
          <a:xfrm>
            <a:off x="9834112" y="2002972"/>
            <a:ext cx="2480751" cy="47992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500"/>
              </a:lnSpc>
              <a:spcBef>
                <a:spcPct val="20000"/>
              </a:spcBef>
              <a:spcAft>
                <a:spcPct val="0"/>
              </a:spcAft>
              <a:buClrTx/>
              <a:buSzTx/>
              <a:buFont typeface="Arial"/>
              <a:buNone/>
              <a:defRPr/>
            </a:pPr>
            <a:r>
              <a:rPr kumimoji="0" lang="en-GB" sz="1800" b="1" i="0" u="none" strike="noStrike" kern="1200" cap="none" spc="0" normalizeH="0" baseline="0" noProof="0">
                <a:ln>
                  <a:noFill/>
                </a:ln>
                <a:solidFill>
                  <a:srgbClr val="F16924"/>
                </a:solidFill>
                <a:effectLst/>
                <a:uLnTx/>
                <a:uFillTx/>
                <a:latin typeface="+mn-lt"/>
                <a:ea typeface="Open Sans Light" panose="020B0306030504020204" pitchFamily="34" charset="0"/>
                <a:cs typeface="Open Sans Light" panose="020B0306030504020204" pitchFamily="34" charset="0"/>
              </a:rPr>
              <a:t>Crisis en los resultados</a:t>
            </a:r>
            <a:br>
              <a:rPr kumimoji="0" lang="en-GB" sz="1800" b="1" i="0" u="none" strike="noStrike" kern="1200" cap="none" spc="0" normalizeH="0" baseline="0" noProof="0">
                <a:ln>
                  <a:noFill/>
                </a:ln>
                <a:solidFill>
                  <a:srgbClr val="F16924"/>
                </a:solidFill>
                <a:effectLst/>
                <a:uLnTx/>
                <a:uFillTx/>
                <a:latin typeface="+mn-lt"/>
                <a:ea typeface="Open Sans Light" panose="020B0306030504020204" pitchFamily="34" charset="0"/>
                <a:cs typeface="Open Sans Light" panose="020B0306030504020204" pitchFamily="34" charset="0"/>
              </a:rPr>
            </a:br>
            <a:r>
              <a:rPr kumimoji="0" lang="en-GB" sz="1800" b="1" i="0" u="none" strike="noStrike" kern="1200" cap="none" spc="0" normalizeH="0" baseline="0" noProof="0">
                <a:ln>
                  <a:noFill/>
                </a:ln>
                <a:solidFill>
                  <a:srgbClr val="F16924"/>
                </a:solidFill>
                <a:effectLst/>
                <a:uLnTx/>
                <a:uFillTx/>
                <a:latin typeface="+mn-lt"/>
                <a:ea typeface="Open Sans Light" panose="020B0306030504020204" pitchFamily="34" charset="0"/>
                <a:cs typeface="Open Sans Light" panose="020B0306030504020204" pitchFamily="34" charset="0"/>
              </a:rPr>
              <a:t> resultados</a:t>
            </a:r>
          </a:p>
        </p:txBody>
      </p:sp>
      <p:sp>
        <p:nvSpPr>
          <p:cNvPr id="10" name="Subtitle 2">
            <a:extLst>
              <a:ext uri="{FF2B5EF4-FFF2-40B4-BE49-F238E27FC236}">
                <a16:creationId xmlns:a16="http://schemas.microsoft.com/office/drawing/2014/main" id="{5D8C215B-CDBD-4E96-828A-9D3F7691DBF4}"/>
              </a:ext>
            </a:extLst>
          </p:cNvPr>
          <p:cNvSpPr txBox="1"/>
          <p:nvPr/>
        </p:nvSpPr>
        <p:spPr>
          <a:xfrm>
            <a:off x="10814789" y="3446253"/>
            <a:ext cx="1224593" cy="47992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ts val="1500"/>
              </a:lnSpc>
              <a:spcBef>
                <a:spcPct val="20000"/>
              </a:spcBef>
              <a:spcAft>
                <a:spcPct val="0"/>
              </a:spcAft>
              <a:buClrTx/>
              <a:buSzTx/>
              <a:buFont typeface="Arial"/>
              <a:buNone/>
              <a:defRPr/>
            </a:pPr>
            <a:r>
              <a:rPr kumimoji="0" lang="en-GB" sz="1800" b="1" i="0" u="none" strike="noStrike" kern="1200" cap="none" spc="0" normalizeH="0" baseline="0" noProof="0">
                <a:ln>
                  <a:noFill/>
                </a:ln>
                <a:solidFill>
                  <a:srgbClr val="B41F7A"/>
                </a:solidFill>
                <a:effectLst/>
                <a:uLnTx/>
                <a:uFillTx/>
                <a:latin typeface="Calibri Light" panose="020F0302020204030204"/>
                <a:ea typeface="Open Sans Light" panose="020B0306030504020204" pitchFamily="34" charset="0"/>
                <a:cs typeface="Open Sans Light" panose="020B0306030504020204" pitchFamily="34" charset="0"/>
              </a:rPr>
              <a:t>Crisis de liquidez</a:t>
            </a:r>
          </a:p>
        </p:txBody>
      </p:sp>
      <p:sp>
        <p:nvSpPr>
          <p:cNvPr id="12" name="Subtitle 2">
            <a:extLst>
              <a:ext uri="{FF2B5EF4-FFF2-40B4-BE49-F238E27FC236}">
                <a16:creationId xmlns:a16="http://schemas.microsoft.com/office/drawing/2014/main" id="{877DAA80-B977-4532-B7AC-EC68B87E7E02}"/>
              </a:ext>
            </a:extLst>
          </p:cNvPr>
          <p:cNvSpPr txBox="1"/>
          <p:nvPr/>
        </p:nvSpPr>
        <p:spPr>
          <a:xfrm>
            <a:off x="3889235" y="1664088"/>
            <a:ext cx="1976725" cy="92004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500"/>
              </a:lnSpc>
              <a:spcBef>
                <a:spcPct val="20000"/>
              </a:spcBef>
              <a:spcAft>
                <a:spcPct val="0"/>
              </a:spcAft>
              <a:buClrTx/>
              <a:buSzTx/>
              <a:buFont typeface="Arial"/>
              <a:buNone/>
              <a:defRPr/>
            </a:pPr>
            <a:r>
              <a:rPr kumimoji="0" lang="en-GB" sz="1800" b="1" i="0" u="none" strike="noStrike" kern="1200" cap="none" spc="0" normalizeH="0" baseline="0" noProof="0">
                <a:ln>
                  <a:noFill/>
                </a:ln>
                <a:solidFill>
                  <a:srgbClr val="F16924"/>
                </a:solidFill>
                <a:effectLst/>
                <a:uLnTx/>
                <a:uFillTx/>
                <a:latin typeface="+mn-lt"/>
                <a:ea typeface="Open Sans Light" panose="020B0306030504020204" pitchFamily="34" charset="0"/>
                <a:cs typeface="Open Sans Light" panose="020B0306030504020204" pitchFamily="34" charset="0"/>
              </a:rPr>
              <a:t>Identificabilidad objetiva </a:t>
            </a:r>
            <a:br>
              <a:rPr kumimoji="0" lang="en-GB" sz="1800" b="1" i="0" u="none" strike="noStrike" kern="1200" cap="none" spc="0" normalizeH="0" baseline="0" noProof="0">
                <a:ln>
                  <a:noFill/>
                </a:ln>
                <a:solidFill>
                  <a:srgbClr val="F16924"/>
                </a:solidFill>
                <a:effectLst/>
                <a:uLnTx/>
                <a:uFillTx/>
                <a:latin typeface="+mn-lt"/>
                <a:ea typeface="Open Sans Light" panose="020B0306030504020204" pitchFamily="34" charset="0"/>
                <a:cs typeface="Open Sans Light" panose="020B0306030504020204" pitchFamily="34" charset="0"/>
              </a:rPr>
            </a:br>
            <a:r>
              <a:rPr kumimoji="0" lang="en-GB" sz="1800" b="1" i="0" u="none" strike="noStrike" kern="1200" cap="none" spc="0" normalizeH="0" baseline="0" noProof="0">
                <a:ln>
                  <a:noFill/>
                </a:ln>
                <a:solidFill>
                  <a:srgbClr val="F16924"/>
                </a:solidFill>
                <a:effectLst/>
                <a:uLnTx/>
                <a:uFillTx/>
                <a:latin typeface="+mn-lt"/>
                <a:ea typeface="Open Sans Light" panose="020B0306030504020204" pitchFamily="34" charset="0"/>
                <a:cs typeface="Open Sans Light" panose="020B0306030504020204" pitchFamily="34" charset="0"/>
              </a:rPr>
              <a:t>de la crisis (en %)</a:t>
            </a:r>
          </a:p>
          <a:p>
            <a:pPr marL="0" marR="0" lvl="0" indent="0" algn="l" defTabSz="1087636" rtl="0" eaLnBrk="1" fontAlgn="auto" latinLnBrk="0" hangingPunct="1">
              <a:lnSpc>
                <a:spcPts val="1500"/>
              </a:lnSpc>
              <a:spcBef>
                <a:spcPct val="20000"/>
              </a:spcBef>
              <a:spcAft>
                <a:spcPct val="0"/>
              </a:spcAft>
              <a:buClrTx/>
              <a:buSzTx/>
              <a:buFont typeface="Arial"/>
              <a:buNone/>
              <a:defRPr/>
            </a:pPr>
            <a:endParaRPr kumimoji="0" lang="en-GB" sz="1800" b="1" i="0" u="none" strike="noStrike" kern="1200" cap="none" spc="0" normalizeH="0" baseline="0" noProof="0">
              <a:ln>
                <a:noFill/>
              </a:ln>
              <a:solidFill>
                <a:srgbClr val="F16924"/>
              </a:solidFill>
              <a:effectLst/>
              <a:uLnTx/>
              <a:uFillTx/>
              <a:latin typeface="+mn-lt"/>
              <a:ea typeface="Open Sans Light" panose="020B0306030504020204" pitchFamily="34" charset="0"/>
              <a:cs typeface="Open Sans Light" panose="020B0306030504020204" pitchFamily="34" charset="0"/>
            </a:endParaRPr>
          </a:p>
        </p:txBody>
      </p:sp>
      <p:sp>
        <p:nvSpPr>
          <p:cNvPr id="13" name="Subtitle 2">
            <a:extLst>
              <a:ext uri="{FF2B5EF4-FFF2-40B4-BE49-F238E27FC236}">
                <a16:creationId xmlns:a16="http://schemas.microsoft.com/office/drawing/2014/main" id="{74AAA5CF-A286-4CA9-A8FF-0FFDE72608F1}"/>
              </a:ext>
            </a:extLst>
          </p:cNvPr>
          <p:cNvSpPr txBox="1"/>
          <p:nvPr/>
        </p:nvSpPr>
        <p:spPr>
          <a:xfrm>
            <a:off x="11147843" y="5380751"/>
            <a:ext cx="724287" cy="53532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r" defTabSz="1087636" rtl="0" eaLnBrk="1" fontAlgn="auto" latinLnBrk="0" hangingPunct="1">
              <a:lnSpc>
                <a:spcPts val="1500"/>
              </a:lnSpc>
              <a:spcBef>
                <a:spcPct val="20000"/>
              </a:spcBef>
              <a:spcAft>
                <a:spcPct val="0"/>
              </a:spcAft>
              <a:buClrTx/>
              <a:buSzTx/>
              <a:buFont typeface="Arial"/>
              <a:buNone/>
              <a:defRPr/>
            </a:pPr>
            <a:r>
              <a:rPr kumimoji="0" lang="en-GB" sz="1800" b="1" i="0" u="none" strike="noStrike" kern="1200" cap="none" spc="0" normalizeH="0" baseline="0" noProof="0">
                <a:ln>
                  <a:noFill/>
                </a:ln>
                <a:solidFill>
                  <a:srgbClr val="B41F7A"/>
                </a:solidFill>
                <a:effectLst/>
                <a:uLnTx/>
                <a:uFillTx/>
                <a:latin typeface="Calibri Light" panose="020F0302020204030204"/>
                <a:ea typeface="Open Sans Light" panose="020B0306030504020204" pitchFamily="34" charset="0"/>
                <a:cs typeface="Open Sans Light" panose="020B0306030504020204" pitchFamily="34" charset="0"/>
              </a:rPr>
              <a:t>Tiempo</a:t>
            </a:r>
          </a:p>
          <a:p>
            <a:pPr marL="0" marR="0" lvl="0" indent="0" algn="r" defTabSz="1087636" rtl="0" eaLnBrk="1" fontAlgn="auto" latinLnBrk="0" hangingPunct="1">
              <a:lnSpc>
                <a:spcPts val="1500"/>
              </a:lnSpc>
              <a:spcBef>
                <a:spcPct val="20000"/>
              </a:spcBef>
              <a:spcAft>
                <a:spcPct val="0"/>
              </a:spcAft>
              <a:buClrTx/>
              <a:buSzTx/>
              <a:buFont typeface="Arial"/>
              <a:buNone/>
              <a:defRPr/>
            </a:pPr>
            <a:endParaRPr kumimoji="0" lang="en-GB" sz="1800" b="1" i="0" u="none" strike="noStrike" kern="1200" cap="none" spc="0" normalizeH="0" baseline="0" noProof="0">
              <a:ln>
                <a:noFill/>
              </a:ln>
              <a:solidFill>
                <a:srgbClr val="B41F7A"/>
              </a:solidFill>
              <a:effectLst/>
              <a:uLnTx/>
              <a:uFillTx/>
              <a:latin typeface="Calibri Light" panose="020F0302020204030204"/>
              <a:ea typeface="Open Sans Light" panose="020B0306030504020204" pitchFamily="34" charset="0"/>
              <a:cs typeface="Open Sans Light" panose="020B0306030504020204" pitchFamily="34" charset="0"/>
            </a:endParaRPr>
          </a:p>
        </p:txBody>
      </p:sp>
      <p:sp>
        <p:nvSpPr>
          <p:cNvPr id="8" name="Rectangle 7">
            <a:extLst>
              <a:ext uri="{FF2B5EF4-FFF2-40B4-BE49-F238E27FC236}">
                <a16:creationId xmlns:a16="http://schemas.microsoft.com/office/drawing/2014/main" id="{7A5264C9-4E8A-1D4F-2E74-3C46AF46D4D2}"/>
              </a:ext>
            </a:extLst>
          </p:cNvPr>
          <p:cNvSpPr/>
          <p:nvPr/>
        </p:nvSpPr>
        <p:spPr>
          <a:xfrm>
            <a:off x="360441" y="1984865"/>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38938993"/>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a:latin typeface="Calibri Light" panose="020F0302020204030204" pitchFamily="34" charset="0"/>
              <a:ea typeface="+mj-ea"/>
              <a:cs typeface="+mj-cs"/>
              <a:sym typeface="Calibri Light" panose="020F0302020204030204" pitchFamily="34" charset="0"/>
            </a:endParaRPr>
          </a:p>
        </p:txBody>
      </p:sp>
      <p:sp>
        <p:nvSpPr>
          <p:cNvPr id="6" name="Rectangle 5">
            <a:extLst>
              <a:ext uri="{FF2B5EF4-FFF2-40B4-BE49-F238E27FC236}">
                <a16:creationId xmlns:a16="http://schemas.microsoft.com/office/drawing/2014/main" id="{943197E9-FF38-8D7E-E8A8-2912F3E98269}"/>
              </a:ext>
            </a:extLst>
          </p:cNvPr>
          <p:cNvSpPr/>
          <p:nvPr/>
        </p:nvSpPr>
        <p:spPr>
          <a:xfrm>
            <a:off x="30946" y="0"/>
            <a:ext cx="3574870"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1">
            <a:extLst>
              <a:ext uri="{FF2B5EF4-FFF2-40B4-BE49-F238E27FC236}">
                <a16:creationId xmlns:a16="http://schemas.microsoft.com/office/drawing/2014/main" id="{5FBF3AF8-1BD9-F12B-A0CF-27D8DC8CEAD6}"/>
              </a:ext>
            </a:extLst>
          </p:cNvPr>
          <p:cNvSpPr txBox="1"/>
          <p:nvPr/>
        </p:nvSpPr>
        <p:spPr>
          <a:xfrm>
            <a:off x="313996" y="2518585"/>
            <a:ext cx="2929858" cy="34942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r>
              <a:rPr lang="en-US" sz="2200">
                <a:solidFill>
                  <a:schemeClr val="bg1"/>
                </a:solidFill>
              </a:rPr>
              <a:t>Las crisis empresariales suelen desarrollarse en oleadas.</a:t>
            </a:r>
          </a:p>
          <a:p>
            <a:pPr marL="15875" indent="-15875"/>
            <a:r>
              <a:rPr lang="en-US" sz="2200">
                <a:solidFill>
                  <a:schemeClr val="bg1"/>
                </a:solidFill>
              </a:rPr>
              <a:t> Mientras tanto, suele haber fases engañosas de relajación que hacen creer a los propietarios y a la dirección que la crisis se ha superado.</a:t>
            </a:r>
          </a:p>
        </p:txBody>
      </p:sp>
      <p:sp>
        <p:nvSpPr>
          <p:cNvPr id="8" name="Textplatzhalter 32">
            <a:extLst>
              <a:ext uri="{FF2B5EF4-FFF2-40B4-BE49-F238E27FC236}">
                <a16:creationId xmlns:a16="http://schemas.microsoft.com/office/drawing/2014/main" id="{B01D38FD-F513-F119-A443-AF941F79A547}"/>
              </a:ext>
            </a:extLst>
          </p:cNvPr>
          <p:cNvSpPr txBox="1"/>
          <p:nvPr/>
        </p:nvSpPr>
        <p:spPr>
          <a:xfrm>
            <a:off x="392411" y="420981"/>
            <a:ext cx="3025497" cy="207916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620"/>
              </a:lnSpc>
            </a:pPr>
            <a:r>
              <a:rPr lang="en-GB">
                <a:solidFill>
                  <a:schemeClr val="bg1"/>
                </a:solidFill>
              </a:rPr>
              <a:t>Modelo simplificado de crisis</a:t>
            </a:r>
          </a:p>
        </p:txBody>
      </p:sp>
      <p:sp>
        <p:nvSpPr>
          <p:cNvPr id="9" name="Rectangle 8">
            <a:extLst>
              <a:ext uri="{FF2B5EF4-FFF2-40B4-BE49-F238E27FC236}">
                <a16:creationId xmlns:a16="http://schemas.microsoft.com/office/drawing/2014/main" id="{0B1E440C-1976-92F4-BBFD-21424F868DA7}"/>
              </a:ext>
            </a:extLst>
          </p:cNvPr>
          <p:cNvSpPr/>
          <p:nvPr/>
        </p:nvSpPr>
        <p:spPr>
          <a:xfrm>
            <a:off x="360441" y="207113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cxnSp>
        <p:nvCxnSpPr>
          <p:cNvPr id="15" name="Gerade Verbindung mit Pfeil 9">
            <a:extLst>
              <a:ext uri="{FF2B5EF4-FFF2-40B4-BE49-F238E27FC236}">
                <a16:creationId xmlns:a16="http://schemas.microsoft.com/office/drawing/2014/main" id="{BB72E755-DC47-D98A-8E32-CA8F229B433F}"/>
              </a:ext>
            </a:extLst>
          </p:cNvPr>
          <p:cNvCxnSpPr/>
          <p:nvPr/>
        </p:nvCxnSpPr>
        <p:spPr>
          <a:xfrm flipH="1" flipV="1">
            <a:off x="4017734" y="2367544"/>
            <a:ext cx="0" cy="37446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24">
            <a:extLst>
              <a:ext uri="{FF2B5EF4-FFF2-40B4-BE49-F238E27FC236}">
                <a16:creationId xmlns:a16="http://schemas.microsoft.com/office/drawing/2014/main" id="{726603EE-E329-973D-B97F-8881540BE439}"/>
              </a:ext>
            </a:extLst>
          </p:cNvPr>
          <p:cNvCxnSpPr/>
          <p:nvPr/>
        </p:nvCxnSpPr>
        <p:spPr>
          <a:xfrm>
            <a:off x="4017734" y="6112229"/>
            <a:ext cx="740267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Textfeld 40">
            <a:extLst>
              <a:ext uri="{FF2B5EF4-FFF2-40B4-BE49-F238E27FC236}">
                <a16:creationId xmlns:a16="http://schemas.microsoft.com/office/drawing/2014/main" id="{BC80972D-8B7B-AF66-361D-C2C8D3FD6CF4}"/>
              </a:ext>
            </a:extLst>
          </p:cNvPr>
          <p:cNvSpPr txBox="1"/>
          <p:nvPr/>
        </p:nvSpPr>
        <p:spPr>
          <a:xfrm>
            <a:off x="6526801" y="4482868"/>
            <a:ext cx="1319848" cy="338554"/>
          </a:xfrm>
          <a:prstGeom prst="rect">
            <a:avLst/>
          </a:prstGeom>
          <a:noFill/>
        </p:spPr>
        <p:txBody>
          <a:bodyPr wrap="none" rtlCol="0">
            <a:spAutoFit/>
          </a:bodyPr>
          <a:lstStyle/>
          <a:p>
            <a:r>
              <a:rPr lang="en-GB" sz="1600" b="1">
                <a:solidFill>
                  <a:srgbClr val="F16924"/>
                </a:solidFill>
              </a:rPr>
              <a:t>Punto de inflexión</a:t>
            </a:r>
          </a:p>
        </p:txBody>
      </p:sp>
      <p:sp>
        <p:nvSpPr>
          <p:cNvPr id="18" name="Textfeld 41">
            <a:extLst>
              <a:ext uri="{FF2B5EF4-FFF2-40B4-BE49-F238E27FC236}">
                <a16:creationId xmlns:a16="http://schemas.microsoft.com/office/drawing/2014/main" id="{8D94C49B-1463-8050-83FF-62B1AB676F27}"/>
              </a:ext>
            </a:extLst>
          </p:cNvPr>
          <p:cNvSpPr txBox="1"/>
          <p:nvPr/>
        </p:nvSpPr>
        <p:spPr>
          <a:xfrm>
            <a:off x="10548301" y="1544135"/>
            <a:ext cx="1612753" cy="830997"/>
          </a:xfrm>
          <a:prstGeom prst="rect">
            <a:avLst/>
          </a:prstGeom>
          <a:noFill/>
        </p:spPr>
        <p:txBody>
          <a:bodyPr wrap="square" rtlCol="0">
            <a:spAutoFit/>
          </a:bodyPr>
          <a:lstStyle/>
          <a:p>
            <a:r>
              <a:rPr lang="en-GB" sz="1600" b="1">
                <a:solidFill>
                  <a:srgbClr val="F16924"/>
                </a:solidFill>
              </a:rPr>
              <a:t>Fin de la crisis - existencia continuada</a:t>
            </a:r>
          </a:p>
        </p:txBody>
      </p:sp>
      <p:sp>
        <p:nvSpPr>
          <p:cNvPr id="19" name="Textfeld 42">
            <a:extLst>
              <a:ext uri="{FF2B5EF4-FFF2-40B4-BE49-F238E27FC236}">
                <a16:creationId xmlns:a16="http://schemas.microsoft.com/office/drawing/2014/main" id="{4DBEF007-657A-59DB-A232-15158582C52C}"/>
              </a:ext>
            </a:extLst>
          </p:cNvPr>
          <p:cNvSpPr txBox="1"/>
          <p:nvPr/>
        </p:nvSpPr>
        <p:spPr>
          <a:xfrm>
            <a:off x="10147476" y="4482868"/>
            <a:ext cx="1870898" cy="1569660"/>
          </a:xfrm>
          <a:prstGeom prst="rect">
            <a:avLst/>
          </a:prstGeom>
          <a:noFill/>
        </p:spPr>
        <p:txBody>
          <a:bodyPr wrap="square" rtlCol="0">
            <a:spAutoFit/>
          </a:bodyPr>
          <a:lstStyle/>
          <a:p>
            <a:r>
              <a:rPr lang="en-GB" sz="1600" b="1">
                <a:solidFill>
                  <a:srgbClr val="EDA13E"/>
                </a:solidFill>
              </a:rPr>
              <a:t>Fin de la crisis </a:t>
            </a:r>
            <a:br>
              <a:rPr lang="en-GB" sz="1600" b="1">
                <a:solidFill>
                  <a:srgbClr val="EDA13E"/>
                </a:solidFill>
              </a:rPr>
            </a:br>
            <a:r>
              <a:rPr lang="en-GB" sz="1600" b="1">
                <a:solidFill>
                  <a:srgbClr val="EDA13E"/>
                </a:solidFill>
              </a:rPr>
              <a:t>- liquidación / </a:t>
            </a:r>
            <a:br>
              <a:rPr lang="en-GB" sz="1600" b="1">
                <a:solidFill>
                  <a:srgbClr val="EDA13E"/>
                </a:solidFill>
              </a:rPr>
            </a:br>
            <a:r>
              <a:rPr lang="en-GB" sz="1600" b="1">
                <a:solidFill>
                  <a:srgbClr val="EDA13E"/>
                </a:solidFill>
              </a:rPr>
              <a:t>cese de </a:t>
            </a:r>
            <a:br>
              <a:rPr lang="en-GB" sz="1600" b="1">
                <a:solidFill>
                  <a:srgbClr val="EDA13E"/>
                </a:solidFill>
              </a:rPr>
            </a:br>
            <a:r>
              <a:rPr lang="en-GB" sz="1600" b="1">
                <a:solidFill>
                  <a:srgbClr val="EDA13E"/>
                </a:solidFill>
              </a:rPr>
              <a:t>operaciones comerciales</a:t>
            </a:r>
          </a:p>
          <a:p>
            <a:endParaRPr lang="en-GB" sz="1600">
              <a:solidFill>
                <a:srgbClr val="EDA13E"/>
              </a:solidFill>
            </a:endParaRPr>
          </a:p>
          <a:p>
            <a:endParaRPr lang="en-GB" sz="1600">
              <a:solidFill>
                <a:srgbClr val="EDA13E"/>
              </a:solidFill>
            </a:endParaRPr>
          </a:p>
        </p:txBody>
      </p:sp>
      <p:sp>
        <p:nvSpPr>
          <p:cNvPr id="20" name="Textfeld 43">
            <a:extLst>
              <a:ext uri="{FF2B5EF4-FFF2-40B4-BE49-F238E27FC236}">
                <a16:creationId xmlns:a16="http://schemas.microsoft.com/office/drawing/2014/main" id="{949ED6CC-7930-8CB7-B4C4-9D37434CCD8A}"/>
              </a:ext>
            </a:extLst>
          </p:cNvPr>
          <p:cNvSpPr txBox="1"/>
          <p:nvPr/>
        </p:nvSpPr>
        <p:spPr>
          <a:xfrm>
            <a:off x="7170022" y="5917995"/>
            <a:ext cx="657552" cy="369332"/>
          </a:xfrm>
          <a:prstGeom prst="rect">
            <a:avLst/>
          </a:prstGeom>
          <a:solidFill>
            <a:schemeClr val="bg1"/>
          </a:solidFill>
        </p:spPr>
        <p:txBody>
          <a:bodyPr wrap="none" rtlCol="0">
            <a:spAutoFit/>
          </a:bodyPr>
          <a:lstStyle/>
          <a:p>
            <a:r>
              <a:rPr lang="en-GB" b="1"/>
              <a:t>Tiempo</a:t>
            </a:r>
          </a:p>
        </p:txBody>
      </p:sp>
      <p:sp>
        <p:nvSpPr>
          <p:cNvPr id="21" name="Textfeld 44">
            <a:extLst>
              <a:ext uri="{FF2B5EF4-FFF2-40B4-BE49-F238E27FC236}">
                <a16:creationId xmlns:a16="http://schemas.microsoft.com/office/drawing/2014/main" id="{D8493BDA-451D-B0F0-AE54-E74745A35E55}"/>
              </a:ext>
            </a:extLst>
          </p:cNvPr>
          <p:cNvSpPr txBox="1"/>
          <p:nvPr/>
        </p:nvSpPr>
        <p:spPr>
          <a:xfrm rot="16200000">
            <a:off x="2859578" y="4055220"/>
            <a:ext cx="2270814" cy="369332"/>
          </a:xfrm>
          <a:prstGeom prst="rect">
            <a:avLst/>
          </a:prstGeom>
          <a:solidFill>
            <a:schemeClr val="bg1"/>
          </a:solidFill>
        </p:spPr>
        <p:txBody>
          <a:bodyPr wrap="none" rtlCol="0">
            <a:spAutoFit/>
          </a:bodyPr>
          <a:lstStyle/>
          <a:p>
            <a:r>
              <a:rPr lang="en-GB" b="1"/>
              <a:t>Probabilidad de supervivencia</a:t>
            </a:r>
          </a:p>
        </p:txBody>
      </p:sp>
      <p:sp>
        <p:nvSpPr>
          <p:cNvPr id="22" name="Textfeld 45">
            <a:extLst>
              <a:ext uri="{FF2B5EF4-FFF2-40B4-BE49-F238E27FC236}">
                <a16:creationId xmlns:a16="http://schemas.microsoft.com/office/drawing/2014/main" id="{EB891BC9-DBFB-213D-2598-C18471ACEBC1}"/>
              </a:ext>
            </a:extLst>
          </p:cNvPr>
          <p:cNvSpPr txBox="1"/>
          <p:nvPr/>
        </p:nvSpPr>
        <p:spPr>
          <a:xfrm>
            <a:off x="4075455" y="2020283"/>
            <a:ext cx="2408032" cy="338554"/>
          </a:xfrm>
          <a:prstGeom prst="rect">
            <a:avLst/>
          </a:prstGeom>
          <a:noFill/>
        </p:spPr>
        <p:txBody>
          <a:bodyPr wrap="none" rtlCol="0">
            <a:spAutoFit/>
          </a:bodyPr>
          <a:lstStyle/>
          <a:p>
            <a:r>
              <a:rPr lang="en-GB" sz="1600" b="1">
                <a:solidFill>
                  <a:srgbClr val="B41F7A"/>
                </a:solidFill>
              </a:rPr>
              <a:t>El comienzo de la crisis</a:t>
            </a:r>
          </a:p>
        </p:txBody>
      </p:sp>
      <p:sp>
        <p:nvSpPr>
          <p:cNvPr id="23" name="Textfeld 48">
            <a:extLst>
              <a:ext uri="{FF2B5EF4-FFF2-40B4-BE49-F238E27FC236}">
                <a16:creationId xmlns:a16="http://schemas.microsoft.com/office/drawing/2014/main" id="{35F3BAA7-9C51-1280-4639-214119D6E4B5}"/>
              </a:ext>
            </a:extLst>
          </p:cNvPr>
          <p:cNvSpPr txBox="1"/>
          <p:nvPr/>
        </p:nvSpPr>
        <p:spPr>
          <a:xfrm>
            <a:off x="7843034" y="5140274"/>
            <a:ext cx="1304844" cy="584775"/>
          </a:xfrm>
          <a:prstGeom prst="rect">
            <a:avLst/>
          </a:prstGeom>
          <a:noFill/>
        </p:spPr>
        <p:txBody>
          <a:bodyPr wrap="none" rtlCol="0">
            <a:spAutoFit/>
          </a:bodyPr>
          <a:lstStyle/>
          <a:p>
            <a:r>
              <a:rPr lang="en-GB" sz="1600" b="1">
                <a:solidFill>
                  <a:srgbClr val="EDA13E"/>
                </a:solidFill>
              </a:rPr>
              <a:t>Potencial </a:t>
            </a:r>
            <a:br>
              <a:rPr lang="en-GB" sz="1600" b="1">
                <a:solidFill>
                  <a:srgbClr val="EDA13E"/>
                </a:solidFill>
              </a:rPr>
            </a:br>
            <a:r>
              <a:rPr lang="en-GB" sz="1600" b="1">
                <a:solidFill>
                  <a:srgbClr val="EDA13E"/>
                </a:solidFill>
              </a:rPr>
              <a:t>punto de inflexión</a:t>
            </a:r>
          </a:p>
        </p:txBody>
      </p:sp>
      <p:sp>
        <p:nvSpPr>
          <p:cNvPr id="24" name="Textfeld 49">
            <a:extLst>
              <a:ext uri="{FF2B5EF4-FFF2-40B4-BE49-F238E27FC236}">
                <a16:creationId xmlns:a16="http://schemas.microsoft.com/office/drawing/2014/main" id="{2EC2A4B1-67CD-5EA8-85AB-42EFA99040A5}"/>
              </a:ext>
            </a:extLst>
          </p:cNvPr>
          <p:cNvSpPr txBox="1"/>
          <p:nvPr/>
        </p:nvSpPr>
        <p:spPr>
          <a:xfrm>
            <a:off x="8495456" y="3148050"/>
            <a:ext cx="2157450" cy="584775"/>
          </a:xfrm>
          <a:prstGeom prst="rect">
            <a:avLst/>
          </a:prstGeom>
          <a:noFill/>
        </p:spPr>
        <p:txBody>
          <a:bodyPr wrap="none" rtlCol="0">
            <a:spAutoFit/>
          </a:bodyPr>
          <a:lstStyle/>
          <a:p>
            <a:r>
              <a:rPr lang="en-GB" sz="1600" b="1">
                <a:solidFill>
                  <a:srgbClr val="F16924"/>
                </a:solidFill>
              </a:rPr>
              <a:t>Aplicación de </a:t>
            </a:r>
            <a:br>
              <a:rPr lang="en-GB" sz="1600" b="1">
                <a:solidFill>
                  <a:srgbClr val="F16924"/>
                </a:solidFill>
              </a:rPr>
            </a:br>
            <a:r>
              <a:rPr lang="en-GB" sz="1600" b="1">
                <a:solidFill>
                  <a:srgbClr val="F16924"/>
                </a:solidFill>
              </a:rPr>
              <a:t>medidas de reestructuración</a:t>
            </a:r>
          </a:p>
        </p:txBody>
      </p:sp>
      <p:grpSp>
        <p:nvGrpSpPr>
          <p:cNvPr id="26" name="Gruppieren 2">
            <a:extLst>
              <a:ext uri="{FF2B5EF4-FFF2-40B4-BE49-F238E27FC236}">
                <a16:creationId xmlns:a16="http://schemas.microsoft.com/office/drawing/2014/main" id="{43008632-E082-AF84-DE85-74C0C0503B22}"/>
              </a:ext>
            </a:extLst>
          </p:cNvPr>
          <p:cNvGrpSpPr/>
          <p:nvPr/>
        </p:nvGrpSpPr>
        <p:grpSpPr>
          <a:xfrm>
            <a:off x="4192287" y="2071130"/>
            <a:ext cx="6583684" cy="3895957"/>
            <a:chOff x="2258429" y="2025872"/>
            <a:chExt cx="7808686" cy="3895957"/>
          </a:xfrm>
        </p:grpSpPr>
        <p:sp>
          <p:nvSpPr>
            <p:cNvPr id="28" name="Freihandform: Form 34">
              <a:extLst>
                <a:ext uri="{FF2B5EF4-FFF2-40B4-BE49-F238E27FC236}">
                  <a16:creationId xmlns:a16="http://schemas.microsoft.com/office/drawing/2014/main" id="{83C5B9BC-DB2A-FF25-C3A7-54F28D87285B}"/>
                </a:ext>
              </a:extLst>
            </p:cNvPr>
            <p:cNvSpPr/>
            <p:nvPr/>
          </p:nvSpPr>
          <p:spPr>
            <a:xfrm>
              <a:off x="2258429" y="2351314"/>
              <a:ext cx="7808685" cy="3570515"/>
            </a:xfrm>
            <a:custGeom>
              <a:avLst/>
              <a:gdLst>
                <a:gd name="connsiteX0" fmla="*/ 0 w 7808685"/>
                <a:gd name="connsiteY0" fmla="*/ 0 h 3570515"/>
                <a:gd name="connsiteX1" fmla="*/ 1074057 w 7808685"/>
                <a:gd name="connsiteY1" fmla="*/ 290286 h 3570515"/>
                <a:gd name="connsiteX2" fmla="*/ 2191657 w 7808685"/>
                <a:gd name="connsiteY2" fmla="*/ 1567543 h 3570515"/>
                <a:gd name="connsiteX3" fmla="*/ 3280228 w 7808685"/>
                <a:gd name="connsiteY3" fmla="*/ 1944915 h 3570515"/>
                <a:gd name="connsiteX4" fmla="*/ 4383314 w 7808685"/>
                <a:gd name="connsiteY4" fmla="*/ 1988457 h 3570515"/>
                <a:gd name="connsiteX5" fmla="*/ 5617028 w 7808685"/>
                <a:gd name="connsiteY5" fmla="*/ 2656115 h 3570515"/>
                <a:gd name="connsiteX6" fmla="*/ 6589485 w 7808685"/>
                <a:gd name="connsiteY6" fmla="*/ 3338286 h 3570515"/>
                <a:gd name="connsiteX7" fmla="*/ 7808685 w 7808685"/>
                <a:gd name="connsiteY7" fmla="*/ 3570515 h 3570515"/>
                <a:gd name="connsiteX8" fmla="*/ 7808685 w 7808685"/>
                <a:gd name="connsiteY8" fmla="*/ 3570515 h 3570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08685" h="3570515">
                  <a:moveTo>
                    <a:pt x="0" y="0"/>
                  </a:moveTo>
                  <a:cubicBezTo>
                    <a:pt x="354390" y="14514"/>
                    <a:pt x="708781" y="29029"/>
                    <a:pt x="1074057" y="290286"/>
                  </a:cubicBezTo>
                  <a:cubicBezTo>
                    <a:pt x="1439333" y="551543"/>
                    <a:pt x="1823962" y="1291771"/>
                    <a:pt x="2191657" y="1567543"/>
                  </a:cubicBezTo>
                  <a:cubicBezTo>
                    <a:pt x="2559352" y="1843315"/>
                    <a:pt x="2914952" y="1874763"/>
                    <a:pt x="3280228" y="1944915"/>
                  </a:cubicBezTo>
                  <a:cubicBezTo>
                    <a:pt x="3645504" y="2015067"/>
                    <a:pt x="3993847" y="1869924"/>
                    <a:pt x="4383314" y="1988457"/>
                  </a:cubicBezTo>
                  <a:cubicBezTo>
                    <a:pt x="4772781" y="2106990"/>
                    <a:pt x="5249333" y="2431144"/>
                    <a:pt x="5617028" y="2656115"/>
                  </a:cubicBezTo>
                  <a:cubicBezTo>
                    <a:pt x="5984723" y="2881086"/>
                    <a:pt x="6224209" y="3185886"/>
                    <a:pt x="6589485" y="3338286"/>
                  </a:cubicBezTo>
                  <a:cubicBezTo>
                    <a:pt x="6954761" y="3490686"/>
                    <a:pt x="7808685" y="3570515"/>
                    <a:pt x="7808685" y="3570515"/>
                  </a:cubicBezTo>
                  <a:lnTo>
                    <a:pt x="7808685" y="3570515"/>
                  </a:lnTo>
                </a:path>
              </a:pathLst>
            </a:custGeom>
            <a:noFill/>
            <a:ln>
              <a:solidFill>
                <a:srgbClr val="59595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Freihandform: Form 38">
              <a:extLst>
                <a:ext uri="{FF2B5EF4-FFF2-40B4-BE49-F238E27FC236}">
                  <a16:creationId xmlns:a16="http://schemas.microsoft.com/office/drawing/2014/main" id="{5B29531A-31DF-D187-1954-B57548577855}"/>
                </a:ext>
              </a:extLst>
            </p:cNvPr>
            <p:cNvSpPr/>
            <p:nvPr/>
          </p:nvSpPr>
          <p:spPr>
            <a:xfrm>
              <a:off x="5738561" y="2365833"/>
              <a:ext cx="4295537" cy="1988457"/>
            </a:xfrm>
            <a:custGeom>
              <a:avLst/>
              <a:gdLst>
                <a:gd name="connsiteX0" fmla="*/ 0 w 4746171"/>
                <a:gd name="connsiteY0" fmla="*/ 1988457 h 1988457"/>
                <a:gd name="connsiteX1" fmla="*/ 1161143 w 4746171"/>
                <a:gd name="connsiteY1" fmla="*/ 1538514 h 1988457"/>
                <a:gd name="connsiteX2" fmla="*/ 2119085 w 4746171"/>
                <a:gd name="connsiteY2" fmla="*/ 493486 h 1988457"/>
                <a:gd name="connsiteX3" fmla="*/ 4746171 w 4746171"/>
                <a:gd name="connsiteY3" fmla="*/ 0 h 1988457"/>
                <a:gd name="connsiteX4" fmla="*/ 4746171 w 4746171"/>
                <a:gd name="connsiteY4" fmla="*/ 0 h 198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6171" h="1988456">
                  <a:moveTo>
                    <a:pt x="0" y="1988457"/>
                  </a:moveTo>
                  <a:cubicBezTo>
                    <a:pt x="403981" y="1888066"/>
                    <a:pt x="807962" y="1787676"/>
                    <a:pt x="1161143" y="1538514"/>
                  </a:cubicBezTo>
                  <a:cubicBezTo>
                    <a:pt x="1514324" y="1289352"/>
                    <a:pt x="1521580" y="749905"/>
                    <a:pt x="2119085" y="493486"/>
                  </a:cubicBezTo>
                  <a:cubicBezTo>
                    <a:pt x="2716590" y="237067"/>
                    <a:pt x="4746171" y="0"/>
                    <a:pt x="4746171" y="0"/>
                  </a:cubicBezTo>
                  <a:lnTo>
                    <a:pt x="4746171" y="0"/>
                  </a:lnTo>
                </a:path>
              </a:pathLst>
            </a:custGeom>
            <a:no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Freihandform: Form 47">
              <a:extLst>
                <a:ext uri="{FF2B5EF4-FFF2-40B4-BE49-F238E27FC236}">
                  <a16:creationId xmlns:a16="http://schemas.microsoft.com/office/drawing/2014/main" id="{671A8132-9DBC-253B-63A8-C66328436679}"/>
                </a:ext>
              </a:extLst>
            </p:cNvPr>
            <p:cNvSpPr/>
            <p:nvPr/>
          </p:nvSpPr>
          <p:spPr>
            <a:xfrm>
              <a:off x="7788373" y="3657600"/>
              <a:ext cx="2278742" cy="1291771"/>
            </a:xfrm>
            <a:custGeom>
              <a:avLst/>
              <a:gdLst>
                <a:gd name="connsiteX0" fmla="*/ 0 w 2394857"/>
                <a:gd name="connsiteY0" fmla="*/ 1291771 h 1291771"/>
                <a:gd name="connsiteX1" fmla="*/ 870857 w 2394857"/>
                <a:gd name="connsiteY1" fmla="*/ 1132114 h 1291771"/>
                <a:gd name="connsiteX2" fmla="*/ 1538514 w 2394857"/>
                <a:gd name="connsiteY2" fmla="*/ 478971 h 1291771"/>
                <a:gd name="connsiteX3" fmla="*/ 1915885 w 2394857"/>
                <a:gd name="connsiteY3" fmla="*/ 145143 h 1291771"/>
                <a:gd name="connsiteX4" fmla="*/ 2394857 w 2394857"/>
                <a:gd name="connsiteY4" fmla="*/ 0 h 1291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4857" h="1291771">
                  <a:moveTo>
                    <a:pt x="0" y="1291771"/>
                  </a:moveTo>
                  <a:cubicBezTo>
                    <a:pt x="307219" y="1279676"/>
                    <a:pt x="614438" y="1267581"/>
                    <a:pt x="870857" y="1132114"/>
                  </a:cubicBezTo>
                  <a:cubicBezTo>
                    <a:pt x="1127276" y="996647"/>
                    <a:pt x="1364343" y="643466"/>
                    <a:pt x="1538514" y="478971"/>
                  </a:cubicBezTo>
                  <a:cubicBezTo>
                    <a:pt x="1712685" y="314476"/>
                    <a:pt x="1773161" y="224971"/>
                    <a:pt x="1915885" y="145143"/>
                  </a:cubicBezTo>
                  <a:cubicBezTo>
                    <a:pt x="2058609" y="65315"/>
                    <a:pt x="2226733" y="32657"/>
                    <a:pt x="2394857" y="0"/>
                  </a:cubicBezTo>
                </a:path>
              </a:pathLst>
            </a:custGeom>
            <a:noFill/>
            <a:ln>
              <a:solidFill>
                <a:srgbClr val="EDA13E"/>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reihandform: Form 50">
              <a:extLst>
                <a:ext uri="{FF2B5EF4-FFF2-40B4-BE49-F238E27FC236}">
                  <a16:creationId xmlns:a16="http://schemas.microsoft.com/office/drawing/2014/main" id="{E1A9B09F-A912-1FB7-63D4-2E7E96CC56E2}"/>
                </a:ext>
              </a:extLst>
            </p:cNvPr>
            <p:cNvSpPr/>
            <p:nvPr/>
          </p:nvSpPr>
          <p:spPr>
            <a:xfrm>
              <a:off x="3889569" y="2025872"/>
              <a:ext cx="2394857" cy="1291771"/>
            </a:xfrm>
            <a:custGeom>
              <a:avLst/>
              <a:gdLst>
                <a:gd name="connsiteX0" fmla="*/ 0 w 2394857"/>
                <a:gd name="connsiteY0" fmla="*/ 1291771 h 1291771"/>
                <a:gd name="connsiteX1" fmla="*/ 870857 w 2394857"/>
                <a:gd name="connsiteY1" fmla="*/ 1132114 h 1291771"/>
                <a:gd name="connsiteX2" fmla="*/ 1538514 w 2394857"/>
                <a:gd name="connsiteY2" fmla="*/ 478971 h 1291771"/>
                <a:gd name="connsiteX3" fmla="*/ 1915885 w 2394857"/>
                <a:gd name="connsiteY3" fmla="*/ 145143 h 1291771"/>
                <a:gd name="connsiteX4" fmla="*/ 2394857 w 2394857"/>
                <a:gd name="connsiteY4" fmla="*/ 0 h 1291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4857" h="1291771">
                  <a:moveTo>
                    <a:pt x="0" y="1291771"/>
                  </a:moveTo>
                  <a:cubicBezTo>
                    <a:pt x="307219" y="1279676"/>
                    <a:pt x="614438" y="1267581"/>
                    <a:pt x="870857" y="1132114"/>
                  </a:cubicBezTo>
                  <a:cubicBezTo>
                    <a:pt x="1127276" y="996647"/>
                    <a:pt x="1364343" y="643466"/>
                    <a:pt x="1538514" y="478971"/>
                  </a:cubicBezTo>
                  <a:cubicBezTo>
                    <a:pt x="1712685" y="314476"/>
                    <a:pt x="1773161" y="224971"/>
                    <a:pt x="1915885" y="145143"/>
                  </a:cubicBezTo>
                  <a:cubicBezTo>
                    <a:pt x="2058609" y="65315"/>
                    <a:pt x="2226733" y="32657"/>
                    <a:pt x="2394857" y="0"/>
                  </a:cubicBezTo>
                </a:path>
              </a:pathLst>
            </a:custGeom>
            <a:noFill/>
            <a:ln>
              <a:solidFill>
                <a:srgbClr val="B41F7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2" name="Ellipse 51">
            <a:extLst>
              <a:ext uri="{FF2B5EF4-FFF2-40B4-BE49-F238E27FC236}">
                <a16:creationId xmlns:a16="http://schemas.microsoft.com/office/drawing/2014/main" id="{1EDC401A-643C-1B36-A56B-FA37256CB8E2}"/>
              </a:ext>
            </a:extLst>
          </p:cNvPr>
          <p:cNvSpPr/>
          <p:nvPr/>
        </p:nvSpPr>
        <p:spPr>
          <a:xfrm>
            <a:off x="5454040" y="3229281"/>
            <a:ext cx="290286" cy="278763"/>
          </a:xfrm>
          <a:prstGeom prst="ellipse">
            <a:avLst/>
          </a:prstGeom>
          <a:solidFill>
            <a:srgbClr val="B41F7A"/>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Textfeld 52">
            <a:extLst>
              <a:ext uri="{FF2B5EF4-FFF2-40B4-BE49-F238E27FC236}">
                <a16:creationId xmlns:a16="http://schemas.microsoft.com/office/drawing/2014/main" id="{3603FB90-32D4-B21E-5023-1079DB87F823}"/>
              </a:ext>
            </a:extLst>
          </p:cNvPr>
          <p:cNvSpPr txBox="1"/>
          <p:nvPr/>
        </p:nvSpPr>
        <p:spPr>
          <a:xfrm>
            <a:off x="4469938" y="3534347"/>
            <a:ext cx="1304844" cy="584775"/>
          </a:xfrm>
          <a:prstGeom prst="rect">
            <a:avLst/>
          </a:prstGeom>
          <a:noFill/>
        </p:spPr>
        <p:txBody>
          <a:bodyPr wrap="none" rtlCol="0">
            <a:spAutoFit/>
          </a:bodyPr>
          <a:lstStyle/>
          <a:p>
            <a:r>
              <a:rPr lang="en-GB" sz="1600" b="1">
                <a:solidFill>
                  <a:srgbClr val="B41F7A"/>
                </a:solidFill>
              </a:rPr>
              <a:t>Potencial </a:t>
            </a:r>
            <a:br>
              <a:rPr lang="en-GB" sz="1600" b="1">
                <a:solidFill>
                  <a:srgbClr val="B41F7A"/>
                </a:solidFill>
              </a:rPr>
            </a:br>
            <a:r>
              <a:rPr lang="en-GB" sz="1600" b="1">
                <a:solidFill>
                  <a:srgbClr val="B41F7A"/>
                </a:solidFill>
              </a:rPr>
              <a:t>punto de inflexión</a:t>
            </a:r>
          </a:p>
        </p:txBody>
      </p:sp>
      <p:sp>
        <p:nvSpPr>
          <p:cNvPr id="34" name="Ellipse 39">
            <a:extLst>
              <a:ext uri="{FF2B5EF4-FFF2-40B4-BE49-F238E27FC236}">
                <a16:creationId xmlns:a16="http://schemas.microsoft.com/office/drawing/2014/main" id="{61CBECB5-793A-4233-39FD-C418325CBDCD}"/>
              </a:ext>
            </a:extLst>
          </p:cNvPr>
          <p:cNvSpPr/>
          <p:nvPr/>
        </p:nvSpPr>
        <p:spPr>
          <a:xfrm>
            <a:off x="6989898" y="4210447"/>
            <a:ext cx="290286" cy="278763"/>
          </a:xfrm>
          <a:prstGeom prst="ellipse">
            <a:avLst/>
          </a:prstGeom>
          <a:solidFill>
            <a:srgbClr val="F16924"/>
          </a:solidFill>
          <a:ln>
            <a:solidFill>
              <a:srgbClr val="BBC6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Ellipse 46">
            <a:extLst>
              <a:ext uri="{FF2B5EF4-FFF2-40B4-BE49-F238E27FC236}">
                <a16:creationId xmlns:a16="http://schemas.microsoft.com/office/drawing/2014/main" id="{6C6C4E7D-C741-27D5-3BD6-A9853B015324}"/>
              </a:ext>
            </a:extLst>
          </p:cNvPr>
          <p:cNvSpPr/>
          <p:nvPr/>
        </p:nvSpPr>
        <p:spPr>
          <a:xfrm>
            <a:off x="8709568" y="4861009"/>
            <a:ext cx="290286" cy="278763"/>
          </a:xfrm>
          <a:prstGeom prst="ellipse">
            <a:avLst/>
          </a:prstGeom>
          <a:solidFill>
            <a:srgbClr val="EDA13E"/>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51410079"/>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hevron 4">
            <a:extLst>
              <a:ext uri="{FF2B5EF4-FFF2-40B4-BE49-F238E27FC236}">
                <a16:creationId xmlns:a16="http://schemas.microsoft.com/office/drawing/2014/main" id="{FB29BF5D-2A26-28A8-EE6A-F9C95A59CE56}"/>
              </a:ext>
            </a:extLst>
          </p:cNvPr>
          <p:cNvSpPr/>
          <p:nvPr/>
        </p:nvSpPr>
        <p:spPr>
          <a:xfrm>
            <a:off x="6543744" y="2788364"/>
            <a:ext cx="1405522" cy="570875"/>
          </a:xfrm>
          <a:prstGeom prst="chevron">
            <a:avLst>
              <a:gd name="adj" fmla="val 21186"/>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a:solidFill>
                <a:schemeClr val="tx1"/>
              </a:solidFill>
              <a:latin typeface="+mj-lt"/>
            </a:endParaRPr>
          </a:p>
        </p:txBody>
      </p:sp>
      <p:sp>
        <p:nvSpPr>
          <p:cNvPr id="7" name="Rectangle 6">
            <a:extLst>
              <a:ext uri="{FF2B5EF4-FFF2-40B4-BE49-F238E27FC236}">
                <a16:creationId xmlns:a16="http://schemas.microsoft.com/office/drawing/2014/main" id="{3323A4DB-7F88-AC4C-C90A-89E0C45AA389}"/>
              </a:ext>
            </a:extLst>
          </p:cNvPr>
          <p:cNvSpPr/>
          <p:nvPr/>
        </p:nvSpPr>
        <p:spPr>
          <a:xfrm>
            <a:off x="0" y="0"/>
            <a:ext cx="3574870"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
            <a:extLst>
              <a:ext uri="{FF2B5EF4-FFF2-40B4-BE49-F238E27FC236}">
                <a16:creationId xmlns:a16="http://schemas.microsoft.com/office/drawing/2014/main" id="{42827465-282D-5466-F926-96B79BD4A917}"/>
              </a:ext>
            </a:extLst>
          </p:cNvPr>
          <p:cNvSpPr txBox="1"/>
          <p:nvPr/>
        </p:nvSpPr>
        <p:spPr>
          <a:xfrm>
            <a:off x="289303" y="2255594"/>
            <a:ext cx="2879792" cy="4086293"/>
          </a:xfrm>
          <a:prstGeom prst="rect">
            <a:avLst/>
          </a:prstGeom>
        </p:spPr>
        <p:txBody>
          <a:bodyPr vert="horz" lIns="91440" tIns="45720" rIns="91440" bIns="45720"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lnSpc>
                <a:spcPct val="110000"/>
              </a:lnSpc>
            </a:pPr>
            <a:r>
              <a:rPr lang="en-US">
                <a:solidFill>
                  <a:schemeClr val="bg1"/>
                </a:solidFill>
              </a:rPr>
              <a:t>Las crisis empresariales suelen seguir un curso típico. En la práctica, las fases individuales pueden tener una duración variable y a veces se salta una fase.  Por regla general, cuanto más avanzada está la crisis, más difícil y costosa es su resolución. Más adelante en este módulo trataremos en detalle las distintas fases. </a:t>
            </a:r>
          </a:p>
        </p:txBody>
      </p:sp>
      <p:sp>
        <p:nvSpPr>
          <p:cNvPr id="9" name="Textplatzhalter 32">
            <a:extLst>
              <a:ext uri="{FF2B5EF4-FFF2-40B4-BE49-F238E27FC236}">
                <a16:creationId xmlns:a16="http://schemas.microsoft.com/office/drawing/2014/main" id="{5CBE511A-F4D6-B3A5-F660-D9F55A254950}"/>
              </a:ext>
            </a:extLst>
          </p:cNvPr>
          <p:cNvSpPr txBox="1"/>
          <p:nvPr/>
        </p:nvSpPr>
        <p:spPr>
          <a:xfrm>
            <a:off x="392411" y="420981"/>
            <a:ext cx="3025497" cy="207916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620"/>
              </a:lnSpc>
            </a:pPr>
            <a:r>
              <a:rPr lang="en-GB">
                <a:solidFill>
                  <a:schemeClr val="bg1"/>
                </a:solidFill>
              </a:rPr>
              <a:t>El curso típico de una crisis</a:t>
            </a:r>
          </a:p>
        </p:txBody>
      </p:sp>
      <p:sp>
        <p:nvSpPr>
          <p:cNvPr id="10" name="Rectangle 9">
            <a:extLst>
              <a:ext uri="{FF2B5EF4-FFF2-40B4-BE49-F238E27FC236}">
                <a16:creationId xmlns:a16="http://schemas.microsoft.com/office/drawing/2014/main" id="{DD339FC5-084D-762A-9702-1BB75BB51892}"/>
              </a:ext>
            </a:extLst>
          </p:cNvPr>
          <p:cNvSpPr/>
          <p:nvPr/>
        </p:nvSpPr>
        <p:spPr>
          <a:xfrm>
            <a:off x="360441" y="207113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a:latin typeface="Calibri Light" panose="020F0302020204030204" pitchFamily="34" charset="0"/>
              <a:ea typeface="+mj-ea"/>
              <a:cs typeface="+mj-cs"/>
              <a:sym typeface="Calibri Light" panose="020F0302020204030204" pitchFamily="34" charset="0"/>
            </a:endParaRPr>
          </a:p>
        </p:txBody>
      </p:sp>
      <p:sp>
        <p:nvSpPr>
          <p:cNvPr id="5" name="Freihandform: Form 4">
            <a:extLst>
              <a:ext uri="{FF2B5EF4-FFF2-40B4-BE49-F238E27FC236}">
                <a16:creationId xmlns:a16="http://schemas.microsoft.com/office/drawing/2014/main" id="{E1EC4A4C-71D2-470B-A720-47A1704FA9B0}"/>
              </a:ext>
            </a:extLst>
          </p:cNvPr>
          <p:cNvSpPr/>
          <p:nvPr/>
        </p:nvSpPr>
        <p:spPr>
          <a:xfrm>
            <a:off x="4685114" y="1017921"/>
            <a:ext cx="6410160" cy="3840370"/>
          </a:xfrm>
          <a:custGeom>
            <a:avLst/>
            <a:gdLst>
              <a:gd name="connsiteX0" fmla="*/ 0 w 7916092"/>
              <a:gd name="connsiteY0" fmla="*/ 3236 h 3582458"/>
              <a:gd name="connsiteX1" fmla="*/ 1010194 w 7916092"/>
              <a:gd name="connsiteY1" fmla="*/ 38070 h 3582458"/>
              <a:gd name="connsiteX2" fmla="*/ 2403566 w 7916092"/>
              <a:gd name="connsiteY2" fmla="*/ 273201 h 3582458"/>
              <a:gd name="connsiteX3" fmla="*/ 3500846 w 7916092"/>
              <a:gd name="connsiteY3" fmla="*/ 595418 h 3582458"/>
              <a:gd name="connsiteX4" fmla="*/ 4781006 w 7916092"/>
              <a:gd name="connsiteY4" fmla="*/ 1083098 h 3582458"/>
              <a:gd name="connsiteX5" fmla="*/ 6165669 w 7916092"/>
              <a:gd name="connsiteY5" fmla="*/ 1901704 h 3582458"/>
              <a:gd name="connsiteX6" fmla="*/ 7916092 w 7916092"/>
              <a:gd name="connsiteY6" fmla="*/ 3582458 h 358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6091" h="3582458">
                <a:moveTo>
                  <a:pt x="0" y="3236"/>
                </a:moveTo>
                <a:cubicBezTo>
                  <a:pt x="304800" y="-1844"/>
                  <a:pt x="609600" y="-6924"/>
                  <a:pt x="1010194" y="38070"/>
                </a:cubicBezTo>
                <a:cubicBezTo>
                  <a:pt x="1410788" y="83064"/>
                  <a:pt x="1988457" y="180310"/>
                  <a:pt x="2403566" y="273201"/>
                </a:cubicBezTo>
                <a:cubicBezTo>
                  <a:pt x="2818675" y="366092"/>
                  <a:pt x="3104606" y="460435"/>
                  <a:pt x="3500846" y="595418"/>
                </a:cubicBezTo>
                <a:cubicBezTo>
                  <a:pt x="3897086" y="730401"/>
                  <a:pt x="4336869" y="865384"/>
                  <a:pt x="4781006" y="1083098"/>
                </a:cubicBezTo>
                <a:cubicBezTo>
                  <a:pt x="5225143" y="1300812"/>
                  <a:pt x="5643155" y="1485144"/>
                  <a:pt x="6165669" y="1901704"/>
                </a:cubicBezTo>
                <a:cubicBezTo>
                  <a:pt x="6688183" y="2318264"/>
                  <a:pt x="7302137" y="2950361"/>
                  <a:pt x="7916092" y="3582458"/>
                </a:cubicBezTo>
              </a:path>
            </a:pathLst>
          </a:custGeom>
          <a:noFill/>
          <a:ln w="38100">
            <a:solidFill>
              <a:srgbClr val="EC21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Chevron 1">
            <a:extLst>
              <a:ext uri="{FF2B5EF4-FFF2-40B4-BE49-F238E27FC236}">
                <a16:creationId xmlns:a16="http://schemas.microsoft.com/office/drawing/2014/main" id="{71C54E72-C868-45B8-949B-BDF77D73CD9E}"/>
              </a:ext>
            </a:extLst>
          </p:cNvPr>
          <p:cNvSpPr/>
          <p:nvPr/>
        </p:nvSpPr>
        <p:spPr>
          <a:xfrm>
            <a:off x="3620875" y="2791617"/>
            <a:ext cx="1430861" cy="570875"/>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a:solidFill>
                <a:schemeClr val="tx1"/>
              </a:solidFill>
              <a:latin typeface="+mj-lt"/>
            </a:endParaRPr>
          </a:p>
        </p:txBody>
      </p:sp>
      <p:sp>
        <p:nvSpPr>
          <p:cNvPr id="29" name="Chevron 2">
            <a:extLst>
              <a:ext uri="{FF2B5EF4-FFF2-40B4-BE49-F238E27FC236}">
                <a16:creationId xmlns:a16="http://schemas.microsoft.com/office/drawing/2014/main" id="{0472DFC4-E048-4156-BC78-0C783B7C5A6A}"/>
              </a:ext>
            </a:extLst>
          </p:cNvPr>
          <p:cNvSpPr/>
          <p:nvPr/>
        </p:nvSpPr>
        <p:spPr>
          <a:xfrm>
            <a:off x="5040982" y="2788364"/>
            <a:ext cx="1532910" cy="570875"/>
          </a:xfrm>
          <a:prstGeom prst="chevron">
            <a:avLst>
              <a:gd name="adj" fmla="val 21186"/>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a:solidFill>
                <a:schemeClr val="tx1"/>
              </a:solidFill>
              <a:latin typeface="+mj-lt"/>
            </a:endParaRPr>
          </a:p>
        </p:txBody>
      </p:sp>
      <p:sp>
        <p:nvSpPr>
          <p:cNvPr id="31" name="Chevron 4">
            <a:extLst>
              <a:ext uri="{FF2B5EF4-FFF2-40B4-BE49-F238E27FC236}">
                <a16:creationId xmlns:a16="http://schemas.microsoft.com/office/drawing/2014/main" id="{5F9281A0-5EDF-4FDA-8B8E-C28BC44AE788}"/>
              </a:ext>
            </a:extLst>
          </p:cNvPr>
          <p:cNvSpPr/>
          <p:nvPr/>
        </p:nvSpPr>
        <p:spPr>
          <a:xfrm>
            <a:off x="8010219" y="2788364"/>
            <a:ext cx="1405522" cy="570875"/>
          </a:xfrm>
          <a:prstGeom prst="chevron">
            <a:avLst>
              <a:gd name="adj" fmla="val 21186"/>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a:solidFill>
                <a:schemeClr val="tx1"/>
              </a:solidFill>
              <a:latin typeface="+mj-lt"/>
            </a:endParaRPr>
          </a:p>
        </p:txBody>
      </p:sp>
      <p:sp>
        <p:nvSpPr>
          <p:cNvPr id="32" name="Chevron 5">
            <a:extLst>
              <a:ext uri="{FF2B5EF4-FFF2-40B4-BE49-F238E27FC236}">
                <a16:creationId xmlns:a16="http://schemas.microsoft.com/office/drawing/2014/main" id="{24A78DDF-FA2D-4CD7-94EB-AFD2A81D7A1F}"/>
              </a:ext>
            </a:extLst>
          </p:cNvPr>
          <p:cNvSpPr/>
          <p:nvPr/>
        </p:nvSpPr>
        <p:spPr>
          <a:xfrm>
            <a:off x="9601575" y="2788385"/>
            <a:ext cx="1171798" cy="570875"/>
          </a:xfrm>
          <a:prstGeom prst="chevron">
            <a:avLst>
              <a:gd name="adj" fmla="val 21186"/>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a:solidFill>
                <a:schemeClr val="tx1"/>
              </a:solidFill>
              <a:latin typeface="+mj-lt"/>
            </a:endParaRPr>
          </a:p>
        </p:txBody>
      </p:sp>
      <p:sp>
        <p:nvSpPr>
          <p:cNvPr id="33" name="TextBox 14">
            <a:extLst>
              <a:ext uri="{FF2B5EF4-FFF2-40B4-BE49-F238E27FC236}">
                <a16:creationId xmlns:a16="http://schemas.microsoft.com/office/drawing/2014/main" id="{B94D7029-D2DD-488F-8259-9736B62A033E}"/>
              </a:ext>
            </a:extLst>
          </p:cNvPr>
          <p:cNvSpPr txBox="1"/>
          <p:nvPr/>
        </p:nvSpPr>
        <p:spPr>
          <a:xfrm>
            <a:off x="3714907" y="2822001"/>
            <a:ext cx="1326012" cy="505523"/>
          </a:xfrm>
          <a:prstGeom prst="rect">
            <a:avLst/>
          </a:prstGeom>
          <a:noFill/>
        </p:spPr>
        <p:txBody>
          <a:bodyPr wrap="square" rtlCol="0" anchor="ctr" anchorCtr="0">
            <a:spAutoFit/>
          </a:bodyPr>
          <a:lstStyle/>
          <a:p>
            <a:pPr>
              <a:lnSpc>
                <a:spcPts val="1620"/>
              </a:lnSpc>
            </a:pPr>
            <a:r>
              <a:rPr lang="en-GB" sz="1600" b="1">
                <a:solidFill>
                  <a:schemeClr val="bg1"/>
                </a:solidFill>
                <a:latin typeface="+mj-lt"/>
                <a:ea typeface="League Spartan" charset="0"/>
                <a:cs typeface="Poppins" pitchFamily="2" charset="77"/>
              </a:rPr>
              <a:t>Crisis de las partes interesadas</a:t>
            </a:r>
          </a:p>
        </p:txBody>
      </p:sp>
      <p:sp>
        <p:nvSpPr>
          <p:cNvPr id="34" name="TextBox 15">
            <a:extLst>
              <a:ext uri="{FF2B5EF4-FFF2-40B4-BE49-F238E27FC236}">
                <a16:creationId xmlns:a16="http://schemas.microsoft.com/office/drawing/2014/main" id="{08CCDFD3-8A36-4683-8CC7-0BCDC7269412}"/>
              </a:ext>
            </a:extLst>
          </p:cNvPr>
          <p:cNvSpPr txBox="1"/>
          <p:nvPr/>
        </p:nvSpPr>
        <p:spPr>
          <a:xfrm>
            <a:off x="5158912" y="2941770"/>
            <a:ext cx="1499829" cy="300339"/>
          </a:xfrm>
          <a:prstGeom prst="rect">
            <a:avLst/>
          </a:prstGeom>
          <a:noFill/>
        </p:spPr>
        <p:txBody>
          <a:bodyPr wrap="square" rtlCol="0" anchor="ctr" anchorCtr="0">
            <a:spAutoFit/>
          </a:bodyPr>
          <a:lstStyle/>
          <a:p>
            <a:pPr>
              <a:lnSpc>
                <a:spcPts val="1620"/>
              </a:lnSpc>
            </a:pPr>
            <a:r>
              <a:rPr lang="en-GB" sz="1600" b="1">
                <a:solidFill>
                  <a:schemeClr val="bg1"/>
                </a:solidFill>
                <a:latin typeface="+mj-lt"/>
                <a:ea typeface="League Spartan" charset="0"/>
                <a:cs typeface="Poppins" pitchFamily="2" charset="77"/>
              </a:rPr>
              <a:t>Estrategia de crisis</a:t>
            </a:r>
          </a:p>
        </p:txBody>
      </p:sp>
      <p:sp>
        <p:nvSpPr>
          <p:cNvPr id="36" name="TextBox 16">
            <a:extLst>
              <a:ext uri="{FF2B5EF4-FFF2-40B4-BE49-F238E27FC236}">
                <a16:creationId xmlns:a16="http://schemas.microsoft.com/office/drawing/2014/main" id="{5362C0FD-94DC-4DF8-B5AA-07241BFC043C}"/>
              </a:ext>
            </a:extLst>
          </p:cNvPr>
          <p:cNvSpPr txBox="1"/>
          <p:nvPr/>
        </p:nvSpPr>
        <p:spPr>
          <a:xfrm>
            <a:off x="6696390" y="2829716"/>
            <a:ext cx="1235792" cy="505523"/>
          </a:xfrm>
          <a:prstGeom prst="rect">
            <a:avLst/>
          </a:prstGeom>
          <a:noFill/>
        </p:spPr>
        <p:txBody>
          <a:bodyPr wrap="square" rtlCol="0" anchor="ctr" anchorCtr="0">
            <a:spAutoFit/>
          </a:bodyPr>
          <a:lstStyle/>
          <a:p>
            <a:pPr>
              <a:lnSpc>
                <a:spcPts val="1620"/>
              </a:lnSpc>
            </a:pPr>
            <a:r>
              <a:rPr lang="en-GB" sz="1600" b="1">
                <a:solidFill>
                  <a:schemeClr val="bg1"/>
                </a:solidFill>
                <a:latin typeface="+mj-lt"/>
                <a:ea typeface="League Spartan" charset="0"/>
                <a:cs typeface="Poppins" pitchFamily="2" charset="77"/>
              </a:rPr>
              <a:t>Producto / Crisis de ventas</a:t>
            </a:r>
          </a:p>
        </p:txBody>
      </p:sp>
      <p:sp>
        <p:nvSpPr>
          <p:cNvPr id="37" name="TextBox 17">
            <a:extLst>
              <a:ext uri="{FF2B5EF4-FFF2-40B4-BE49-F238E27FC236}">
                <a16:creationId xmlns:a16="http://schemas.microsoft.com/office/drawing/2014/main" id="{FD928C53-65AA-4012-878C-5ACFF4690233}"/>
              </a:ext>
            </a:extLst>
          </p:cNvPr>
          <p:cNvSpPr txBox="1"/>
          <p:nvPr/>
        </p:nvSpPr>
        <p:spPr>
          <a:xfrm>
            <a:off x="8292504" y="2814318"/>
            <a:ext cx="956086" cy="505523"/>
          </a:xfrm>
          <a:prstGeom prst="rect">
            <a:avLst/>
          </a:prstGeom>
          <a:noFill/>
        </p:spPr>
        <p:txBody>
          <a:bodyPr wrap="square" rtlCol="0" anchor="ctr" anchorCtr="0">
            <a:spAutoFit/>
          </a:bodyPr>
          <a:lstStyle/>
          <a:p>
            <a:pPr>
              <a:lnSpc>
                <a:spcPts val="1620"/>
              </a:lnSpc>
            </a:pPr>
            <a:r>
              <a:rPr lang="en-GB" sz="1600" b="1">
                <a:solidFill>
                  <a:schemeClr val="bg1"/>
                </a:solidFill>
                <a:latin typeface="+mj-lt"/>
                <a:ea typeface="League Spartan" charset="0"/>
                <a:cs typeface="Poppins" pitchFamily="2" charset="77"/>
              </a:rPr>
              <a:t>Crisis de ingresos</a:t>
            </a:r>
          </a:p>
        </p:txBody>
      </p:sp>
      <p:sp>
        <p:nvSpPr>
          <p:cNvPr id="38" name="TextBox 18">
            <a:extLst>
              <a:ext uri="{FF2B5EF4-FFF2-40B4-BE49-F238E27FC236}">
                <a16:creationId xmlns:a16="http://schemas.microsoft.com/office/drawing/2014/main" id="{AD22DD85-8600-4DF2-B57D-D0E8F8C4397F}"/>
              </a:ext>
            </a:extLst>
          </p:cNvPr>
          <p:cNvSpPr txBox="1"/>
          <p:nvPr/>
        </p:nvSpPr>
        <p:spPr>
          <a:xfrm>
            <a:off x="9753821" y="2823627"/>
            <a:ext cx="1072733" cy="505523"/>
          </a:xfrm>
          <a:prstGeom prst="rect">
            <a:avLst/>
          </a:prstGeom>
          <a:noFill/>
        </p:spPr>
        <p:txBody>
          <a:bodyPr wrap="square" rtlCol="0" anchor="ctr" anchorCtr="0">
            <a:spAutoFit/>
          </a:bodyPr>
          <a:lstStyle/>
          <a:p>
            <a:pPr>
              <a:lnSpc>
                <a:spcPts val="1620"/>
              </a:lnSpc>
            </a:pPr>
            <a:r>
              <a:rPr lang="en-GB" sz="1600" b="1">
                <a:solidFill>
                  <a:schemeClr val="bg1"/>
                </a:solidFill>
                <a:latin typeface="+mj-lt"/>
                <a:ea typeface="League Spartan" charset="0"/>
                <a:cs typeface="Poppins" pitchFamily="2" charset="77"/>
              </a:rPr>
              <a:t>Crisis de liquidez</a:t>
            </a:r>
          </a:p>
        </p:txBody>
      </p:sp>
      <p:sp>
        <p:nvSpPr>
          <p:cNvPr id="94" name="Chevron 5">
            <a:extLst>
              <a:ext uri="{FF2B5EF4-FFF2-40B4-BE49-F238E27FC236}">
                <a16:creationId xmlns:a16="http://schemas.microsoft.com/office/drawing/2014/main" id="{F33C78D5-AC66-4086-A1FA-413217D9804A}"/>
              </a:ext>
            </a:extLst>
          </p:cNvPr>
          <p:cNvSpPr/>
          <p:nvPr/>
        </p:nvSpPr>
        <p:spPr>
          <a:xfrm>
            <a:off x="10887507" y="2792385"/>
            <a:ext cx="1171798" cy="570875"/>
          </a:xfrm>
          <a:prstGeom prst="chevron">
            <a:avLst>
              <a:gd name="adj" fmla="val 21186"/>
            </a:avLst>
          </a:prstGeom>
          <a:solidFill>
            <a:srgbClr val="EDA13E">
              <a:alpha val="7372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a:solidFill>
                <a:schemeClr val="tx1"/>
              </a:solidFill>
              <a:latin typeface="+mj-lt"/>
            </a:endParaRPr>
          </a:p>
        </p:txBody>
      </p:sp>
      <p:sp>
        <p:nvSpPr>
          <p:cNvPr id="95" name="TextBox 18">
            <a:extLst>
              <a:ext uri="{FF2B5EF4-FFF2-40B4-BE49-F238E27FC236}">
                <a16:creationId xmlns:a16="http://schemas.microsoft.com/office/drawing/2014/main" id="{6660D43C-EC14-49C7-B62E-8417A8F48B7A}"/>
              </a:ext>
            </a:extLst>
          </p:cNvPr>
          <p:cNvSpPr txBox="1"/>
          <p:nvPr/>
        </p:nvSpPr>
        <p:spPr>
          <a:xfrm>
            <a:off x="11017266" y="2927925"/>
            <a:ext cx="1051803" cy="300339"/>
          </a:xfrm>
          <a:prstGeom prst="rect">
            <a:avLst/>
          </a:prstGeom>
          <a:noFill/>
        </p:spPr>
        <p:txBody>
          <a:bodyPr wrap="square" rtlCol="0" anchor="ctr" anchorCtr="0">
            <a:spAutoFit/>
          </a:bodyPr>
          <a:lstStyle/>
          <a:p>
            <a:pPr>
              <a:lnSpc>
                <a:spcPts val="1620"/>
              </a:lnSpc>
            </a:pPr>
            <a:r>
              <a:rPr lang="en-GB" sz="1600" b="1">
                <a:solidFill>
                  <a:schemeClr val="bg1"/>
                </a:solidFill>
                <a:latin typeface="+mj-lt"/>
                <a:ea typeface="League Spartan" charset="0"/>
                <a:cs typeface="Poppins" pitchFamily="2" charset="77"/>
              </a:rPr>
              <a:t>Insolvencia</a:t>
            </a:r>
          </a:p>
        </p:txBody>
      </p:sp>
      <p:sp>
        <p:nvSpPr>
          <p:cNvPr id="6" name="Rechteck 5">
            <a:extLst>
              <a:ext uri="{FF2B5EF4-FFF2-40B4-BE49-F238E27FC236}">
                <a16:creationId xmlns:a16="http://schemas.microsoft.com/office/drawing/2014/main" id="{7E5B9861-52F0-4725-BFA9-9895CF3A593B}"/>
              </a:ext>
            </a:extLst>
          </p:cNvPr>
          <p:cNvSpPr/>
          <p:nvPr/>
        </p:nvSpPr>
        <p:spPr>
          <a:xfrm>
            <a:off x="3607827" y="3433440"/>
            <a:ext cx="1453094" cy="3170099"/>
          </a:xfrm>
          <a:prstGeom prst="rect">
            <a:avLst/>
          </a:prstGeom>
        </p:spPr>
        <p:txBody>
          <a:bodyPr wrap="square">
            <a:spAutoFit/>
          </a:bodyPr>
          <a:lstStyle/>
          <a:p>
            <a:pPr marL="177800" indent="-177800">
              <a:buClr>
                <a:srgbClr val="595959"/>
              </a:buClr>
              <a:buFont typeface="Arial" panose="020B0604020202020204" pitchFamily="34" charset="0"/>
              <a:buChar char="•"/>
            </a:pPr>
            <a:r>
              <a:rPr lang="en-GB" sz="1400">
                <a:solidFill>
                  <a:srgbClr val="595959"/>
                </a:solidFill>
              </a:rPr>
              <a:t>Sostenible </a:t>
            </a:r>
          </a:p>
          <a:p>
            <a:pPr marL="177800" indent="-177800">
              <a:buClr>
                <a:srgbClr val="595959"/>
              </a:buClr>
              <a:buFont typeface="Arial" panose="020B0604020202020204" pitchFamily="34" charset="0"/>
              <a:buChar char="•"/>
            </a:pPr>
            <a:r>
              <a:rPr lang="en-GB" sz="1400">
                <a:solidFill>
                  <a:srgbClr val="595959"/>
                </a:solidFill>
              </a:rPr>
              <a:t>conflictos a </a:t>
            </a:r>
            <a:br>
              <a:rPr lang="en-GB" sz="1400">
                <a:solidFill>
                  <a:srgbClr val="595959"/>
                </a:solidFill>
              </a:rPr>
            </a:br>
            <a:r>
              <a:rPr lang="en-GB" sz="1400">
                <a:solidFill>
                  <a:srgbClr val="595959"/>
                </a:solidFill>
              </a:rPr>
              <a:t>de las partes interesadas: </a:t>
            </a:r>
            <a:r>
              <a:rPr lang="en-GB" sz="1400">
                <a:solidFill>
                  <a:srgbClr val="595959"/>
                </a:solidFill>
                <a:ea typeface="Lato Light" panose="020F0502020204030203" pitchFamily="34" charset="0"/>
                <a:cs typeface="Mukta ExtraLight" panose="020B0000000000000000" pitchFamily="34" charset="77"/>
              </a:rPr>
              <a:t>Bloqueo de </a:t>
            </a:r>
          </a:p>
          <a:p>
            <a:pPr marL="177800" indent="-177800">
              <a:buClr>
                <a:srgbClr val="595959"/>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decisiones esenciales</a:t>
            </a:r>
          </a:p>
          <a:p>
            <a:pPr marL="177800" indent="-177800">
              <a:buClr>
                <a:srgbClr val="595959"/>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Aceptación de la evolución negativa</a:t>
            </a:r>
          </a:p>
          <a:p>
            <a:pPr marL="177800" indent="-177800">
              <a:buClr>
                <a:srgbClr val="595959"/>
              </a:buClr>
              <a:buFont typeface="Arial" panose="020B0604020202020204" pitchFamily="34" charset="0"/>
              <a:buChar char="•"/>
            </a:pPr>
            <a:endParaRPr lang="en-GB" sz="1500">
              <a:solidFill>
                <a:srgbClr val="595959"/>
              </a:solidFill>
              <a:ea typeface="Lato Light" panose="020F0502020204030203" pitchFamily="34" charset="0"/>
              <a:cs typeface="Mukta ExtraLight" panose="020B0000000000000000" pitchFamily="34" charset="77"/>
            </a:endParaRPr>
          </a:p>
          <a:p>
            <a:pPr marL="177800" indent="-177800">
              <a:buClr>
                <a:srgbClr val="595959"/>
              </a:buClr>
              <a:buFont typeface="Arial" panose="020B0604020202020204" pitchFamily="34" charset="0"/>
              <a:buChar char="•"/>
            </a:pPr>
            <a:endParaRPr lang="en-GB" sz="1500">
              <a:solidFill>
                <a:srgbClr val="595959"/>
              </a:solidFill>
            </a:endParaRPr>
          </a:p>
          <a:p>
            <a:pPr marL="177800" indent="-177800">
              <a:lnSpc>
                <a:spcPct val="100000"/>
              </a:lnSpc>
              <a:spcBef>
                <a:spcPct val="0"/>
              </a:spcBef>
              <a:buClr>
                <a:srgbClr val="595959"/>
              </a:buClr>
              <a:buFont typeface="Arial" panose="020B0604020202020204" pitchFamily="34" charset="0"/>
              <a:buChar char="•"/>
            </a:pPr>
            <a:endParaRPr lang="en-GB" sz="1500">
              <a:solidFill>
                <a:srgbClr val="595959"/>
              </a:solidFill>
              <a:ea typeface="Lato Light" panose="020F0502020204030203" pitchFamily="34" charset="0"/>
              <a:cs typeface="Mukta ExtraLight" panose="020B0000000000000000" pitchFamily="34" charset="77"/>
            </a:endParaRPr>
          </a:p>
          <a:p>
            <a:pPr marL="177800" indent="-177800">
              <a:lnSpc>
                <a:spcPct val="100000"/>
              </a:lnSpc>
              <a:spcBef>
                <a:spcPct val="0"/>
              </a:spcBef>
              <a:buClr>
                <a:srgbClr val="595959"/>
              </a:buClr>
              <a:buFont typeface="Arial" panose="020B0604020202020204" pitchFamily="34" charset="0"/>
              <a:buChar char="•"/>
            </a:pPr>
            <a:endParaRPr lang="en-GB" sz="1500">
              <a:solidFill>
                <a:srgbClr val="595959"/>
              </a:solidFill>
              <a:ea typeface="Lato Light" panose="020F0502020204030203" pitchFamily="34" charset="0"/>
              <a:cs typeface="Mukta ExtraLight" panose="020B0000000000000000" pitchFamily="34" charset="77"/>
            </a:endParaRPr>
          </a:p>
        </p:txBody>
      </p:sp>
      <p:sp>
        <p:nvSpPr>
          <p:cNvPr id="100" name="Rechteck 99">
            <a:extLst>
              <a:ext uri="{FF2B5EF4-FFF2-40B4-BE49-F238E27FC236}">
                <a16:creationId xmlns:a16="http://schemas.microsoft.com/office/drawing/2014/main" id="{35295EFB-6AE9-446B-AEB3-62D499AE87A3}"/>
              </a:ext>
            </a:extLst>
          </p:cNvPr>
          <p:cNvSpPr/>
          <p:nvPr/>
        </p:nvSpPr>
        <p:spPr>
          <a:xfrm>
            <a:off x="4980032" y="3428124"/>
            <a:ext cx="1632188" cy="3339376"/>
          </a:xfrm>
          <a:prstGeom prst="rect">
            <a:avLst/>
          </a:prstGeom>
        </p:spPr>
        <p:txBody>
          <a:bodyPr wrap="square">
            <a:spAutoFit/>
          </a:bodyPr>
          <a:lstStyle/>
          <a:p>
            <a:pPr marL="177800" indent="-177800">
              <a:lnSpc>
                <a:spcPct val="100000"/>
              </a:lnSpc>
              <a:spcBef>
                <a:spcPct val="0"/>
              </a:spcBef>
              <a:buClr>
                <a:srgbClr val="7F1C58"/>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No hay una visión clara</a:t>
            </a:r>
          </a:p>
          <a:p>
            <a:pPr marL="177800" indent="-177800">
              <a:lnSpc>
                <a:spcPct val="100000"/>
              </a:lnSpc>
              <a:spcBef>
                <a:spcPct val="0"/>
              </a:spcBef>
              <a:buClr>
                <a:srgbClr val="7F1C58"/>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Orientación inadecuada al cliente</a:t>
            </a:r>
          </a:p>
          <a:p>
            <a:pPr marL="177800" indent="-177800">
              <a:lnSpc>
                <a:spcPct val="100000"/>
              </a:lnSpc>
              <a:spcBef>
                <a:spcPct val="0"/>
              </a:spcBef>
              <a:buClr>
                <a:srgbClr val="7F1C58"/>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Productos al vencimiento</a:t>
            </a:r>
          </a:p>
          <a:p>
            <a:pPr marL="177800" indent="-177800">
              <a:lnSpc>
                <a:spcPct val="100000"/>
              </a:lnSpc>
              <a:spcBef>
                <a:spcPct val="0"/>
              </a:spcBef>
              <a:buClr>
                <a:srgbClr val="7F1C58"/>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Desarrollos tecnológicos desaprovechados / integración vertical inadecuada</a:t>
            </a:r>
          </a:p>
          <a:p>
            <a:pPr marL="177800" indent="-177800">
              <a:lnSpc>
                <a:spcPct val="100000"/>
              </a:lnSpc>
              <a:spcBef>
                <a:spcPct val="0"/>
              </a:spcBef>
              <a:buClr>
                <a:srgbClr val="7F1C58"/>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La empresa sigue obteniendo beneficios</a:t>
            </a:r>
          </a:p>
          <a:p>
            <a:pPr marL="177800" indent="-177800">
              <a:lnSpc>
                <a:spcPct val="100000"/>
              </a:lnSpc>
              <a:spcBef>
                <a:spcPct val="0"/>
              </a:spcBef>
              <a:buClr>
                <a:srgbClr val="7F1C58"/>
              </a:buClr>
              <a:buFont typeface="Arial" panose="020B0604020202020204" pitchFamily="34" charset="0"/>
              <a:buChar char="•"/>
            </a:pPr>
            <a:endParaRPr lang="en-GB" sz="1500">
              <a:solidFill>
                <a:srgbClr val="595959"/>
              </a:solidFill>
              <a:ea typeface="Lato Light" panose="020F0502020204030203" pitchFamily="34" charset="0"/>
              <a:cs typeface="Mukta ExtraLight" panose="020B0000000000000000" pitchFamily="34" charset="77"/>
            </a:endParaRPr>
          </a:p>
        </p:txBody>
      </p:sp>
      <p:sp>
        <p:nvSpPr>
          <p:cNvPr id="101" name="Rechteck 100">
            <a:extLst>
              <a:ext uri="{FF2B5EF4-FFF2-40B4-BE49-F238E27FC236}">
                <a16:creationId xmlns:a16="http://schemas.microsoft.com/office/drawing/2014/main" id="{1D942A23-51BD-43BD-86AF-D85DCF0E24CB}"/>
              </a:ext>
            </a:extLst>
          </p:cNvPr>
          <p:cNvSpPr/>
          <p:nvPr/>
        </p:nvSpPr>
        <p:spPr>
          <a:xfrm>
            <a:off x="6479760" y="3461073"/>
            <a:ext cx="1632187" cy="2462213"/>
          </a:xfrm>
          <a:prstGeom prst="rect">
            <a:avLst/>
          </a:prstGeom>
        </p:spPr>
        <p:txBody>
          <a:bodyPr wrap="square">
            <a:spAutoFit/>
          </a:bodyPr>
          <a:lstStyle/>
          <a:p>
            <a:pPr marL="177800" indent="-177800">
              <a:lnSpc>
                <a:spcPct val="100000"/>
              </a:lnSpc>
              <a:spcBef>
                <a:spcPct val="0"/>
              </a:spcBef>
              <a:buClr>
                <a:srgbClr val="B41F7A"/>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Disminución de las ventas</a:t>
            </a:r>
          </a:p>
          <a:p>
            <a:pPr marL="177800" indent="-177800">
              <a:lnSpc>
                <a:spcPct val="100000"/>
              </a:lnSpc>
              <a:spcBef>
                <a:spcPct val="0"/>
              </a:spcBef>
              <a:buClr>
                <a:srgbClr val="B41F7A"/>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Presión sobre los precios y los márgenes</a:t>
            </a:r>
          </a:p>
          <a:p>
            <a:pPr marL="177800" indent="-177800">
              <a:lnSpc>
                <a:spcPct val="100000"/>
              </a:lnSpc>
              <a:spcBef>
                <a:spcPct val="0"/>
              </a:spcBef>
              <a:buClr>
                <a:srgbClr val="B41F7A"/>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Aumento de las existencias </a:t>
            </a:r>
          </a:p>
          <a:p>
            <a:pPr marL="177800" indent="-177800">
              <a:lnSpc>
                <a:spcPct val="100000"/>
              </a:lnSpc>
              <a:spcBef>
                <a:spcPct val="0"/>
              </a:spcBef>
              <a:buClr>
                <a:srgbClr val="B41F7A"/>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Capital inmovilizado</a:t>
            </a:r>
          </a:p>
          <a:p>
            <a:pPr marL="177800" indent="-177800">
              <a:lnSpc>
                <a:spcPct val="100000"/>
              </a:lnSpc>
              <a:spcBef>
                <a:spcPct val="0"/>
              </a:spcBef>
              <a:buClr>
                <a:srgbClr val="B41F7A"/>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Infrautilización de la capacidad</a:t>
            </a:r>
          </a:p>
          <a:p>
            <a:pPr marL="177800" indent="-177800">
              <a:lnSpc>
                <a:spcPct val="100000"/>
              </a:lnSpc>
              <a:spcBef>
                <a:spcPct val="0"/>
              </a:spcBef>
              <a:buClr>
                <a:srgbClr val="B41F7A"/>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Disminución de los beneficios si no se aplican contramedidas</a:t>
            </a:r>
          </a:p>
        </p:txBody>
      </p:sp>
      <p:sp>
        <p:nvSpPr>
          <p:cNvPr id="102" name="Rechteck 101">
            <a:extLst>
              <a:ext uri="{FF2B5EF4-FFF2-40B4-BE49-F238E27FC236}">
                <a16:creationId xmlns:a16="http://schemas.microsoft.com/office/drawing/2014/main" id="{D6342427-0503-43DB-8E05-B262B7CBECB5}"/>
              </a:ext>
            </a:extLst>
          </p:cNvPr>
          <p:cNvSpPr/>
          <p:nvPr/>
        </p:nvSpPr>
        <p:spPr>
          <a:xfrm>
            <a:off x="7962112" y="3448787"/>
            <a:ext cx="1504122" cy="2893100"/>
          </a:xfrm>
          <a:prstGeom prst="rect">
            <a:avLst/>
          </a:prstGeom>
        </p:spPr>
        <p:txBody>
          <a:bodyPr wrap="square">
            <a:spAutoFit/>
          </a:bodyPr>
          <a:lstStyle/>
          <a:p>
            <a:pPr marL="177800" indent="-177800">
              <a:lnSpc>
                <a:spcPct val="100000"/>
              </a:lnSpc>
              <a:spcBef>
                <a:spcPct val="0"/>
              </a:spcBef>
              <a:buClr>
                <a:srgbClr val="F16924"/>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Continúa el descenso de las ventas</a:t>
            </a:r>
          </a:p>
          <a:p>
            <a:pPr marL="177800" indent="-177800">
              <a:lnSpc>
                <a:spcPct val="100000"/>
              </a:lnSpc>
              <a:spcBef>
                <a:spcPct val="0"/>
              </a:spcBef>
              <a:buClr>
                <a:srgbClr val="F16924"/>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La empresa reacciona con una reducción de costes</a:t>
            </a:r>
          </a:p>
          <a:p>
            <a:pPr marL="177800" indent="-177800">
              <a:lnSpc>
                <a:spcPct val="100000"/>
              </a:lnSpc>
              <a:spcBef>
                <a:spcPct val="0"/>
              </a:spcBef>
              <a:buClr>
                <a:srgbClr val="F16924"/>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Disminución de los beneficios, pérdidas, disminución de los fondos propios</a:t>
            </a:r>
          </a:p>
          <a:p>
            <a:pPr marL="177800" indent="-177800">
              <a:lnSpc>
                <a:spcPct val="100000"/>
              </a:lnSpc>
              <a:spcBef>
                <a:spcPct val="0"/>
              </a:spcBef>
              <a:buClr>
                <a:srgbClr val="F16924"/>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La obtención de capital se hace más difícil (la calificación crediticia disminuye)</a:t>
            </a:r>
          </a:p>
        </p:txBody>
      </p:sp>
      <p:sp>
        <p:nvSpPr>
          <p:cNvPr id="103" name="Rechteck 102">
            <a:extLst>
              <a:ext uri="{FF2B5EF4-FFF2-40B4-BE49-F238E27FC236}">
                <a16:creationId xmlns:a16="http://schemas.microsoft.com/office/drawing/2014/main" id="{63C9B1BE-D169-4503-BC3E-DB335A86F803}"/>
              </a:ext>
            </a:extLst>
          </p:cNvPr>
          <p:cNvSpPr/>
          <p:nvPr/>
        </p:nvSpPr>
        <p:spPr>
          <a:xfrm>
            <a:off x="9510183" y="523995"/>
            <a:ext cx="1388497" cy="2246769"/>
          </a:xfrm>
          <a:prstGeom prst="rect">
            <a:avLst/>
          </a:prstGeom>
        </p:spPr>
        <p:txBody>
          <a:bodyPr wrap="square">
            <a:spAutoFit/>
          </a:bodyPr>
          <a:lstStyle/>
          <a:p>
            <a:pPr marL="177800" indent="-177800">
              <a:lnSpc>
                <a:spcPct val="100000"/>
              </a:lnSpc>
              <a:spcBef>
                <a:spcPct val="0"/>
              </a:spcBef>
              <a:buClr>
                <a:srgbClr val="EDA13E"/>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Líneas de crédito utilizadas</a:t>
            </a:r>
          </a:p>
          <a:p>
            <a:pPr marL="177800" indent="-177800">
              <a:lnSpc>
                <a:spcPct val="100000"/>
              </a:lnSpc>
              <a:spcBef>
                <a:spcPct val="0"/>
              </a:spcBef>
              <a:buClr>
                <a:srgbClr val="EDA13E"/>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Renuncia a los descuentos</a:t>
            </a:r>
          </a:p>
          <a:p>
            <a:pPr marL="177800" indent="-177800">
              <a:lnSpc>
                <a:spcPct val="100000"/>
              </a:lnSpc>
              <a:spcBef>
                <a:spcPct val="0"/>
              </a:spcBef>
              <a:buClr>
                <a:srgbClr val="EDA13E"/>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Aumento del pasivo por</a:t>
            </a:r>
          </a:p>
          <a:p>
            <a:pPr marL="177800" indent="-177800">
              <a:lnSpc>
                <a:spcPct val="100000"/>
              </a:lnSpc>
              <a:spcBef>
                <a:spcPct val="0"/>
              </a:spcBef>
              <a:buClr>
                <a:srgbClr val="EDA13E"/>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Retraso en el pago</a:t>
            </a:r>
          </a:p>
          <a:p>
            <a:pPr marL="177800" indent="-177800">
              <a:lnSpc>
                <a:spcPct val="100000"/>
              </a:lnSpc>
              <a:spcBef>
                <a:spcPct val="0"/>
              </a:spcBef>
              <a:buClr>
                <a:srgbClr val="EDA13E"/>
              </a:buClr>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Cuellos de botella en el suministro</a:t>
            </a:r>
          </a:p>
        </p:txBody>
      </p:sp>
      <p:sp>
        <p:nvSpPr>
          <p:cNvPr id="104" name="Rechteck 103">
            <a:extLst>
              <a:ext uri="{FF2B5EF4-FFF2-40B4-BE49-F238E27FC236}">
                <a16:creationId xmlns:a16="http://schemas.microsoft.com/office/drawing/2014/main" id="{C59AC022-CFAC-4D2A-9095-38D49BA99D19}"/>
              </a:ext>
            </a:extLst>
          </p:cNvPr>
          <p:cNvSpPr/>
          <p:nvPr/>
        </p:nvSpPr>
        <p:spPr>
          <a:xfrm>
            <a:off x="10737540" y="954882"/>
            <a:ext cx="1388496" cy="1815882"/>
          </a:xfrm>
          <a:prstGeom prst="rect">
            <a:avLst/>
          </a:prstGeom>
        </p:spPr>
        <p:txBody>
          <a:bodyPr wrap="square">
            <a:spAutoFit/>
          </a:bodyPr>
          <a:lstStyle/>
          <a:p>
            <a:pPr marL="177800" indent="-177800">
              <a:lnSpc>
                <a:spcPct val="100000"/>
              </a:lnSpc>
              <a:spcBef>
                <a:spcPct val="0"/>
              </a:spcBef>
              <a:buClr>
                <a:srgbClr val="EDA13E"/>
              </a:buClr>
              <a:buSzPct val="80000"/>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Riesgo de insolvencia</a:t>
            </a:r>
          </a:p>
          <a:p>
            <a:pPr marL="177800" indent="-177800">
              <a:lnSpc>
                <a:spcPct val="100000"/>
              </a:lnSpc>
              <a:spcBef>
                <a:spcPct val="0"/>
              </a:spcBef>
              <a:buClr>
                <a:srgbClr val="EDA13E"/>
              </a:buClr>
              <a:buSzPct val="80000"/>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Insolvencia inminente</a:t>
            </a:r>
          </a:p>
          <a:p>
            <a:pPr marL="177800" indent="-177800">
              <a:lnSpc>
                <a:spcPct val="100000"/>
              </a:lnSpc>
              <a:spcBef>
                <a:spcPct val="0"/>
              </a:spcBef>
              <a:buClr>
                <a:srgbClr val="EDA13E"/>
              </a:buClr>
              <a:buSzPct val="80000"/>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Sobreendeudamiento</a:t>
            </a:r>
          </a:p>
          <a:p>
            <a:pPr marL="177800" indent="-177800">
              <a:lnSpc>
                <a:spcPct val="100000"/>
              </a:lnSpc>
              <a:spcBef>
                <a:spcPct val="0"/>
              </a:spcBef>
              <a:buClr>
                <a:srgbClr val="EDA13E"/>
              </a:buClr>
              <a:buSzPct val="80000"/>
              <a:buFont typeface="Arial" panose="020B0604020202020204" pitchFamily="34" charset="0"/>
              <a:buChar char="•"/>
            </a:pPr>
            <a:r>
              <a:rPr lang="en-GB" sz="1400">
                <a:solidFill>
                  <a:srgbClr val="595959"/>
                </a:solidFill>
                <a:ea typeface="Lato Light" panose="020F0502020204030203" pitchFamily="34" charset="0"/>
                <a:cs typeface="Mukta ExtraLight" panose="020B0000000000000000" pitchFamily="34" charset="77"/>
              </a:rPr>
              <a:t>Insolvencia sobrevenida</a:t>
            </a:r>
          </a:p>
        </p:txBody>
      </p:sp>
      <p:sp>
        <p:nvSpPr>
          <p:cNvPr id="106" name="Textplatzhalter 3">
            <a:extLst>
              <a:ext uri="{FF2B5EF4-FFF2-40B4-BE49-F238E27FC236}">
                <a16:creationId xmlns:a16="http://schemas.microsoft.com/office/drawing/2014/main" id="{B19B36E7-E4F4-4270-B7C5-1A2C08CF1EF4}"/>
              </a:ext>
            </a:extLst>
          </p:cNvPr>
          <p:cNvSpPr txBox="1"/>
          <p:nvPr/>
        </p:nvSpPr>
        <p:spPr>
          <a:xfrm>
            <a:off x="3654352" y="612623"/>
            <a:ext cx="3200761" cy="74755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000" b="1"/>
              <a:t>Ingresos / Beneficios / Liquidez</a:t>
            </a:r>
          </a:p>
        </p:txBody>
      </p:sp>
    </p:spTree>
    <p:extLst>
      <p:ext uri="{BB962C8B-B14F-4D97-AF65-F5344CB8AC3E}">
        <p14:creationId xmlns:p14="http://schemas.microsoft.com/office/powerpoint/2010/main" val="3151600471"/>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a:latin typeface="Calibri Light" panose="020F0302020204030204" pitchFamily="34" charset="0"/>
              <a:ea typeface="+mj-ea"/>
              <a:cs typeface="+mj-cs"/>
              <a:sym typeface="Calibri Light" panose="020F0302020204030204" pitchFamily="34" charset="0"/>
            </a:endParaRPr>
          </a:p>
        </p:txBody>
      </p:sp>
      <p:sp>
        <p:nvSpPr>
          <p:cNvPr id="6" name="Rechteck 5">
            <a:extLst>
              <a:ext uri="{FF2B5EF4-FFF2-40B4-BE49-F238E27FC236}">
                <a16:creationId xmlns:a16="http://schemas.microsoft.com/office/drawing/2014/main" id="{7E5B9861-52F0-4725-BFA9-9895CF3A593B}"/>
              </a:ext>
            </a:extLst>
          </p:cNvPr>
          <p:cNvSpPr/>
          <p:nvPr/>
        </p:nvSpPr>
        <p:spPr>
          <a:xfrm>
            <a:off x="3615919" y="1338160"/>
            <a:ext cx="1502817" cy="864467"/>
          </a:xfrm>
          <a:prstGeom prst="rect">
            <a:avLst/>
          </a:prstGeom>
        </p:spPr>
        <p:txBody>
          <a:bodyPr wrap="square">
            <a:spAutoFit/>
          </a:bodyPr>
          <a:lstStyle/>
          <a:p>
            <a:pPr>
              <a:lnSpc>
                <a:spcPts val="1500"/>
              </a:lnSpc>
            </a:pPr>
            <a:r>
              <a:rPr lang="en-GB" sz="1500" b="1">
                <a:solidFill>
                  <a:srgbClr val="245473"/>
                </a:solidFill>
                <a:latin typeface="Calibri" panose="020F0502020204030204" pitchFamily="34" charset="0"/>
                <a:ea typeface="Lato Light" panose="020F0502020204030203" pitchFamily="34" charset="0"/>
                <a:cs typeface="Calibri" panose="020F0502020204030204" pitchFamily="34" charset="0"/>
              </a:rPr>
              <a:t>Incertidumbre sobre la sucesión / gestión</a:t>
            </a:r>
          </a:p>
        </p:txBody>
      </p:sp>
      <p:sp>
        <p:nvSpPr>
          <p:cNvPr id="26" name="Rechteck 25">
            <a:extLst>
              <a:ext uri="{FF2B5EF4-FFF2-40B4-BE49-F238E27FC236}">
                <a16:creationId xmlns:a16="http://schemas.microsoft.com/office/drawing/2014/main" id="{FE6DBDB5-200C-49D0-8672-82ECAFEB45D3}"/>
              </a:ext>
            </a:extLst>
          </p:cNvPr>
          <p:cNvSpPr/>
          <p:nvPr/>
        </p:nvSpPr>
        <p:spPr>
          <a:xfrm>
            <a:off x="5064726" y="1321675"/>
            <a:ext cx="1225066" cy="672107"/>
          </a:xfrm>
          <a:prstGeom prst="rect">
            <a:avLst/>
          </a:prstGeom>
        </p:spPr>
        <p:txBody>
          <a:bodyPr wrap="square">
            <a:spAutoFit/>
          </a:bodyPr>
          <a:lstStyle/>
          <a:p>
            <a:pPr>
              <a:lnSpc>
                <a:spcPts val="1500"/>
              </a:lnSpc>
            </a:pPr>
            <a:r>
              <a:rPr lang="en-GB" sz="1500" b="1">
                <a:solidFill>
                  <a:srgbClr val="245473"/>
                </a:solidFill>
                <a:latin typeface="Calibri" panose="020F0502020204030204" pitchFamily="34" charset="0"/>
                <a:ea typeface="Lato Light" panose="020F0502020204030203" pitchFamily="34" charset="0"/>
                <a:cs typeface="Calibri" panose="020F0502020204030204" pitchFamily="34" charset="0"/>
              </a:rPr>
              <a:t>No / declaración de misión errónea</a:t>
            </a:r>
          </a:p>
        </p:txBody>
      </p:sp>
      <p:sp>
        <p:nvSpPr>
          <p:cNvPr id="35" name="Rechteck 34">
            <a:extLst>
              <a:ext uri="{FF2B5EF4-FFF2-40B4-BE49-F238E27FC236}">
                <a16:creationId xmlns:a16="http://schemas.microsoft.com/office/drawing/2014/main" id="{7E5D35FD-2CFF-4351-A969-12C13ED596C2}"/>
              </a:ext>
            </a:extLst>
          </p:cNvPr>
          <p:cNvSpPr/>
          <p:nvPr/>
        </p:nvSpPr>
        <p:spPr>
          <a:xfrm>
            <a:off x="6451181" y="1321675"/>
            <a:ext cx="1703975" cy="584775"/>
          </a:xfrm>
          <a:prstGeom prst="rect">
            <a:avLst/>
          </a:prstGeom>
        </p:spPr>
        <p:txBody>
          <a:bodyPr wrap="square">
            <a:spAutoFit/>
          </a:bodyPr>
          <a:lstStyle/>
          <a:p>
            <a:r>
              <a:rPr lang="en-GB" sz="1600" b="1">
                <a:solidFill>
                  <a:srgbClr val="245473"/>
                </a:solidFill>
                <a:latin typeface="Calibri" panose="020F0502020204030204" pitchFamily="34" charset="0"/>
                <a:ea typeface="Lato Light" panose="020F0502020204030203" pitchFamily="34" charset="0"/>
                <a:cs typeface="Calibri" panose="020F0502020204030204" pitchFamily="34" charset="0"/>
              </a:rPr>
              <a:t>No hay competitividad</a:t>
            </a:r>
          </a:p>
        </p:txBody>
      </p:sp>
      <p:sp>
        <p:nvSpPr>
          <p:cNvPr id="39" name="Rechteck 38">
            <a:extLst>
              <a:ext uri="{FF2B5EF4-FFF2-40B4-BE49-F238E27FC236}">
                <a16:creationId xmlns:a16="http://schemas.microsoft.com/office/drawing/2014/main" id="{F2AC4BB7-8053-4E6B-9053-7883BBAD7D9B}"/>
              </a:ext>
            </a:extLst>
          </p:cNvPr>
          <p:cNvSpPr/>
          <p:nvPr/>
        </p:nvSpPr>
        <p:spPr>
          <a:xfrm>
            <a:off x="8222613" y="1338160"/>
            <a:ext cx="1336517" cy="864467"/>
          </a:xfrm>
          <a:prstGeom prst="rect">
            <a:avLst/>
          </a:prstGeom>
        </p:spPr>
        <p:txBody>
          <a:bodyPr wrap="square">
            <a:spAutoFit/>
          </a:bodyPr>
          <a:lstStyle/>
          <a:p>
            <a:pPr>
              <a:lnSpc>
                <a:spcPts val="1500"/>
              </a:lnSpc>
            </a:pPr>
            <a:r>
              <a:rPr lang="en-GB" sz="1500" b="1">
                <a:solidFill>
                  <a:srgbClr val="245473"/>
                </a:solidFill>
                <a:latin typeface="Calibri" panose="020F0502020204030204" pitchFamily="34" charset="0"/>
                <a:ea typeface="Lato Light" panose="020F0502020204030203" pitchFamily="34" charset="0"/>
                <a:cs typeface="Calibri" panose="020F0502020204030204" pitchFamily="34" charset="0"/>
              </a:rPr>
              <a:t>Consumo de activos (disminución de los fondos propios...)</a:t>
            </a:r>
          </a:p>
        </p:txBody>
      </p:sp>
      <p:sp>
        <p:nvSpPr>
          <p:cNvPr id="40" name="Rechteck 39">
            <a:extLst>
              <a:ext uri="{FF2B5EF4-FFF2-40B4-BE49-F238E27FC236}">
                <a16:creationId xmlns:a16="http://schemas.microsoft.com/office/drawing/2014/main" id="{E9567923-419A-45FD-83E2-69E52A7FC897}"/>
              </a:ext>
            </a:extLst>
          </p:cNvPr>
          <p:cNvSpPr/>
          <p:nvPr/>
        </p:nvSpPr>
        <p:spPr>
          <a:xfrm>
            <a:off x="9677946" y="1338160"/>
            <a:ext cx="1171799" cy="864467"/>
          </a:xfrm>
          <a:prstGeom prst="rect">
            <a:avLst/>
          </a:prstGeom>
        </p:spPr>
        <p:txBody>
          <a:bodyPr wrap="square">
            <a:spAutoFit/>
          </a:bodyPr>
          <a:lstStyle/>
          <a:p>
            <a:pPr>
              <a:lnSpc>
                <a:spcPts val="1500"/>
              </a:lnSpc>
            </a:pPr>
            <a:r>
              <a:rPr lang="en-GB" sz="1500" b="1">
                <a:solidFill>
                  <a:srgbClr val="245473"/>
                </a:solidFill>
                <a:latin typeface="Calibri" panose="020F0502020204030204" pitchFamily="34" charset="0"/>
                <a:ea typeface="Lato Light" panose="020F0502020204030203" pitchFamily="34" charset="0"/>
                <a:cs typeface="Calibri" panose="020F0502020204030204" pitchFamily="34" charset="0"/>
              </a:rPr>
              <a:t>Sin reserva(s) / alcance financiero</a:t>
            </a:r>
          </a:p>
        </p:txBody>
      </p:sp>
      <p:sp>
        <p:nvSpPr>
          <p:cNvPr id="41" name="Rechteck 40">
            <a:extLst>
              <a:ext uri="{FF2B5EF4-FFF2-40B4-BE49-F238E27FC236}">
                <a16:creationId xmlns:a16="http://schemas.microsoft.com/office/drawing/2014/main" id="{035EA290-C7C4-4B91-AC49-F5A0E3A81D1D}"/>
              </a:ext>
            </a:extLst>
          </p:cNvPr>
          <p:cNvSpPr/>
          <p:nvPr/>
        </p:nvSpPr>
        <p:spPr>
          <a:xfrm>
            <a:off x="11060061" y="1338160"/>
            <a:ext cx="1171799" cy="864467"/>
          </a:xfrm>
          <a:prstGeom prst="rect">
            <a:avLst/>
          </a:prstGeom>
        </p:spPr>
        <p:txBody>
          <a:bodyPr wrap="square">
            <a:spAutoFit/>
          </a:bodyPr>
          <a:lstStyle/>
          <a:p>
            <a:pPr>
              <a:lnSpc>
                <a:spcPts val="1500"/>
              </a:lnSpc>
            </a:pPr>
            <a:r>
              <a:rPr lang="en-GB" sz="1500" b="1">
                <a:solidFill>
                  <a:srgbClr val="E53292"/>
                </a:solidFill>
                <a:latin typeface="Calibri" panose="020F0502020204030204" pitchFamily="34" charset="0"/>
                <a:ea typeface="Lato Light" panose="020F0502020204030203" pitchFamily="34" charset="0"/>
                <a:cs typeface="Calibri" panose="020F0502020204030204" pitchFamily="34" charset="0"/>
              </a:rPr>
              <a:t>Pérdida de autoridad para tomar decisiones</a:t>
            </a:r>
          </a:p>
        </p:txBody>
      </p:sp>
      <p:sp>
        <p:nvSpPr>
          <p:cNvPr id="2" name="Pfeil: nach oben gekrümmt 1">
            <a:extLst>
              <a:ext uri="{FF2B5EF4-FFF2-40B4-BE49-F238E27FC236}">
                <a16:creationId xmlns:a16="http://schemas.microsoft.com/office/drawing/2014/main" id="{6E760E75-52F2-4A7A-97AF-F10AE570478C}"/>
              </a:ext>
            </a:extLst>
          </p:cNvPr>
          <p:cNvSpPr/>
          <p:nvPr/>
        </p:nvSpPr>
        <p:spPr>
          <a:xfrm>
            <a:off x="4510605" y="2255812"/>
            <a:ext cx="766354"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42" name="Pfeil: nach oben gekrümmt 41">
            <a:extLst>
              <a:ext uri="{FF2B5EF4-FFF2-40B4-BE49-F238E27FC236}">
                <a16:creationId xmlns:a16="http://schemas.microsoft.com/office/drawing/2014/main" id="{356129D2-A434-41CF-A81B-933861D5EA3C}"/>
              </a:ext>
            </a:extLst>
          </p:cNvPr>
          <p:cNvSpPr/>
          <p:nvPr/>
        </p:nvSpPr>
        <p:spPr>
          <a:xfrm>
            <a:off x="5961826" y="2265699"/>
            <a:ext cx="766354"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43" name="Pfeil: nach oben gekrümmt 42">
            <a:extLst>
              <a:ext uri="{FF2B5EF4-FFF2-40B4-BE49-F238E27FC236}">
                <a16:creationId xmlns:a16="http://schemas.microsoft.com/office/drawing/2014/main" id="{C192E4C5-65C1-409D-9571-AC831D9BE606}"/>
              </a:ext>
            </a:extLst>
          </p:cNvPr>
          <p:cNvSpPr/>
          <p:nvPr/>
        </p:nvSpPr>
        <p:spPr>
          <a:xfrm>
            <a:off x="7413047" y="2267945"/>
            <a:ext cx="766354"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44" name="Pfeil: nach oben gekrümmt 43">
            <a:extLst>
              <a:ext uri="{FF2B5EF4-FFF2-40B4-BE49-F238E27FC236}">
                <a16:creationId xmlns:a16="http://schemas.microsoft.com/office/drawing/2014/main" id="{59759B08-5BB5-46DC-96A7-FDFDD7765951}"/>
              </a:ext>
            </a:extLst>
          </p:cNvPr>
          <p:cNvSpPr/>
          <p:nvPr/>
        </p:nvSpPr>
        <p:spPr>
          <a:xfrm>
            <a:off x="8876784" y="2262827"/>
            <a:ext cx="766354"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45" name="Pfeil: nach oben gekrümmt 44">
            <a:extLst>
              <a:ext uri="{FF2B5EF4-FFF2-40B4-BE49-F238E27FC236}">
                <a16:creationId xmlns:a16="http://schemas.microsoft.com/office/drawing/2014/main" id="{5A233127-ADFC-4C90-8CE8-ACA972EA821E}"/>
              </a:ext>
            </a:extLst>
          </p:cNvPr>
          <p:cNvSpPr/>
          <p:nvPr/>
        </p:nvSpPr>
        <p:spPr>
          <a:xfrm>
            <a:off x="10340521" y="2260438"/>
            <a:ext cx="766354" cy="222521"/>
          </a:xfrm>
          <a:prstGeom prst="curvedUpArrow">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solidFill>
                <a:schemeClr val="tx1"/>
              </a:solidFill>
            </a:endParaRPr>
          </a:p>
        </p:txBody>
      </p:sp>
      <p:sp>
        <p:nvSpPr>
          <p:cNvPr id="46" name="Rechteck 45">
            <a:extLst>
              <a:ext uri="{FF2B5EF4-FFF2-40B4-BE49-F238E27FC236}">
                <a16:creationId xmlns:a16="http://schemas.microsoft.com/office/drawing/2014/main" id="{2B62FCCB-9C12-42A3-9826-9B59006C2865}"/>
              </a:ext>
            </a:extLst>
          </p:cNvPr>
          <p:cNvSpPr/>
          <p:nvPr/>
        </p:nvSpPr>
        <p:spPr>
          <a:xfrm>
            <a:off x="4167453" y="2706802"/>
            <a:ext cx="1380954" cy="830997"/>
          </a:xfrm>
          <a:prstGeom prst="rect">
            <a:avLst/>
          </a:prstGeom>
          <a:solidFill>
            <a:srgbClr val="245473"/>
          </a:solidFill>
        </p:spPr>
        <p:txBody>
          <a:bodyPr wrap="square" anchor="ctr">
            <a:noAutofit/>
          </a:bodyPr>
          <a:lstStyle/>
          <a:p>
            <a:pPr algn="ctr">
              <a:lnSpc>
                <a:spcPts val="1720"/>
              </a:lnSpc>
            </a:pPr>
            <a:r>
              <a:rPr lang="en-GB" sz="1600" b="1">
                <a:solidFill>
                  <a:schemeClr val="bg1"/>
                </a:solidFill>
                <a:ea typeface="Lato Light" panose="020F0502020204030203" pitchFamily="34" charset="0"/>
                <a:cs typeface="Mukta ExtraLight" panose="020B0000000000000000" pitchFamily="34" charset="77"/>
              </a:rPr>
              <a:t>Liderazgo débil</a:t>
            </a:r>
          </a:p>
        </p:txBody>
      </p:sp>
      <p:sp>
        <p:nvSpPr>
          <p:cNvPr id="47" name="Rechteck 46">
            <a:extLst>
              <a:ext uri="{FF2B5EF4-FFF2-40B4-BE49-F238E27FC236}">
                <a16:creationId xmlns:a16="http://schemas.microsoft.com/office/drawing/2014/main" id="{10A86406-E2FE-401C-95F8-2B115609BC83}"/>
              </a:ext>
            </a:extLst>
          </p:cNvPr>
          <p:cNvSpPr/>
          <p:nvPr/>
        </p:nvSpPr>
        <p:spPr>
          <a:xfrm>
            <a:off x="5723256" y="2706803"/>
            <a:ext cx="1380953" cy="830996"/>
          </a:xfrm>
          <a:prstGeom prst="rect">
            <a:avLst/>
          </a:prstGeom>
          <a:solidFill>
            <a:srgbClr val="245473"/>
          </a:solidFill>
        </p:spPr>
        <p:txBody>
          <a:bodyPr wrap="square" anchor="ctr">
            <a:noAutofit/>
          </a:bodyPr>
          <a:lstStyle/>
          <a:p>
            <a:pPr algn="ctr">
              <a:lnSpc>
                <a:spcPts val="1720"/>
              </a:lnSpc>
            </a:pPr>
            <a:r>
              <a:rPr lang="en-GB" sz="1600" b="1">
                <a:solidFill>
                  <a:schemeClr val="bg1"/>
                </a:solidFill>
                <a:ea typeface="Lato Light" panose="020F0502020204030203" pitchFamily="34" charset="0"/>
                <a:cs typeface="Mukta ExtraLight" panose="020B0000000000000000" pitchFamily="34" charset="77"/>
              </a:rPr>
              <a:t>Productos que no se ajustan al mercado</a:t>
            </a:r>
          </a:p>
        </p:txBody>
      </p:sp>
      <p:sp>
        <p:nvSpPr>
          <p:cNvPr id="48" name="Rechteck 47">
            <a:extLst>
              <a:ext uri="{FF2B5EF4-FFF2-40B4-BE49-F238E27FC236}">
                <a16:creationId xmlns:a16="http://schemas.microsoft.com/office/drawing/2014/main" id="{B00E7A09-224B-4FCC-BA4E-1B1ACDD9B741}"/>
              </a:ext>
            </a:extLst>
          </p:cNvPr>
          <p:cNvSpPr/>
          <p:nvPr/>
        </p:nvSpPr>
        <p:spPr>
          <a:xfrm>
            <a:off x="7255448" y="2711457"/>
            <a:ext cx="1380953" cy="826342"/>
          </a:xfrm>
          <a:prstGeom prst="rect">
            <a:avLst/>
          </a:prstGeom>
          <a:solidFill>
            <a:srgbClr val="245473"/>
          </a:solidFill>
        </p:spPr>
        <p:txBody>
          <a:bodyPr wrap="square" anchor="ctr">
            <a:noAutofit/>
          </a:bodyPr>
          <a:lstStyle/>
          <a:p>
            <a:pPr algn="ctr">
              <a:lnSpc>
                <a:spcPts val="1720"/>
              </a:lnSpc>
            </a:pPr>
            <a:r>
              <a:rPr lang="en-GB" sz="1600" b="1">
                <a:solidFill>
                  <a:schemeClr val="bg1"/>
                </a:solidFill>
                <a:ea typeface="Lato Light" panose="020F0502020204030203" pitchFamily="34" charset="0"/>
                <a:cs typeface="Mukta ExtraLight" panose="020B0000000000000000" pitchFamily="34" charset="77"/>
              </a:rPr>
              <a:t>Disminución de los ingresos</a:t>
            </a:r>
          </a:p>
        </p:txBody>
      </p:sp>
      <p:sp>
        <p:nvSpPr>
          <p:cNvPr id="49" name="Rechteck 48">
            <a:extLst>
              <a:ext uri="{FF2B5EF4-FFF2-40B4-BE49-F238E27FC236}">
                <a16:creationId xmlns:a16="http://schemas.microsoft.com/office/drawing/2014/main" id="{7480D117-1BAA-443B-A193-A006EB0A16B5}"/>
              </a:ext>
            </a:extLst>
          </p:cNvPr>
          <p:cNvSpPr/>
          <p:nvPr/>
        </p:nvSpPr>
        <p:spPr>
          <a:xfrm>
            <a:off x="8772302" y="2711457"/>
            <a:ext cx="1380954" cy="826342"/>
          </a:xfrm>
          <a:prstGeom prst="rect">
            <a:avLst/>
          </a:prstGeom>
          <a:solidFill>
            <a:srgbClr val="245473"/>
          </a:solidFill>
        </p:spPr>
        <p:txBody>
          <a:bodyPr wrap="square" anchor="ctr">
            <a:noAutofit/>
          </a:bodyPr>
          <a:lstStyle/>
          <a:p>
            <a:pPr algn="ctr">
              <a:lnSpc>
                <a:spcPts val="1720"/>
              </a:lnSpc>
            </a:pPr>
            <a:r>
              <a:rPr lang="en-GB" sz="1600" b="1">
                <a:solidFill>
                  <a:schemeClr val="bg1"/>
                </a:solidFill>
                <a:ea typeface="Lato Light" panose="020F0502020204030203" pitchFamily="34" charset="0"/>
                <a:cs typeface="Mukta ExtraLight" panose="020B0000000000000000" pitchFamily="34" charset="77"/>
              </a:rPr>
              <a:t>Consumo de fondos líquidos</a:t>
            </a:r>
          </a:p>
        </p:txBody>
      </p:sp>
      <p:sp>
        <p:nvSpPr>
          <p:cNvPr id="50" name="Rechteck 49">
            <a:extLst>
              <a:ext uri="{FF2B5EF4-FFF2-40B4-BE49-F238E27FC236}">
                <a16:creationId xmlns:a16="http://schemas.microsoft.com/office/drawing/2014/main" id="{A43DE806-DADE-4FC2-B4E9-28E5CE137FB5}"/>
              </a:ext>
            </a:extLst>
          </p:cNvPr>
          <p:cNvSpPr/>
          <p:nvPr/>
        </p:nvSpPr>
        <p:spPr>
          <a:xfrm>
            <a:off x="10229780" y="2703945"/>
            <a:ext cx="1380953" cy="833853"/>
          </a:xfrm>
          <a:prstGeom prst="rect">
            <a:avLst/>
          </a:prstGeom>
          <a:solidFill>
            <a:srgbClr val="245473"/>
          </a:solidFill>
        </p:spPr>
        <p:txBody>
          <a:bodyPr wrap="square" anchor="ctr">
            <a:noAutofit/>
          </a:bodyPr>
          <a:lstStyle/>
          <a:p>
            <a:pPr algn="ctr">
              <a:lnSpc>
                <a:spcPts val="1720"/>
              </a:lnSpc>
            </a:pPr>
            <a:r>
              <a:rPr lang="en-GB" sz="1600" b="1">
                <a:solidFill>
                  <a:schemeClr val="bg1"/>
                </a:solidFill>
                <a:ea typeface="Lato Light" panose="020F0502020204030203" pitchFamily="34" charset="0"/>
                <a:cs typeface="Mukta ExtraLight" panose="020B0000000000000000" pitchFamily="34" charset="77"/>
              </a:rPr>
              <a:t>Insolvencia (inminente)</a:t>
            </a:r>
          </a:p>
        </p:txBody>
      </p:sp>
      <p:sp>
        <p:nvSpPr>
          <p:cNvPr id="51" name="Rechteck 50">
            <a:extLst>
              <a:ext uri="{FF2B5EF4-FFF2-40B4-BE49-F238E27FC236}">
                <a16:creationId xmlns:a16="http://schemas.microsoft.com/office/drawing/2014/main" id="{9A734528-F533-424B-A98D-C332E30DE4AE}"/>
              </a:ext>
            </a:extLst>
          </p:cNvPr>
          <p:cNvSpPr/>
          <p:nvPr/>
        </p:nvSpPr>
        <p:spPr>
          <a:xfrm>
            <a:off x="6842218" y="4631182"/>
            <a:ext cx="1327199" cy="1346435"/>
          </a:xfrm>
          <a:prstGeom prst="rect">
            <a:avLst/>
          </a:prstGeom>
          <a:solidFill>
            <a:srgbClr val="B41F7A"/>
          </a:solidFill>
        </p:spPr>
        <p:txBody>
          <a:bodyPr wrap="square" anchor="ctr">
            <a:noAutofit/>
          </a:bodyPr>
          <a:lstStyle/>
          <a:p>
            <a:pPr algn="ctr"/>
            <a:r>
              <a:rPr lang="en-GB" sz="1600" b="1">
                <a:solidFill>
                  <a:schemeClr val="bg1"/>
                </a:solidFill>
                <a:ea typeface="Lato Light" panose="020F0502020204030203" pitchFamily="34" charset="0"/>
                <a:cs typeface="Mukta ExtraLight" panose="020B0000000000000000" pitchFamily="34" charset="77"/>
              </a:rPr>
              <a:t>Pérdida de un cliente o pedido importante</a:t>
            </a:r>
          </a:p>
        </p:txBody>
      </p:sp>
      <p:sp>
        <p:nvSpPr>
          <p:cNvPr id="52" name="Rechteck 51">
            <a:extLst>
              <a:ext uri="{FF2B5EF4-FFF2-40B4-BE49-F238E27FC236}">
                <a16:creationId xmlns:a16="http://schemas.microsoft.com/office/drawing/2014/main" id="{80DD04B9-6CF6-4BB1-A6CA-A9EE19406681}"/>
              </a:ext>
            </a:extLst>
          </p:cNvPr>
          <p:cNvSpPr/>
          <p:nvPr/>
        </p:nvSpPr>
        <p:spPr>
          <a:xfrm>
            <a:off x="8296411" y="4631183"/>
            <a:ext cx="1175126" cy="1346435"/>
          </a:xfrm>
          <a:prstGeom prst="rect">
            <a:avLst/>
          </a:prstGeom>
          <a:solidFill>
            <a:srgbClr val="F16924"/>
          </a:solidFill>
        </p:spPr>
        <p:txBody>
          <a:bodyPr wrap="square" anchor="ctr">
            <a:noAutofit/>
          </a:bodyPr>
          <a:lstStyle/>
          <a:p>
            <a:pPr algn="ctr"/>
            <a:r>
              <a:rPr lang="en-GB" sz="1600" b="1">
                <a:solidFill>
                  <a:schemeClr val="bg1"/>
                </a:solidFill>
                <a:ea typeface="Lato Light" panose="020F0502020204030203" pitchFamily="34" charset="0"/>
                <a:cs typeface="Mukta ExtraLight" panose="020B0000000000000000" pitchFamily="34" charset="77"/>
              </a:rPr>
              <a:t>Reclamaciones por daños y perjuicios</a:t>
            </a:r>
          </a:p>
        </p:txBody>
      </p:sp>
      <p:sp>
        <p:nvSpPr>
          <p:cNvPr id="53" name="Rechteck 52">
            <a:extLst>
              <a:ext uri="{FF2B5EF4-FFF2-40B4-BE49-F238E27FC236}">
                <a16:creationId xmlns:a16="http://schemas.microsoft.com/office/drawing/2014/main" id="{53B89C60-AD69-48F9-87B3-E1A6CC199BEC}"/>
              </a:ext>
            </a:extLst>
          </p:cNvPr>
          <p:cNvSpPr/>
          <p:nvPr/>
        </p:nvSpPr>
        <p:spPr>
          <a:xfrm>
            <a:off x="9596935" y="4647501"/>
            <a:ext cx="1327198" cy="1346435"/>
          </a:xfrm>
          <a:prstGeom prst="rect">
            <a:avLst/>
          </a:prstGeom>
          <a:solidFill>
            <a:srgbClr val="EDA13E"/>
          </a:solidFill>
        </p:spPr>
        <p:txBody>
          <a:bodyPr wrap="square" anchor="ctr">
            <a:noAutofit/>
          </a:bodyPr>
          <a:lstStyle/>
          <a:p>
            <a:pPr algn="ctr"/>
            <a:r>
              <a:rPr lang="en-GB" sz="1600" b="1">
                <a:solidFill>
                  <a:schemeClr val="bg1"/>
                </a:solidFill>
                <a:ea typeface="Lato Light" panose="020F0502020204030203" pitchFamily="34" charset="0"/>
                <a:cs typeface="Mukta ExtraLight" panose="020B0000000000000000" pitchFamily="34" charset="77"/>
              </a:rPr>
              <a:t>Pérdida masiva de créditos</a:t>
            </a:r>
          </a:p>
        </p:txBody>
      </p:sp>
      <p:sp>
        <p:nvSpPr>
          <p:cNvPr id="54" name="TextBox 58">
            <a:extLst>
              <a:ext uri="{FF2B5EF4-FFF2-40B4-BE49-F238E27FC236}">
                <a16:creationId xmlns:a16="http://schemas.microsoft.com/office/drawing/2014/main" id="{53D97A96-758D-41F1-A400-9C941960C78F}"/>
              </a:ext>
            </a:extLst>
          </p:cNvPr>
          <p:cNvSpPr txBox="1"/>
          <p:nvPr/>
        </p:nvSpPr>
        <p:spPr>
          <a:xfrm>
            <a:off x="4125837" y="5409161"/>
            <a:ext cx="2596166" cy="584775"/>
          </a:xfrm>
          <a:prstGeom prst="rect">
            <a:avLst/>
          </a:prstGeom>
          <a:noFill/>
        </p:spPr>
        <p:txBody>
          <a:bodyPr wrap="square" rtlCol="0" anchor="ctr">
            <a:spAutoFit/>
          </a:bodyPr>
          <a:lstStyle/>
          <a:p>
            <a:r>
              <a:rPr lang="en-GB" sz="1600" b="1">
                <a:solidFill>
                  <a:srgbClr val="245473"/>
                </a:solidFill>
                <a:latin typeface="Calibri" panose="020F0502020204030204" pitchFamily="34" charset="0"/>
                <a:cs typeface="Calibri" panose="020F0502020204030204" pitchFamily="34" charset="0"/>
              </a:rPr>
              <a:t>Ocurrencia directa </a:t>
            </a:r>
            <a:br>
              <a:rPr lang="en-GB" sz="1600" b="1">
                <a:solidFill>
                  <a:srgbClr val="245473"/>
                </a:solidFill>
                <a:latin typeface="Calibri" panose="020F0502020204030204" pitchFamily="34" charset="0"/>
                <a:cs typeface="Calibri" panose="020F0502020204030204" pitchFamily="34" charset="0"/>
              </a:rPr>
            </a:br>
            <a:r>
              <a:rPr lang="en-GB" sz="1600" b="1">
                <a:solidFill>
                  <a:srgbClr val="245473"/>
                </a:solidFill>
                <a:latin typeface="Calibri" panose="020F0502020204030204" pitchFamily="34" charset="0"/>
                <a:cs typeface="Calibri" panose="020F0502020204030204" pitchFamily="34" charset="0"/>
              </a:rPr>
              <a:t>de la crisis (desencadenantes externos)</a:t>
            </a:r>
          </a:p>
        </p:txBody>
      </p:sp>
      <p:pic>
        <p:nvPicPr>
          <p:cNvPr id="5" name="Slika 4">
            <a:extLst>
              <a:ext uri="{FF2B5EF4-FFF2-40B4-BE49-F238E27FC236}">
                <a16:creationId xmlns:a16="http://schemas.microsoft.com/office/drawing/2014/main" id="{7E8A0879-7DA7-BA99-7E92-33636A5E8147}"/>
              </a:ext>
            </a:extLst>
          </p:cNvPr>
          <p:cNvPicPr>
            <a:picLocks noChangeAspect="1"/>
          </p:cNvPicPr>
          <p:nvPr/>
        </p:nvPicPr>
        <p:blipFill>
          <a:blip r:embed="rId7"/>
          <a:stretch>
            <a:fillRect/>
          </a:stretch>
        </p:blipFill>
        <p:spPr>
          <a:xfrm>
            <a:off x="8664283" y="6253844"/>
            <a:ext cx="3166038" cy="586791"/>
          </a:xfrm>
          <a:prstGeom prst="rect">
            <a:avLst/>
          </a:prstGeom>
        </p:spPr>
      </p:pic>
      <p:sp>
        <p:nvSpPr>
          <p:cNvPr id="7" name="Rectangle 6">
            <a:extLst>
              <a:ext uri="{FF2B5EF4-FFF2-40B4-BE49-F238E27FC236}">
                <a16:creationId xmlns:a16="http://schemas.microsoft.com/office/drawing/2014/main" id="{5D9086E7-D2DD-331B-83AB-E8CF54544BF8}"/>
              </a:ext>
            </a:extLst>
          </p:cNvPr>
          <p:cNvSpPr/>
          <p:nvPr/>
        </p:nvSpPr>
        <p:spPr>
          <a:xfrm>
            <a:off x="0" y="0"/>
            <a:ext cx="3574870"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1">
            <a:extLst>
              <a:ext uri="{FF2B5EF4-FFF2-40B4-BE49-F238E27FC236}">
                <a16:creationId xmlns:a16="http://schemas.microsoft.com/office/drawing/2014/main" id="{5903F531-D079-136E-F19A-BAAE519F2ED3}"/>
              </a:ext>
            </a:extLst>
          </p:cNvPr>
          <p:cNvSpPr txBox="1"/>
          <p:nvPr/>
        </p:nvSpPr>
        <p:spPr>
          <a:xfrm>
            <a:off x="293541" y="2930717"/>
            <a:ext cx="3153974" cy="306245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r>
              <a:rPr lang="en-US" sz="2200">
                <a:solidFill>
                  <a:schemeClr val="bg1"/>
                </a:solidFill>
              </a:rPr>
              <a:t>La entrada en una crisis empresarial es independiente de la fase de crisis "actualmente" identificada. </a:t>
            </a:r>
          </a:p>
          <a:p>
            <a:pPr marL="15875" indent="-15875"/>
            <a:r>
              <a:rPr lang="en-US" sz="2200">
                <a:solidFill>
                  <a:schemeClr val="bg1"/>
                </a:solidFill>
              </a:rPr>
              <a:t>También es posible una entrada inmediata en las fases avanzadas, normalmente provocada por efectos externos.</a:t>
            </a:r>
          </a:p>
        </p:txBody>
      </p:sp>
      <p:sp>
        <p:nvSpPr>
          <p:cNvPr id="9" name="Textplatzhalter 32">
            <a:extLst>
              <a:ext uri="{FF2B5EF4-FFF2-40B4-BE49-F238E27FC236}">
                <a16:creationId xmlns:a16="http://schemas.microsoft.com/office/drawing/2014/main" id="{587E4446-CAD5-3893-CFEA-F6DC7DF1C639}"/>
              </a:ext>
            </a:extLst>
          </p:cNvPr>
          <p:cNvSpPr txBox="1"/>
          <p:nvPr/>
        </p:nvSpPr>
        <p:spPr>
          <a:xfrm>
            <a:off x="392411" y="420981"/>
            <a:ext cx="3025497" cy="207916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620"/>
              </a:lnSpc>
            </a:pPr>
            <a:r>
              <a:rPr lang="en-GB">
                <a:solidFill>
                  <a:schemeClr val="bg1"/>
                </a:solidFill>
              </a:rPr>
              <a:t>Relaciones típicas de causa y efecto frente a la entrada directa</a:t>
            </a:r>
          </a:p>
        </p:txBody>
      </p:sp>
      <p:sp>
        <p:nvSpPr>
          <p:cNvPr id="10" name="Rectangle 9">
            <a:extLst>
              <a:ext uri="{FF2B5EF4-FFF2-40B4-BE49-F238E27FC236}">
                <a16:creationId xmlns:a16="http://schemas.microsoft.com/office/drawing/2014/main" id="{93E0478E-5B71-7DB4-521B-EE52C1A0E0FF}"/>
              </a:ext>
            </a:extLst>
          </p:cNvPr>
          <p:cNvSpPr/>
          <p:nvPr/>
        </p:nvSpPr>
        <p:spPr>
          <a:xfrm>
            <a:off x="360325" y="261193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6" name="Chevron 4">
            <a:extLst>
              <a:ext uri="{FF2B5EF4-FFF2-40B4-BE49-F238E27FC236}">
                <a16:creationId xmlns:a16="http://schemas.microsoft.com/office/drawing/2014/main" id="{42CB9FEC-DD81-05F0-DF0D-A7FD666B42E8}"/>
              </a:ext>
            </a:extLst>
          </p:cNvPr>
          <p:cNvSpPr/>
          <p:nvPr/>
        </p:nvSpPr>
        <p:spPr>
          <a:xfrm>
            <a:off x="6780979" y="3915068"/>
            <a:ext cx="1405522" cy="570875"/>
          </a:xfrm>
          <a:prstGeom prst="chevron">
            <a:avLst>
              <a:gd name="adj" fmla="val 21186"/>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a:solidFill>
                <a:schemeClr val="tx1"/>
              </a:solidFill>
              <a:latin typeface="+mj-lt"/>
            </a:endParaRPr>
          </a:p>
        </p:txBody>
      </p:sp>
      <p:sp>
        <p:nvSpPr>
          <p:cNvPr id="17" name="Chevron 1">
            <a:extLst>
              <a:ext uri="{FF2B5EF4-FFF2-40B4-BE49-F238E27FC236}">
                <a16:creationId xmlns:a16="http://schemas.microsoft.com/office/drawing/2014/main" id="{CA115EF5-49AC-D478-62CD-BE4BD50C7477}"/>
              </a:ext>
            </a:extLst>
          </p:cNvPr>
          <p:cNvSpPr/>
          <p:nvPr/>
        </p:nvSpPr>
        <p:spPr>
          <a:xfrm>
            <a:off x="3743806" y="3918321"/>
            <a:ext cx="1430861" cy="570875"/>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a:solidFill>
                <a:schemeClr val="tx1"/>
              </a:solidFill>
              <a:latin typeface="+mj-lt"/>
            </a:endParaRPr>
          </a:p>
        </p:txBody>
      </p:sp>
      <p:sp>
        <p:nvSpPr>
          <p:cNvPr id="18" name="Chevron 2">
            <a:extLst>
              <a:ext uri="{FF2B5EF4-FFF2-40B4-BE49-F238E27FC236}">
                <a16:creationId xmlns:a16="http://schemas.microsoft.com/office/drawing/2014/main" id="{6447CE71-8ACC-4929-246E-6CF3E14FF1D6}"/>
              </a:ext>
            </a:extLst>
          </p:cNvPr>
          <p:cNvSpPr/>
          <p:nvPr/>
        </p:nvSpPr>
        <p:spPr>
          <a:xfrm>
            <a:off x="5221065" y="3915068"/>
            <a:ext cx="1532910" cy="570875"/>
          </a:xfrm>
          <a:prstGeom prst="chevron">
            <a:avLst>
              <a:gd name="adj" fmla="val 21186"/>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a:solidFill>
                <a:schemeClr val="tx1"/>
              </a:solidFill>
              <a:latin typeface="+mj-lt"/>
            </a:endParaRPr>
          </a:p>
        </p:txBody>
      </p:sp>
      <p:sp>
        <p:nvSpPr>
          <p:cNvPr id="19" name="Chevron 4">
            <a:extLst>
              <a:ext uri="{FF2B5EF4-FFF2-40B4-BE49-F238E27FC236}">
                <a16:creationId xmlns:a16="http://schemas.microsoft.com/office/drawing/2014/main" id="{ED262E17-F15C-7636-81B1-0FE21E66AC58}"/>
              </a:ext>
            </a:extLst>
          </p:cNvPr>
          <p:cNvSpPr/>
          <p:nvPr/>
        </p:nvSpPr>
        <p:spPr>
          <a:xfrm>
            <a:off x="8233166" y="3915068"/>
            <a:ext cx="1405522" cy="570875"/>
          </a:xfrm>
          <a:prstGeom prst="chevron">
            <a:avLst>
              <a:gd name="adj" fmla="val 21186"/>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a:solidFill>
                <a:schemeClr val="tx1"/>
              </a:solidFill>
              <a:latin typeface="+mj-lt"/>
            </a:endParaRPr>
          </a:p>
        </p:txBody>
      </p:sp>
      <p:sp>
        <p:nvSpPr>
          <p:cNvPr id="20" name="Chevron 5">
            <a:extLst>
              <a:ext uri="{FF2B5EF4-FFF2-40B4-BE49-F238E27FC236}">
                <a16:creationId xmlns:a16="http://schemas.microsoft.com/office/drawing/2014/main" id="{ED785515-683C-327F-058B-E24789C6F70F}"/>
              </a:ext>
            </a:extLst>
          </p:cNvPr>
          <p:cNvSpPr/>
          <p:nvPr/>
        </p:nvSpPr>
        <p:spPr>
          <a:xfrm>
            <a:off x="9724506" y="3915089"/>
            <a:ext cx="1171798" cy="570875"/>
          </a:xfrm>
          <a:prstGeom prst="chevron">
            <a:avLst>
              <a:gd name="adj" fmla="val 21186"/>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a:solidFill>
                <a:schemeClr val="tx1"/>
              </a:solidFill>
              <a:latin typeface="+mj-lt"/>
            </a:endParaRPr>
          </a:p>
        </p:txBody>
      </p:sp>
      <p:sp>
        <p:nvSpPr>
          <p:cNvPr id="21" name="TextBox 14">
            <a:extLst>
              <a:ext uri="{FF2B5EF4-FFF2-40B4-BE49-F238E27FC236}">
                <a16:creationId xmlns:a16="http://schemas.microsoft.com/office/drawing/2014/main" id="{514F9A16-846A-3F4E-8193-47CCA53C9FC1}"/>
              </a:ext>
            </a:extLst>
          </p:cNvPr>
          <p:cNvSpPr txBox="1"/>
          <p:nvPr/>
        </p:nvSpPr>
        <p:spPr>
          <a:xfrm>
            <a:off x="3837838" y="3948705"/>
            <a:ext cx="1326012" cy="505523"/>
          </a:xfrm>
          <a:prstGeom prst="rect">
            <a:avLst/>
          </a:prstGeom>
          <a:noFill/>
        </p:spPr>
        <p:txBody>
          <a:bodyPr wrap="square" rtlCol="0" anchor="ctr" anchorCtr="0">
            <a:spAutoFit/>
          </a:bodyPr>
          <a:lstStyle/>
          <a:p>
            <a:pPr>
              <a:lnSpc>
                <a:spcPts val="1620"/>
              </a:lnSpc>
            </a:pPr>
            <a:r>
              <a:rPr lang="en-GB" sz="1600" b="1">
                <a:solidFill>
                  <a:schemeClr val="bg1"/>
                </a:solidFill>
                <a:latin typeface="+mj-lt"/>
                <a:ea typeface="League Spartan" charset="0"/>
                <a:cs typeface="Poppins" pitchFamily="2" charset="77"/>
              </a:rPr>
              <a:t>Crisis de las partes interesadas</a:t>
            </a:r>
          </a:p>
        </p:txBody>
      </p:sp>
      <p:sp>
        <p:nvSpPr>
          <p:cNvPr id="22" name="TextBox 15">
            <a:extLst>
              <a:ext uri="{FF2B5EF4-FFF2-40B4-BE49-F238E27FC236}">
                <a16:creationId xmlns:a16="http://schemas.microsoft.com/office/drawing/2014/main" id="{F5A9006D-0A30-8970-F991-14F15A17FF6E}"/>
              </a:ext>
            </a:extLst>
          </p:cNvPr>
          <p:cNvSpPr txBox="1"/>
          <p:nvPr/>
        </p:nvSpPr>
        <p:spPr>
          <a:xfrm>
            <a:off x="5338995" y="4068474"/>
            <a:ext cx="1499829" cy="300339"/>
          </a:xfrm>
          <a:prstGeom prst="rect">
            <a:avLst/>
          </a:prstGeom>
          <a:noFill/>
        </p:spPr>
        <p:txBody>
          <a:bodyPr wrap="square" rtlCol="0" anchor="ctr" anchorCtr="0">
            <a:spAutoFit/>
          </a:bodyPr>
          <a:lstStyle/>
          <a:p>
            <a:pPr>
              <a:lnSpc>
                <a:spcPts val="1620"/>
              </a:lnSpc>
            </a:pPr>
            <a:r>
              <a:rPr lang="en-GB" sz="1600" b="1">
                <a:solidFill>
                  <a:schemeClr val="bg1"/>
                </a:solidFill>
                <a:latin typeface="+mj-lt"/>
                <a:ea typeface="League Spartan" charset="0"/>
                <a:cs typeface="Poppins" pitchFamily="2" charset="77"/>
              </a:rPr>
              <a:t>Estrategia de crisis</a:t>
            </a:r>
          </a:p>
        </p:txBody>
      </p:sp>
      <p:sp>
        <p:nvSpPr>
          <p:cNvPr id="23" name="TextBox 16">
            <a:extLst>
              <a:ext uri="{FF2B5EF4-FFF2-40B4-BE49-F238E27FC236}">
                <a16:creationId xmlns:a16="http://schemas.microsoft.com/office/drawing/2014/main" id="{392EB27E-92C6-9129-540A-C9D9CB60F952}"/>
              </a:ext>
            </a:extLst>
          </p:cNvPr>
          <p:cNvSpPr txBox="1"/>
          <p:nvPr/>
        </p:nvSpPr>
        <p:spPr>
          <a:xfrm>
            <a:off x="6933625" y="3956420"/>
            <a:ext cx="1235792" cy="505523"/>
          </a:xfrm>
          <a:prstGeom prst="rect">
            <a:avLst/>
          </a:prstGeom>
          <a:noFill/>
        </p:spPr>
        <p:txBody>
          <a:bodyPr wrap="square" rtlCol="0" anchor="ctr" anchorCtr="0">
            <a:spAutoFit/>
          </a:bodyPr>
          <a:lstStyle/>
          <a:p>
            <a:pPr>
              <a:lnSpc>
                <a:spcPts val="1620"/>
              </a:lnSpc>
            </a:pPr>
            <a:r>
              <a:rPr lang="en-GB" sz="1600" b="1">
                <a:solidFill>
                  <a:schemeClr val="bg1"/>
                </a:solidFill>
                <a:latin typeface="+mj-lt"/>
                <a:ea typeface="League Spartan" charset="0"/>
                <a:cs typeface="Poppins" pitchFamily="2" charset="77"/>
              </a:rPr>
              <a:t>Producto / Crisis de ventas</a:t>
            </a:r>
          </a:p>
        </p:txBody>
      </p:sp>
      <p:sp>
        <p:nvSpPr>
          <p:cNvPr id="24" name="TextBox 17">
            <a:extLst>
              <a:ext uri="{FF2B5EF4-FFF2-40B4-BE49-F238E27FC236}">
                <a16:creationId xmlns:a16="http://schemas.microsoft.com/office/drawing/2014/main" id="{917EFAB1-D27C-37BB-9FC4-4DF75C74EAB0}"/>
              </a:ext>
            </a:extLst>
          </p:cNvPr>
          <p:cNvSpPr txBox="1"/>
          <p:nvPr/>
        </p:nvSpPr>
        <p:spPr>
          <a:xfrm>
            <a:off x="8515451" y="3941022"/>
            <a:ext cx="956086" cy="505523"/>
          </a:xfrm>
          <a:prstGeom prst="rect">
            <a:avLst/>
          </a:prstGeom>
          <a:noFill/>
        </p:spPr>
        <p:txBody>
          <a:bodyPr wrap="square" rtlCol="0" anchor="ctr" anchorCtr="0">
            <a:spAutoFit/>
          </a:bodyPr>
          <a:lstStyle/>
          <a:p>
            <a:pPr>
              <a:lnSpc>
                <a:spcPts val="1620"/>
              </a:lnSpc>
            </a:pPr>
            <a:r>
              <a:rPr lang="en-GB" sz="1600" b="1">
                <a:solidFill>
                  <a:schemeClr val="bg1"/>
                </a:solidFill>
                <a:latin typeface="+mj-lt"/>
                <a:ea typeface="League Spartan" charset="0"/>
                <a:cs typeface="Poppins" pitchFamily="2" charset="77"/>
              </a:rPr>
              <a:t>Crisis de ingresos</a:t>
            </a:r>
          </a:p>
        </p:txBody>
      </p:sp>
      <p:sp>
        <p:nvSpPr>
          <p:cNvPr id="25" name="TextBox 18">
            <a:extLst>
              <a:ext uri="{FF2B5EF4-FFF2-40B4-BE49-F238E27FC236}">
                <a16:creationId xmlns:a16="http://schemas.microsoft.com/office/drawing/2014/main" id="{F2A1668B-9F08-7A93-164A-152349C203C1}"/>
              </a:ext>
            </a:extLst>
          </p:cNvPr>
          <p:cNvSpPr txBox="1"/>
          <p:nvPr/>
        </p:nvSpPr>
        <p:spPr>
          <a:xfrm>
            <a:off x="9876752" y="3950331"/>
            <a:ext cx="1072733" cy="505523"/>
          </a:xfrm>
          <a:prstGeom prst="rect">
            <a:avLst/>
          </a:prstGeom>
          <a:noFill/>
        </p:spPr>
        <p:txBody>
          <a:bodyPr wrap="square" rtlCol="0" anchor="ctr" anchorCtr="0">
            <a:spAutoFit/>
          </a:bodyPr>
          <a:lstStyle/>
          <a:p>
            <a:pPr>
              <a:lnSpc>
                <a:spcPts val="1620"/>
              </a:lnSpc>
            </a:pPr>
            <a:r>
              <a:rPr lang="en-GB" sz="1600" b="1">
                <a:solidFill>
                  <a:schemeClr val="bg1"/>
                </a:solidFill>
                <a:latin typeface="+mj-lt"/>
                <a:ea typeface="League Spartan" charset="0"/>
                <a:cs typeface="Poppins" pitchFamily="2" charset="77"/>
              </a:rPr>
              <a:t>Crisis de liquidez</a:t>
            </a:r>
          </a:p>
        </p:txBody>
      </p:sp>
      <p:sp>
        <p:nvSpPr>
          <p:cNvPr id="28" name="Chevron 5">
            <a:extLst>
              <a:ext uri="{FF2B5EF4-FFF2-40B4-BE49-F238E27FC236}">
                <a16:creationId xmlns:a16="http://schemas.microsoft.com/office/drawing/2014/main" id="{97D7E5E8-06B3-FCE3-7283-14681D3C3261}"/>
              </a:ext>
            </a:extLst>
          </p:cNvPr>
          <p:cNvSpPr/>
          <p:nvPr/>
        </p:nvSpPr>
        <p:spPr>
          <a:xfrm>
            <a:off x="10910422" y="3919089"/>
            <a:ext cx="1171798" cy="570875"/>
          </a:xfrm>
          <a:prstGeom prst="chevron">
            <a:avLst>
              <a:gd name="adj" fmla="val 21186"/>
            </a:avLst>
          </a:prstGeom>
          <a:solidFill>
            <a:srgbClr val="EDA13E">
              <a:alpha val="7372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a:solidFill>
                <a:schemeClr val="tx1"/>
              </a:solidFill>
              <a:latin typeface="+mj-lt"/>
            </a:endParaRPr>
          </a:p>
        </p:txBody>
      </p:sp>
      <p:sp>
        <p:nvSpPr>
          <p:cNvPr id="29" name="TextBox 18">
            <a:extLst>
              <a:ext uri="{FF2B5EF4-FFF2-40B4-BE49-F238E27FC236}">
                <a16:creationId xmlns:a16="http://schemas.microsoft.com/office/drawing/2014/main" id="{0F024139-74CA-F9A9-6F90-9E85466B12D0}"/>
              </a:ext>
            </a:extLst>
          </p:cNvPr>
          <p:cNvSpPr txBox="1"/>
          <p:nvPr/>
        </p:nvSpPr>
        <p:spPr>
          <a:xfrm>
            <a:off x="11040181" y="4054629"/>
            <a:ext cx="1051803" cy="300339"/>
          </a:xfrm>
          <a:prstGeom prst="rect">
            <a:avLst/>
          </a:prstGeom>
          <a:noFill/>
        </p:spPr>
        <p:txBody>
          <a:bodyPr wrap="square" rtlCol="0" anchor="ctr" anchorCtr="0">
            <a:spAutoFit/>
          </a:bodyPr>
          <a:lstStyle/>
          <a:p>
            <a:pPr>
              <a:lnSpc>
                <a:spcPts val="1620"/>
              </a:lnSpc>
            </a:pPr>
            <a:r>
              <a:rPr lang="en-GB" sz="1600" b="1">
                <a:solidFill>
                  <a:schemeClr val="bg1"/>
                </a:solidFill>
                <a:latin typeface="+mj-lt"/>
                <a:ea typeface="League Spartan" charset="0"/>
                <a:cs typeface="Poppins" pitchFamily="2" charset="77"/>
              </a:rPr>
              <a:t>Insolvencia</a:t>
            </a:r>
          </a:p>
        </p:txBody>
      </p:sp>
    </p:spTree>
    <p:extLst>
      <p:ext uri="{BB962C8B-B14F-4D97-AF65-F5344CB8AC3E}">
        <p14:creationId xmlns:p14="http://schemas.microsoft.com/office/powerpoint/2010/main" val="213526948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7234C30-EA0A-6728-B0E3-D704E9CD12FD}"/>
              </a:ext>
            </a:extLst>
          </p:cNvPr>
          <p:cNvSpPr/>
          <p:nvPr/>
        </p:nvSpPr>
        <p:spPr>
          <a:xfrm>
            <a:off x="2668249" y="0"/>
            <a:ext cx="952375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1E27B37E-3361-AC46-9DD3-9E11E0F319D4}"/>
              </a:ext>
            </a:extLst>
          </p:cNvPr>
          <p:cNvSpPr>
            <a:spLocks noGrp="1"/>
          </p:cNvSpPr>
          <p:nvPr>
            <p:ph type="body" sz="quarter" idx="16"/>
          </p:nvPr>
        </p:nvSpPr>
        <p:spPr>
          <a:xfrm>
            <a:off x="356219" y="400655"/>
            <a:ext cx="2207099" cy="5458587"/>
          </a:xfrm>
          <a:solidFill>
            <a:schemeClr val="bg1"/>
          </a:solidFill>
          <a:ln>
            <a:solidFill>
              <a:schemeClr val="bg1"/>
            </a:solidFill>
          </a:ln>
        </p:spPr>
        <p:txBody>
          <a:bodyPr>
            <a:normAutofit lnSpcReduction="10000"/>
          </a:bodyPr>
          <a:lstStyle/>
          <a:p>
            <a:r>
              <a:rPr lang="en-IE" sz="2400">
                <a:effectLst/>
                <a:latin typeface="Calibri" panose="020F0502020204030204" pitchFamily="34" charset="0"/>
                <a:ea typeface="Calibri" panose="020F0502020204030204" pitchFamily="34" charset="0"/>
                <a:cs typeface="Calibri" panose="020F0502020204030204" pitchFamily="34" charset="0"/>
              </a:rPr>
              <a:t>Basado en las conclusiones del </a:t>
            </a:r>
            <a:r>
              <a:rPr lang="en-IE" sz="2400" b="1">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Marco de Aprendizaje del Sistema Internacional de Alerta Temprana SECURE </a:t>
            </a:r>
            <a:r>
              <a:rPr lang="en-IE" sz="2400" b="1">
                <a:solidFill>
                  <a:srgbClr val="B41F7A"/>
                </a:solidFill>
                <a:effectLst/>
                <a:latin typeface="Calibri" panose="020F0502020204030204" pitchFamily="34" charset="0"/>
                <a:ea typeface="Calibri" panose="020F0502020204030204" pitchFamily="34" charset="0"/>
                <a:cs typeface="Calibri" panose="020F0502020204030204" pitchFamily="34" charset="0"/>
              </a:rPr>
              <a:t>(IO1)</a:t>
            </a:r>
            <a:r>
              <a:rPr lang="en-IE" sz="2400">
                <a:effectLst/>
                <a:latin typeface="Calibri" panose="020F0502020204030204" pitchFamily="34" charset="0"/>
                <a:ea typeface="Calibri" panose="020F0502020204030204" pitchFamily="34" charset="0"/>
                <a:cs typeface="Calibri" panose="020F0502020204030204" pitchFamily="34" charset="0"/>
              </a:rPr>
              <a:t>, el paquete de EFP SECURE y el modelo de aprendizaje han sido diseñados a través de seis atractivos módulos de formación</a:t>
            </a:r>
            <a:endParaRPr lang="en-IE" sz="2400">
              <a:effectLst/>
              <a:latin typeface="Calibri" panose="020F0502020204030204" pitchFamily="34" charset="0"/>
              <a:ea typeface="Calibri" panose="020F0502020204030204" pitchFamily="34" charset="0"/>
              <a:cs typeface="Times New Roman" panose="02020603050405020304" pitchFamily="18" charset="0"/>
            </a:endParaRPr>
          </a:p>
          <a:p>
            <a:endParaRPr lang="en-US"/>
          </a:p>
        </p:txBody>
      </p:sp>
      <p:sp>
        <p:nvSpPr>
          <p:cNvPr id="17" name="Rounded Rectangle 16">
            <a:extLst>
              <a:ext uri="{FF2B5EF4-FFF2-40B4-BE49-F238E27FC236}">
                <a16:creationId xmlns:a16="http://schemas.microsoft.com/office/drawing/2014/main" id="{55EC57C1-33DE-1216-353C-2D3394601420}"/>
              </a:ext>
            </a:extLst>
          </p:cNvPr>
          <p:cNvSpPr/>
          <p:nvPr/>
        </p:nvSpPr>
        <p:spPr>
          <a:xfrm>
            <a:off x="2962494" y="166765"/>
            <a:ext cx="9009846" cy="1145020"/>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19" name="Text Placeholder 5">
            <a:extLst>
              <a:ext uri="{FF2B5EF4-FFF2-40B4-BE49-F238E27FC236}">
                <a16:creationId xmlns:a16="http://schemas.microsoft.com/office/drawing/2014/main" id="{70A571B5-D1B8-88CE-9EAE-243C1C33F8BA}"/>
              </a:ext>
            </a:extLst>
          </p:cNvPr>
          <p:cNvSpPr txBox="1"/>
          <p:nvPr/>
        </p:nvSpPr>
        <p:spPr>
          <a:xfrm>
            <a:off x="3013348" y="557910"/>
            <a:ext cx="8944014"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ct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85750" indent="-285750" algn="l">
              <a:lnSpc>
                <a:spcPts val="1520"/>
              </a:lnSpc>
              <a:buClr>
                <a:srgbClr val="94C33D"/>
              </a:buClr>
              <a:buFont typeface="Arial" panose="020B0604020202020204" pitchFamily="34" charset="0"/>
              <a:buChar char="•"/>
            </a:pPr>
            <a:r>
              <a:rPr lang="en-GB" sz="1600">
                <a:solidFill>
                  <a:srgbClr val="4B4B4B"/>
                </a:solidFill>
                <a:latin typeface="Calibri" panose="020F0502020204030204" pitchFamily="34" charset="0"/>
                <a:cs typeface="Calibri" panose="020F0502020204030204" pitchFamily="34" charset="0"/>
              </a:rPr>
              <a:t>¿Qué es una crisis empresarial y cuáles son los mecanismos de detección temprana?</a:t>
            </a:r>
          </a:p>
          <a:p>
            <a:pPr marL="285750" indent="-285750" algn="l">
              <a:lnSpc>
                <a:spcPts val="1520"/>
              </a:lnSpc>
              <a:buClr>
                <a:srgbClr val="94C33D"/>
              </a:buClr>
              <a:buFont typeface="Arial" panose="020B0604020202020204" pitchFamily="34" charset="0"/>
              <a:buChar char="•"/>
            </a:pPr>
            <a:r>
              <a:rPr lang="en-GB" sz="1600">
                <a:solidFill>
                  <a:srgbClr val="4B4B4B"/>
                </a:solidFill>
                <a:latin typeface="Calibri" panose="020F0502020204030204" pitchFamily="34" charset="0"/>
                <a:cs typeface="Calibri" panose="020F0502020204030204" pitchFamily="34" charset="0"/>
              </a:rPr>
              <a:t>Saber cuándo - una visión general de las 3 fases de la crisis de las PYME/empresas - etapas principales, la pre-crisis, la etapa de gestión y respuesta propiamente dicha y la post-crisis</a:t>
            </a:r>
          </a:p>
        </p:txBody>
      </p:sp>
      <p:sp>
        <p:nvSpPr>
          <p:cNvPr id="20" name="Rectangle 19">
            <a:extLst>
              <a:ext uri="{FF2B5EF4-FFF2-40B4-BE49-F238E27FC236}">
                <a16:creationId xmlns:a16="http://schemas.microsoft.com/office/drawing/2014/main" id="{F7F0EB08-604D-129F-741D-2948D51A8919}"/>
              </a:ext>
            </a:extLst>
          </p:cNvPr>
          <p:cNvSpPr/>
          <p:nvPr/>
        </p:nvSpPr>
        <p:spPr>
          <a:xfrm>
            <a:off x="5855677" y="189922"/>
            <a:ext cx="5975302" cy="353943"/>
          </a:xfrm>
          <a:prstGeom prst="rect">
            <a:avLst/>
          </a:prstGeom>
        </p:spPr>
        <p:txBody>
          <a:bodyPr wrap="square">
            <a:spAutoFit/>
          </a:bodyPr>
          <a:lstStyle/>
          <a:p>
            <a:pPr algn="r"/>
            <a:r>
              <a:rPr lang="en-IE" sz="1700" b="1">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LOS FUNDAMENTOS </a:t>
            </a:r>
            <a:endParaRPr lang="en-US" sz="1700" b="1">
              <a:solidFill>
                <a:schemeClr val="bg1"/>
              </a:solidFill>
              <a:highlight>
                <a:srgbClr val="B41F7A"/>
              </a:highlight>
              <a:latin typeface="Calibri" panose="020F0502020204030204" pitchFamily="34" charset="0"/>
              <a:cs typeface="Calibri" panose="020F0502020204030204" pitchFamily="34" charset="0"/>
            </a:endParaRPr>
          </a:p>
        </p:txBody>
      </p:sp>
      <p:cxnSp>
        <p:nvCxnSpPr>
          <p:cNvPr id="21" name="Straight Connector 20">
            <a:extLst>
              <a:ext uri="{FF2B5EF4-FFF2-40B4-BE49-F238E27FC236}">
                <a16:creationId xmlns:a16="http://schemas.microsoft.com/office/drawing/2014/main" id="{1F37A575-2ED8-1EBC-F2B2-1449E8AAF1DB}"/>
              </a:ext>
            </a:extLst>
          </p:cNvPr>
          <p:cNvCxnSpPr/>
          <p:nvPr/>
        </p:nvCxnSpPr>
        <p:spPr>
          <a:xfrm>
            <a:off x="2962494" y="529444"/>
            <a:ext cx="9009845"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2" name="Rounded Rectangle 21">
            <a:extLst>
              <a:ext uri="{FF2B5EF4-FFF2-40B4-BE49-F238E27FC236}">
                <a16:creationId xmlns:a16="http://schemas.microsoft.com/office/drawing/2014/main" id="{7580A485-61BC-7608-B2CB-90500B2D835F}"/>
              </a:ext>
            </a:extLst>
          </p:cNvPr>
          <p:cNvSpPr/>
          <p:nvPr/>
        </p:nvSpPr>
        <p:spPr>
          <a:xfrm>
            <a:off x="2967295" y="1382668"/>
            <a:ext cx="9009846" cy="1094723"/>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23" name="Text Placeholder 5">
            <a:extLst>
              <a:ext uri="{FF2B5EF4-FFF2-40B4-BE49-F238E27FC236}">
                <a16:creationId xmlns:a16="http://schemas.microsoft.com/office/drawing/2014/main" id="{EFB34814-D436-4A99-1CB4-0BF730F067F4}"/>
              </a:ext>
            </a:extLst>
          </p:cNvPr>
          <p:cNvSpPr txBox="1"/>
          <p:nvPr/>
        </p:nvSpPr>
        <p:spPr>
          <a:xfrm>
            <a:off x="3018449" y="1773812"/>
            <a:ext cx="8938417"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ct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nSpc>
                <a:spcPts val="1520"/>
              </a:lnSpc>
              <a:buClr>
                <a:srgbClr val="94C33D"/>
              </a:buClr>
            </a:pPr>
            <a:r>
              <a:rPr lang="en-GB" sz="1600">
                <a:solidFill>
                  <a:srgbClr val="4B4B4B"/>
                </a:solidFill>
                <a:latin typeface="Calibri" panose="020F0502020204030204" pitchFamily="34" charset="0"/>
                <a:cs typeface="Calibri" panose="020F0502020204030204" pitchFamily="34" charset="0"/>
              </a:rPr>
              <a:t>No lo viste venir, no suele ser algo para lo que estés preparado, pero una vez que sucede, desearías haberlo estado, por ejemplo, crisis naturales, debilitamiento de la economía y calamidades, entorno de mercado, por ejemplo, cadenas de suministro , problemas relacionados con la tecnología .</a:t>
            </a:r>
          </a:p>
        </p:txBody>
      </p:sp>
      <p:sp>
        <p:nvSpPr>
          <p:cNvPr id="24" name="Rectangle 23">
            <a:extLst>
              <a:ext uri="{FF2B5EF4-FFF2-40B4-BE49-F238E27FC236}">
                <a16:creationId xmlns:a16="http://schemas.microsoft.com/office/drawing/2014/main" id="{D263234C-8544-8496-E925-CA8F026DDDAF}"/>
              </a:ext>
            </a:extLst>
          </p:cNvPr>
          <p:cNvSpPr/>
          <p:nvPr/>
        </p:nvSpPr>
        <p:spPr>
          <a:xfrm>
            <a:off x="5860478" y="1405824"/>
            <a:ext cx="5975302" cy="353943"/>
          </a:xfrm>
          <a:prstGeom prst="rect">
            <a:avLst/>
          </a:prstGeom>
        </p:spPr>
        <p:txBody>
          <a:bodyPr wrap="square">
            <a:spAutoFit/>
          </a:bodyPr>
          <a:lstStyle/>
          <a:p>
            <a:pPr algn="r"/>
            <a:r>
              <a:rPr lang="en-IE" sz="1700" b="1">
                <a:solidFill>
                  <a:srgbClr val="B41F7A"/>
                </a:solidFill>
                <a:latin typeface="Calibri" panose="020F0502020204030204" pitchFamily="34" charset="0"/>
                <a:ea typeface="Calibri" panose="020F0502020204030204" pitchFamily="34" charset="0"/>
                <a:cs typeface="Calibri" panose="020F0502020204030204" pitchFamily="34" charset="0"/>
              </a:rPr>
              <a:t>UNA CRISIS QUE PROVIENE DE </a:t>
            </a:r>
            <a:r>
              <a:rPr lang="en-IE" sz="1700" b="1">
                <a:solidFill>
                  <a:srgbClr val="B41F7A"/>
                </a:solidFill>
                <a:latin typeface="Calibri" panose="020F0502020204030204" pitchFamily="34" charset="0"/>
                <a:cs typeface="Calibri" panose="020F0502020204030204" pitchFamily="34" charset="0"/>
              </a:rPr>
              <a:t>FACTORES</a:t>
            </a:r>
            <a:r>
              <a:rPr lang="en-IE" sz="1700" b="1">
                <a:solidFill>
                  <a:srgbClr val="B41F7A"/>
                </a:solidFill>
                <a:latin typeface="Calibri" panose="020F0502020204030204" pitchFamily="34" charset="0"/>
                <a:ea typeface="Calibri" panose="020F0502020204030204" pitchFamily="34" charset="0"/>
                <a:cs typeface="Calibri" panose="020F0502020204030204" pitchFamily="34" charset="0"/>
              </a:rPr>
              <a:t> EXTERNOS INEVITABLES </a:t>
            </a:r>
            <a:endParaRPr lang="en-US" sz="1700" b="1">
              <a:solidFill>
                <a:srgbClr val="B41F7A"/>
              </a:solidFill>
              <a:latin typeface="Calibri" panose="020F0502020204030204" pitchFamily="34" charset="0"/>
              <a:cs typeface="Calibri" panose="020F0502020204030204" pitchFamily="34" charset="0"/>
            </a:endParaRPr>
          </a:p>
        </p:txBody>
      </p:sp>
      <p:cxnSp>
        <p:nvCxnSpPr>
          <p:cNvPr id="25" name="Straight Connector 24">
            <a:extLst>
              <a:ext uri="{FF2B5EF4-FFF2-40B4-BE49-F238E27FC236}">
                <a16:creationId xmlns:a16="http://schemas.microsoft.com/office/drawing/2014/main" id="{920CF90D-E0D8-A668-9DCD-8727CE29DB81}"/>
              </a:ext>
            </a:extLst>
          </p:cNvPr>
          <p:cNvCxnSpPr/>
          <p:nvPr/>
        </p:nvCxnSpPr>
        <p:spPr>
          <a:xfrm>
            <a:off x="2962494" y="1745346"/>
            <a:ext cx="9060698"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7" name="Rounded Rectangle 26">
            <a:extLst>
              <a:ext uri="{FF2B5EF4-FFF2-40B4-BE49-F238E27FC236}">
                <a16:creationId xmlns:a16="http://schemas.microsoft.com/office/drawing/2014/main" id="{B25D18A4-7E7D-2EDA-6680-A7CBAB8377B4}"/>
              </a:ext>
            </a:extLst>
          </p:cNvPr>
          <p:cNvSpPr/>
          <p:nvPr/>
        </p:nvSpPr>
        <p:spPr>
          <a:xfrm>
            <a:off x="2968052" y="2572320"/>
            <a:ext cx="8989309" cy="1513058"/>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28" name="Text Placeholder 5">
            <a:extLst>
              <a:ext uri="{FF2B5EF4-FFF2-40B4-BE49-F238E27FC236}">
                <a16:creationId xmlns:a16="http://schemas.microsoft.com/office/drawing/2014/main" id="{152C3B65-705B-FC5C-EDAD-B56FFE2E7561}"/>
              </a:ext>
            </a:extLst>
          </p:cNvPr>
          <p:cNvSpPr txBox="1"/>
          <p:nvPr/>
        </p:nvSpPr>
        <p:spPr>
          <a:xfrm>
            <a:off x="3017939" y="2963465"/>
            <a:ext cx="8947952"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ct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71450" indent="-171450" algn="l">
              <a:lnSpc>
                <a:spcPts val="1520"/>
              </a:lnSpc>
              <a:buClr>
                <a:srgbClr val="F29E38"/>
              </a:buClr>
              <a:buFont typeface="Arial" panose="020B0604020202020204" pitchFamily="34" charset="0"/>
              <a:buChar char="•"/>
            </a:pPr>
            <a:r>
              <a:rPr lang="en-GB" sz="1600">
                <a:solidFill>
                  <a:srgbClr val="4B4B4B"/>
                </a:solidFill>
                <a:latin typeface="Calibri" panose="020F0502020204030204" pitchFamily="34" charset="0"/>
                <a:cs typeface="Calibri" panose="020F0502020204030204" pitchFamily="34" charset="0"/>
              </a:rPr>
              <a:t>Habilidades y cultura de gestión, </a:t>
            </a:r>
          </a:p>
          <a:p>
            <a:pPr marL="171450" indent="-171450" algn="l">
              <a:lnSpc>
                <a:spcPts val="1520"/>
              </a:lnSpc>
              <a:buClr>
                <a:srgbClr val="F29E38"/>
              </a:buClr>
              <a:buFont typeface="Arial" panose="020B0604020202020204" pitchFamily="34" charset="0"/>
              <a:buChar char="•"/>
            </a:pPr>
            <a:r>
              <a:rPr lang="en-GB" sz="1600">
                <a:solidFill>
                  <a:srgbClr val="4B4B4B"/>
                </a:solidFill>
                <a:latin typeface="Calibri" panose="020F0502020204030204" pitchFamily="34" charset="0"/>
                <a:cs typeface="Calibri" panose="020F0502020204030204" pitchFamily="34" charset="0"/>
              </a:rPr>
              <a:t>Crisis de ventas de productos, cartera de clientes, dependencia, relaciones.</a:t>
            </a:r>
          </a:p>
          <a:p>
            <a:pPr marL="171450" indent="-171450" algn="l">
              <a:lnSpc>
                <a:spcPts val="1520"/>
              </a:lnSpc>
              <a:buClr>
                <a:srgbClr val="F29E38"/>
              </a:buClr>
              <a:buFont typeface="Arial" panose="020B0604020202020204" pitchFamily="34" charset="0"/>
              <a:buChar char="•"/>
            </a:pPr>
            <a:r>
              <a:rPr lang="en-GB" sz="1600">
                <a:solidFill>
                  <a:srgbClr val="4B4B4B"/>
                </a:solidFill>
                <a:latin typeface="Calibri" panose="020F0502020204030204" pitchFamily="34" charset="0"/>
                <a:cs typeface="Calibri" panose="020F0502020204030204" pitchFamily="34" charset="0"/>
              </a:rPr>
              <a:t>Sistemas de datos y herramientas de análisis interno y externo en la empresa</a:t>
            </a:r>
          </a:p>
          <a:p>
            <a:pPr marL="171450" indent="-171450" algn="l">
              <a:lnSpc>
                <a:spcPts val="1520"/>
              </a:lnSpc>
              <a:buClr>
                <a:srgbClr val="F29E38"/>
              </a:buClr>
              <a:buFont typeface="Arial" panose="020B0604020202020204" pitchFamily="34" charset="0"/>
              <a:buChar char="•"/>
            </a:pPr>
            <a:r>
              <a:rPr lang="en-GB" sz="1600">
                <a:solidFill>
                  <a:srgbClr val="4B4B4B"/>
                </a:solidFill>
                <a:latin typeface="Calibri" panose="020F0502020204030204" pitchFamily="34" charset="0"/>
                <a:cs typeface="Calibri" panose="020F0502020204030204" pitchFamily="34" charset="0"/>
              </a:rPr>
              <a:t>Beneficios y crisis de liquidez</a:t>
            </a:r>
          </a:p>
          <a:p>
            <a:pPr marL="171450" indent="-171450" algn="l">
              <a:lnSpc>
                <a:spcPts val="1520"/>
              </a:lnSpc>
              <a:buClr>
                <a:srgbClr val="F29E38"/>
              </a:buClr>
              <a:buFont typeface="Arial" panose="020B0604020202020204" pitchFamily="34" charset="0"/>
              <a:buChar char="•"/>
            </a:pPr>
            <a:r>
              <a:rPr lang="en-GB" sz="1600">
                <a:solidFill>
                  <a:srgbClr val="4B4B4B"/>
                </a:solidFill>
                <a:latin typeface="Calibri" panose="020F0502020204030204" pitchFamily="34" charset="0"/>
                <a:cs typeface="Calibri" panose="020F0502020204030204" pitchFamily="34" charset="0"/>
              </a:rPr>
              <a:t>Crisis operativa</a:t>
            </a:r>
          </a:p>
          <a:p>
            <a:pPr marL="171450" indent="-171450" algn="l">
              <a:lnSpc>
                <a:spcPts val="1520"/>
              </a:lnSpc>
              <a:buClr>
                <a:srgbClr val="F29E38"/>
              </a:buClr>
              <a:buFont typeface="Arial" panose="020B0604020202020204" pitchFamily="34" charset="0"/>
              <a:buChar char="•"/>
            </a:pPr>
            <a:r>
              <a:rPr lang="en-GB" sz="1600">
                <a:solidFill>
                  <a:srgbClr val="4B4B4B"/>
                </a:solidFill>
                <a:latin typeface="Calibri" panose="020F0502020204030204" pitchFamily="34" charset="0"/>
                <a:cs typeface="Calibri" panose="020F0502020204030204" pitchFamily="34" charset="0"/>
              </a:rPr>
              <a:t>Déficit tecnológico: falta de conocimientos y recursos </a:t>
            </a:r>
          </a:p>
          <a:p>
            <a:pPr marL="171450" indent="-171450" algn="l">
              <a:lnSpc>
                <a:spcPts val="1520"/>
              </a:lnSpc>
              <a:buClr>
                <a:srgbClr val="F29E38"/>
              </a:buClr>
              <a:buFont typeface="Arial" panose="020B0604020202020204" pitchFamily="34" charset="0"/>
              <a:buChar char="•"/>
            </a:pPr>
            <a:r>
              <a:rPr lang="en-GB" sz="1600">
                <a:solidFill>
                  <a:srgbClr val="4B4B4B"/>
                </a:solidFill>
                <a:latin typeface="Calibri" panose="020F0502020204030204" pitchFamily="34" charset="0"/>
                <a:cs typeface="Calibri" panose="020F0502020204030204" pitchFamily="34" charset="0"/>
              </a:rPr>
              <a:t>Crisis de organización/personal</a:t>
            </a:r>
          </a:p>
        </p:txBody>
      </p:sp>
      <p:sp>
        <p:nvSpPr>
          <p:cNvPr id="29" name="Rectangle 28">
            <a:extLst>
              <a:ext uri="{FF2B5EF4-FFF2-40B4-BE49-F238E27FC236}">
                <a16:creationId xmlns:a16="http://schemas.microsoft.com/office/drawing/2014/main" id="{BDD3F0A1-DF76-3CC5-EA43-D7F0F2F8F0B1}"/>
              </a:ext>
            </a:extLst>
          </p:cNvPr>
          <p:cNvSpPr/>
          <p:nvPr/>
        </p:nvSpPr>
        <p:spPr>
          <a:xfrm>
            <a:off x="5860479" y="2595477"/>
            <a:ext cx="5975302" cy="353943"/>
          </a:xfrm>
          <a:prstGeom prst="rect">
            <a:avLst/>
          </a:prstGeom>
        </p:spPr>
        <p:txBody>
          <a:bodyPr wrap="square">
            <a:spAutoFit/>
          </a:bodyPr>
          <a:lstStyle/>
          <a:p>
            <a:pPr algn="r"/>
            <a:r>
              <a:rPr lang="en-IE" sz="1700" b="1">
                <a:solidFill>
                  <a:srgbClr val="B41F7A"/>
                </a:solidFill>
                <a:latin typeface="Calibri" panose="020F0502020204030204" pitchFamily="34" charset="0"/>
                <a:ea typeface="Calibri" panose="020F0502020204030204" pitchFamily="34" charset="0"/>
                <a:cs typeface="Calibri" panose="020F0502020204030204" pitchFamily="34" charset="0"/>
              </a:rPr>
              <a:t>UNA CRISIS QUE PROVIENE DE FACTORES INTERNOS </a:t>
            </a:r>
            <a:endParaRPr lang="en-US" sz="1700" b="1">
              <a:solidFill>
                <a:srgbClr val="B41F7A"/>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2CAA178B-D257-47AD-3AE8-7D0126905FD7}"/>
              </a:ext>
            </a:extLst>
          </p:cNvPr>
          <p:cNvCxnSpPr/>
          <p:nvPr/>
        </p:nvCxnSpPr>
        <p:spPr>
          <a:xfrm>
            <a:off x="2944049" y="2934430"/>
            <a:ext cx="9012816"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44" name="Rounded Rectangle 43">
            <a:extLst>
              <a:ext uri="{FF2B5EF4-FFF2-40B4-BE49-F238E27FC236}">
                <a16:creationId xmlns:a16="http://schemas.microsoft.com/office/drawing/2014/main" id="{529FD0A8-E1E8-3716-5B14-A030FDBBBC6C}"/>
              </a:ext>
            </a:extLst>
          </p:cNvPr>
          <p:cNvSpPr/>
          <p:nvPr/>
        </p:nvSpPr>
        <p:spPr>
          <a:xfrm>
            <a:off x="2980442" y="4197308"/>
            <a:ext cx="9009846" cy="392400"/>
          </a:xfrm>
          <a:prstGeom prst="roundRect">
            <a:avLst>
              <a:gd name="adj" fmla="val 319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46" name="Rectangle 45">
            <a:extLst>
              <a:ext uri="{FF2B5EF4-FFF2-40B4-BE49-F238E27FC236}">
                <a16:creationId xmlns:a16="http://schemas.microsoft.com/office/drawing/2014/main" id="{68030157-0956-DA93-62D7-1169188D5467}"/>
              </a:ext>
            </a:extLst>
          </p:cNvPr>
          <p:cNvSpPr/>
          <p:nvPr/>
        </p:nvSpPr>
        <p:spPr>
          <a:xfrm>
            <a:off x="3510035" y="4219575"/>
            <a:ext cx="8320943" cy="353943"/>
          </a:xfrm>
          <a:prstGeom prst="rect">
            <a:avLst/>
          </a:prstGeom>
        </p:spPr>
        <p:txBody>
          <a:bodyPr wrap="square">
            <a:spAutoFit/>
          </a:bodyPr>
          <a:lstStyle/>
          <a:p>
            <a:pPr algn="r"/>
            <a:r>
              <a:rPr lang="en-IE" sz="1700" b="1">
                <a:solidFill>
                  <a:srgbClr val="B41F7A"/>
                </a:solidFill>
                <a:latin typeface="Calibri" panose="020F0502020204030204" pitchFamily="34" charset="0"/>
                <a:ea typeface="Calibri" panose="020F0502020204030204" pitchFamily="34" charset="0"/>
                <a:cs typeface="Calibri" panose="020F0502020204030204" pitchFamily="34" charset="0"/>
              </a:rPr>
              <a:t>CULTURA DE LIDERAZGO, GESTIÓN DE LAS PARTES INTERESADAS Y COMUNICACIONES</a:t>
            </a:r>
          </a:p>
        </p:txBody>
      </p:sp>
      <p:sp>
        <p:nvSpPr>
          <p:cNvPr id="49" name="Rounded Rectangle 48">
            <a:extLst>
              <a:ext uri="{FF2B5EF4-FFF2-40B4-BE49-F238E27FC236}">
                <a16:creationId xmlns:a16="http://schemas.microsoft.com/office/drawing/2014/main" id="{777D8D7E-0D9A-0455-CBEF-1371A6716F34}"/>
              </a:ext>
            </a:extLst>
          </p:cNvPr>
          <p:cNvSpPr/>
          <p:nvPr/>
        </p:nvSpPr>
        <p:spPr>
          <a:xfrm>
            <a:off x="2980442" y="4701081"/>
            <a:ext cx="9009846" cy="518349"/>
          </a:xfrm>
          <a:prstGeom prst="roundRect">
            <a:avLst>
              <a:gd name="adj" fmla="val 309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50" name="Rectangle 49">
            <a:extLst>
              <a:ext uri="{FF2B5EF4-FFF2-40B4-BE49-F238E27FC236}">
                <a16:creationId xmlns:a16="http://schemas.microsoft.com/office/drawing/2014/main" id="{ADF52507-0383-9169-CA75-DFEBCD0269F8}"/>
              </a:ext>
            </a:extLst>
          </p:cNvPr>
          <p:cNvSpPr/>
          <p:nvPr/>
        </p:nvSpPr>
        <p:spPr>
          <a:xfrm>
            <a:off x="5855676" y="4723452"/>
            <a:ext cx="6101189" cy="486543"/>
          </a:xfrm>
          <a:prstGeom prst="rect">
            <a:avLst/>
          </a:prstGeom>
        </p:spPr>
        <p:txBody>
          <a:bodyPr wrap="square">
            <a:spAutoFit/>
          </a:bodyPr>
          <a:lstStyle/>
          <a:p>
            <a:pPr algn="r">
              <a:lnSpc>
                <a:spcPts val="1540"/>
              </a:lnSpc>
            </a:pPr>
            <a:r>
              <a:rPr lang="en-IE" sz="1700" b="1">
                <a:solidFill>
                  <a:srgbClr val="B41F7A"/>
                </a:solidFill>
                <a:latin typeface="Calibri" panose="020F0502020204030204" pitchFamily="34" charset="0"/>
                <a:ea typeface="Calibri" panose="020F0502020204030204" pitchFamily="34" charset="0"/>
                <a:cs typeface="Calibri" panose="020F0502020204030204" pitchFamily="34" charset="0"/>
              </a:rPr>
              <a:t>COMPRENDER LOS RATIOS FINANCIEROS Y DE LIQUIDEZ Y LA INSOLVENCIA COMO ENFOQUE DE REESTRUCTURACIÓN</a:t>
            </a:r>
          </a:p>
        </p:txBody>
      </p:sp>
      <p:sp>
        <p:nvSpPr>
          <p:cNvPr id="51" name="Rounded Rectangle 50">
            <a:extLst>
              <a:ext uri="{FF2B5EF4-FFF2-40B4-BE49-F238E27FC236}">
                <a16:creationId xmlns:a16="http://schemas.microsoft.com/office/drawing/2014/main" id="{9639D44A-E93B-DC5B-8D95-6C4C97BF0661}"/>
              </a:ext>
            </a:extLst>
          </p:cNvPr>
          <p:cNvSpPr/>
          <p:nvPr/>
        </p:nvSpPr>
        <p:spPr>
          <a:xfrm>
            <a:off x="3013347" y="5336331"/>
            <a:ext cx="9009846" cy="1366924"/>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52" name="Text Placeholder 5">
            <a:extLst>
              <a:ext uri="{FF2B5EF4-FFF2-40B4-BE49-F238E27FC236}">
                <a16:creationId xmlns:a16="http://schemas.microsoft.com/office/drawing/2014/main" id="{78EF06B1-79E9-0704-E024-BFD25937B8B6}"/>
              </a:ext>
            </a:extLst>
          </p:cNvPr>
          <p:cNvSpPr txBox="1"/>
          <p:nvPr/>
        </p:nvSpPr>
        <p:spPr>
          <a:xfrm>
            <a:off x="3067106" y="5745569"/>
            <a:ext cx="8889760" cy="529301"/>
          </a:xfrm>
          <a:prstGeom prst="rect">
            <a:avLst/>
          </a:prstGeom>
        </p:spPr>
        <p:txBody>
          <a:bodyPr vert="horz" lIns="91440" tIns="45720" rIns="91440" bIns="45720" numCol="1" spcCol="216000" rtlCol="0" anchor="t">
            <a:noAutofit/>
          </a:bodyPr>
          <a:lstStyle>
            <a:lvl1pPr marL="0" indent="0" algn="just" defTabSz="755934" rtl="0" eaLnBrk="1" latinLnBrk="0" hangingPunct="1">
              <a:lnSpc>
                <a:spcPts val="1100"/>
              </a:lnSpc>
              <a:spcBef>
                <a:spcPct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nSpc>
                <a:spcPts val="1520"/>
              </a:lnSpc>
              <a:buClr>
                <a:srgbClr val="F29E38"/>
              </a:buClr>
            </a:pPr>
            <a:r>
              <a:rPr lang="en-GB" sz="1600">
                <a:solidFill>
                  <a:srgbClr val="4B4B4B"/>
                </a:solidFill>
                <a:latin typeface="Calibri" panose="020F0502020204030204" pitchFamily="34" charset="0"/>
                <a:cs typeface="Calibri" panose="020F0502020204030204" pitchFamily="34" charset="0"/>
              </a:rPr>
              <a:t>Como PYME con recursos limitados, ¿cómo puede implantar sistemas de alerta temprana que le permitan detectar las crisis en una fase temprana antes de que adquieran dimensiones que amenacen la existencia de la empresa?</a:t>
            </a:r>
          </a:p>
        </p:txBody>
      </p:sp>
      <p:sp>
        <p:nvSpPr>
          <p:cNvPr id="53" name="Rectangle 52">
            <a:extLst>
              <a:ext uri="{FF2B5EF4-FFF2-40B4-BE49-F238E27FC236}">
                <a16:creationId xmlns:a16="http://schemas.microsoft.com/office/drawing/2014/main" id="{A6E1A3DB-C358-5E1A-FC80-75C73A25FF48}"/>
              </a:ext>
            </a:extLst>
          </p:cNvPr>
          <p:cNvSpPr/>
          <p:nvPr/>
        </p:nvSpPr>
        <p:spPr>
          <a:xfrm>
            <a:off x="3527984" y="5387397"/>
            <a:ext cx="8302994" cy="353943"/>
          </a:xfrm>
          <a:prstGeom prst="rect">
            <a:avLst/>
          </a:prstGeom>
        </p:spPr>
        <p:txBody>
          <a:bodyPr wrap="square">
            <a:spAutoFit/>
          </a:bodyPr>
          <a:lstStyle/>
          <a:p>
            <a:pPr algn="r"/>
            <a:r>
              <a:rPr lang="en-IE" sz="1700" b="1">
                <a:solidFill>
                  <a:srgbClr val="B41F7A"/>
                </a:solidFill>
                <a:latin typeface="Calibri" panose="020F0502020204030204" pitchFamily="34" charset="0"/>
                <a:ea typeface="Calibri" panose="020F0502020204030204" pitchFamily="34" charset="0"/>
                <a:cs typeface="Calibri" panose="020F0502020204030204" pitchFamily="34" charset="0"/>
              </a:rPr>
              <a:t>SISTEMAS DE ALERTA TEMPRANA </a:t>
            </a:r>
          </a:p>
        </p:txBody>
      </p:sp>
      <p:cxnSp>
        <p:nvCxnSpPr>
          <p:cNvPr id="54" name="Straight Connector 53">
            <a:extLst>
              <a:ext uri="{FF2B5EF4-FFF2-40B4-BE49-F238E27FC236}">
                <a16:creationId xmlns:a16="http://schemas.microsoft.com/office/drawing/2014/main" id="{48E79B4A-2FC3-30C4-023E-4DA3AB0B8C49}"/>
              </a:ext>
            </a:extLst>
          </p:cNvPr>
          <p:cNvCxnSpPr/>
          <p:nvPr/>
        </p:nvCxnSpPr>
        <p:spPr>
          <a:xfrm>
            <a:off x="2944049" y="5709308"/>
            <a:ext cx="9079143"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57" name="Text Placeholder 4">
            <a:extLst>
              <a:ext uri="{FF2B5EF4-FFF2-40B4-BE49-F238E27FC236}">
                <a16:creationId xmlns:a16="http://schemas.microsoft.com/office/drawing/2014/main" id="{496F6F45-D811-6B5B-132C-DE6E739F8E65}"/>
              </a:ext>
            </a:extLst>
          </p:cNvPr>
          <p:cNvSpPr txBox="1"/>
          <p:nvPr/>
        </p:nvSpPr>
        <p:spPr>
          <a:xfrm>
            <a:off x="2569773" y="1423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ct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a:solidFill>
                  <a:schemeClr val="bg1"/>
                </a:solidFill>
                <a:latin typeface="Calibri" panose="020F0502020204030204" pitchFamily="34" charset="0"/>
                <a:cs typeface="Calibri" panose="020F0502020204030204" pitchFamily="34" charset="0"/>
              </a:rPr>
              <a:t>MÓDULO 01</a:t>
            </a:r>
            <a:endParaRPr lang="en-US" sz="1600">
              <a:solidFill>
                <a:schemeClr val="bg1"/>
              </a:solidFill>
              <a:latin typeface="Calibri" panose="020F0502020204030204" pitchFamily="34" charset="0"/>
              <a:cs typeface="Calibri" panose="020F0502020204030204" pitchFamily="34" charset="0"/>
            </a:endParaRPr>
          </a:p>
        </p:txBody>
      </p:sp>
      <p:sp>
        <p:nvSpPr>
          <p:cNvPr id="62" name="Text Placeholder 4">
            <a:extLst>
              <a:ext uri="{FF2B5EF4-FFF2-40B4-BE49-F238E27FC236}">
                <a16:creationId xmlns:a16="http://schemas.microsoft.com/office/drawing/2014/main" id="{16534864-1C25-1182-C98F-DD21FEECF91E}"/>
              </a:ext>
            </a:extLst>
          </p:cNvPr>
          <p:cNvSpPr txBox="1"/>
          <p:nvPr/>
        </p:nvSpPr>
        <p:spPr>
          <a:xfrm>
            <a:off x="2569773" y="1377379"/>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ct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a:solidFill>
                  <a:schemeClr val="bg1"/>
                </a:solidFill>
                <a:latin typeface="Calibri" panose="020F0502020204030204" pitchFamily="34" charset="0"/>
                <a:cs typeface="Calibri" panose="020F0502020204030204" pitchFamily="34" charset="0"/>
              </a:rPr>
              <a:t>MÓDULO 02</a:t>
            </a:r>
            <a:endParaRPr lang="en-US" sz="1600">
              <a:solidFill>
                <a:schemeClr val="bg1"/>
              </a:solidFill>
              <a:latin typeface="Calibri" panose="020F0502020204030204" pitchFamily="34" charset="0"/>
              <a:cs typeface="Calibri" panose="020F0502020204030204" pitchFamily="34" charset="0"/>
            </a:endParaRPr>
          </a:p>
        </p:txBody>
      </p:sp>
      <p:sp>
        <p:nvSpPr>
          <p:cNvPr id="64" name="Text Placeholder 4">
            <a:extLst>
              <a:ext uri="{FF2B5EF4-FFF2-40B4-BE49-F238E27FC236}">
                <a16:creationId xmlns:a16="http://schemas.microsoft.com/office/drawing/2014/main" id="{A5F664FE-7982-7DC0-7903-5F2A59708D6F}"/>
              </a:ext>
            </a:extLst>
          </p:cNvPr>
          <p:cNvSpPr txBox="1"/>
          <p:nvPr/>
        </p:nvSpPr>
        <p:spPr>
          <a:xfrm>
            <a:off x="2569773" y="255574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ct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a:solidFill>
                  <a:schemeClr val="bg1"/>
                </a:solidFill>
                <a:latin typeface="Calibri" panose="020F0502020204030204" pitchFamily="34" charset="0"/>
                <a:cs typeface="Calibri" panose="020F0502020204030204" pitchFamily="34" charset="0"/>
              </a:rPr>
              <a:t>MÓDULO 03</a:t>
            </a:r>
            <a:endParaRPr lang="en-US" sz="1600">
              <a:solidFill>
                <a:schemeClr val="bg1"/>
              </a:solidFill>
              <a:latin typeface="Calibri" panose="020F0502020204030204" pitchFamily="34" charset="0"/>
              <a:cs typeface="Calibri" panose="020F0502020204030204" pitchFamily="34" charset="0"/>
            </a:endParaRPr>
          </a:p>
        </p:txBody>
      </p:sp>
      <p:sp>
        <p:nvSpPr>
          <p:cNvPr id="65" name="Text Placeholder 4">
            <a:extLst>
              <a:ext uri="{FF2B5EF4-FFF2-40B4-BE49-F238E27FC236}">
                <a16:creationId xmlns:a16="http://schemas.microsoft.com/office/drawing/2014/main" id="{CB0473A0-F62E-1EE0-F713-F5CC99DD5045}"/>
              </a:ext>
            </a:extLst>
          </p:cNvPr>
          <p:cNvSpPr txBox="1"/>
          <p:nvPr/>
        </p:nvSpPr>
        <p:spPr>
          <a:xfrm>
            <a:off x="2569773" y="4208602"/>
            <a:ext cx="1463952" cy="392400"/>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ct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a:solidFill>
                  <a:schemeClr val="bg1"/>
                </a:solidFill>
                <a:latin typeface="Calibri" panose="020F0502020204030204" pitchFamily="34" charset="0"/>
                <a:cs typeface="Calibri" panose="020F0502020204030204" pitchFamily="34" charset="0"/>
              </a:rPr>
              <a:t>MÓDULO 04</a:t>
            </a:r>
            <a:endParaRPr lang="en-US" sz="1600">
              <a:solidFill>
                <a:schemeClr val="bg1"/>
              </a:solidFill>
              <a:latin typeface="Calibri" panose="020F0502020204030204" pitchFamily="34" charset="0"/>
              <a:cs typeface="Calibri" panose="020F0502020204030204" pitchFamily="34" charset="0"/>
            </a:endParaRPr>
          </a:p>
        </p:txBody>
      </p:sp>
      <p:sp>
        <p:nvSpPr>
          <p:cNvPr id="66" name="Text Placeholder 4">
            <a:extLst>
              <a:ext uri="{FF2B5EF4-FFF2-40B4-BE49-F238E27FC236}">
                <a16:creationId xmlns:a16="http://schemas.microsoft.com/office/drawing/2014/main" id="{0B100C19-528C-CBCC-D5B7-058C07509ECC}"/>
              </a:ext>
            </a:extLst>
          </p:cNvPr>
          <p:cNvSpPr txBox="1"/>
          <p:nvPr/>
        </p:nvSpPr>
        <p:spPr>
          <a:xfrm>
            <a:off x="2569773" y="471549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ct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a:solidFill>
                  <a:schemeClr val="bg1"/>
                </a:solidFill>
                <a:latin typeface="Calibri" panose="020F0502020204030204" pitchFamily="34" charset="0"/>
                <a:cs typeface="Calibri" panose="020F0502020204030204" pitchFamily="34" charset="0"/>
              </a:rPr>
              <a:t>MÓDULO 05</a:t>
            </a:r>
            <a:endParaRPr lang="en-US" sz="1600">
              <a:solidFill>
                <a:schemeClr val="bg1"/>
              </a:solidFill>
              <a:latin typeface="Calibri" panose="020F0502020204030204" pitchFamily="34" charset="0"/>
              <a:cs typeface="Calibri" panose="020F0502020204030204" pitchFamily="34" charset="0"/>
            </a:endParaRPr>
          </a:p>
        </p:txBody>
      </p:sp>
      <p:sp>
        <p:nvSpPr>
          <p:cNvPr id="69" name="Text Placeholder 4">
            <a:extLst>
              <a:ext uri="{FF2B5EF4-FFF2-40B4-BE49-F238E27FC236}">
                <a16:creationId xmlns:a16="http://schemas.microsoft.com/office/drawing/2014/main" id="{43DCCEA6-6A2A-CCBA-2094-FA8DC0EC4CA1}"/>
              </a:ext>
            </a:extLst>
          </p:cNvPr>
          <p:cNvSpPr txBox="1"/>
          <p:nvPr/>
        </p:nvSpPr>
        <p:spPr>
          <a:xfrm>
            <a:off x="2559632" y="53336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ct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a:solidFill>
                  <a:schemeClr val="bg1"/>
                </a:solidFill>
                <a:latin typeface="Calibri" panose="020F0502020204030204" pitchFamily="34" charset="0"/>
                <a:cs typeface="Calibri" panose="020F0502020204030204" pitchFamily="34" charset="0"/>
              </a:rPr>
              <a:t>MÓDULO 06</a:t>
            </a:r>
            <a:endParaRPr lang="en-US" sz="16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90833453"/>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0" name="OLE substitute imag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a:latin typeface="Calibri Light" panose="020F0302020204030204" pitchFamily="34" charset="0"/>
              <a:ea typeface="+mj-ea"/>
              <a:cs typeface="+mj-cs"/>
              <a:sym typeface="Calibri Light" panose="020F0302020204030204" pitchFamily="34" charset="0"/>
            </a:endParaRPr>
          </a:p>
        </p:txBody>
      </p:sp>
      <p:sp>
        <p:nvSpPr>
          <p:cNvPr id="7" name="Rechteck 45">
            <a:extLst>
              <a:ext uri="{FF2B5EF4-FFF2-40B4-BE49-F238E27FC236}">
                <a16:creationId xmlns:a16="http://schemas.microsoft.com/office/drawing/2014/main" id="{EF7ACDE0-7598-BC2F-09F6-67D3E5253ACB}"/>
              </a:ext>
            </a:extLst>
          </p:cNvPr>
          <p:cNvSpPr/>
          <p:nvPr/>
        </p:nvSpPr>
        <p:spPr>
          <a:xfrm>
            <a:off x="3305314" y="5123252"/>
            <a:ext cx="1383698" cy="424800"/>
          </a:xfrm>
          <a:prstGeom prst="rect">
            <a:avLst/>
          </a:prstGeom>
          <a:solidFill>
            <a:srgbClr val="245473"/>
          </a:solidFill>
        </p:spPr>
        <p:txBody>
          <a:bodyPr wrap="square" anchor="ctr">
            <a:noAutofit/>
          </a:bodyPr>
          <a:lstStyle/>
          <a:p>
            <a:pPr algn="ctr">
              <a:lnSpc>
                <a:spcPts val="1720"/>
              </a:lnSpc>
            </a:pPr>
            <a:r>
              <a:rPr lang="en-GB" sz="1600">
                <a:solidFill>
                  <a:schemeClr val="bg1"/>
                </a:solidFill>
                <a:ea typeface="Lato Light" panose="020F0502020204030203" pitchFamily="34" charset="0"/>
                <a:cs typeface="Mukta ExtraLight" panose="020B0000000000000000" pitchFamily="34" charset="77"/>
              </a:rPr>
              <a:t>¿Sucesión?</a:t>
            </a:r>
          </a:p>
        </p:txBody>
      </p:sp>
      <p:sp>
        <p:nvSpPr>
          <p:cNvPr id="8" name="Rechteck 54">
            <a:extLst>
              <a:ext uri="{FF2B5EF4-FFF2-40B4-BE49-F238E27FC236}">
                <a16:creationId xmlns:a16="http://schemas.microsoft.com/office/drawing/2014/main" id="{3796C39B-D19A-D9A3-2BD3-CE9EA63B2960}"/>
              </a:ext>
            </a:extLst>
          </p:cNvPr>
          <p:cNvSpPr/>
          <p:nvPr/>
        </p:nvSpPr>
        <p:spPr>
          <a:xfrm>
            <a:off x="4775394" y="5145159"/>
            <a:ext cx="1440000" cy="424800"/>
          </a:xfrm>
          <a:prstGeom prst="rect">
            <a:avLst/>
          </a:prstGeom>
          <a:solidFill>
            <a:srgbClr val="7F1C58"/>
          </a:solidFill>
        </p:spPr>
        <p:txBody>
          <a:bodyPr wrap="square" anchor="ctr">
            <a:noAutofit/>
          </a:bodyPr>
          <a:lstStyle/>
          <a:p>
            <a:pPr algn="ctr">
              <a:lnSpc>
                <a:spcPts val="1720"/>
              </a:lnSpc>
            </a:pPr>
            <a:r>
              <a:rPr lang="en-GB" sz="1600">
                <a:solidFill>
                  <a:schemeClr val="bg1"/>
                </a:solidFill>
                <a:ea typeface="Lato Light" panose="020F0502020204030203" pitchFamily="34" charset="0"/>
                <a:cs typeface="Mukta ExtraLight" panose="020B0000000000000000" pitchFamily="34" charset="77"/>
              </a:rPr>
              <a:t>¿Sucesión?</a:t>
            </a:r>
          </a:p>
        </p:txBody>
      </p:sp>
      <p:sp>
        <p:nvSpPr>
          <p:cNvPr id="9" name="Rechteck 55">
            <a:extLst>
              <a:ext uri="{FF2B5EF4-FFF2-40B4-BE49-F238E27FC236}">
                <a16:creationId xmlns:a16="http://schemas.microsoft.com/office/drawing/2014/main" id="{9D3D1BFD-7D07-0841-7972-16B401E6D3E1}"/>
              </a:ext>
            </a:extLst>
          </p:cNvPr>
          <p:cNvSpPr/>
          <p:nvPr/>
        </p:nvSpPr>
        <p:spPr>
          <a:xfrm>
            <a:off x="6298842" y="5133069"/>
            <a:ext cx="1405522" cy="424800"/>
          </a:xfrm>
          <a:prstGeom prst="rect">
            <a:avLst/>
          </a:prstGeom>
          <a:solidFill>
            <a:srgbClr val="B41F7A"/>
          </a:solidFill>
        </p:spPr>
        <p:txBody>
          <a:bodyPr wrap="square" anchor="ctr">
            <a:noAutofit/>
          </a:bodyPr>
          <a:lstStyle/>
          <a:p>
            <a:pPr algn="ctr">
              <a:lnSpc>
                <a:spcPts val="1720"/>
              </a:lnSpc>
            </a:pPr>
            <a:r>
              <a:rPr lang="en-GB" sz="1600">
                <a:solidFill>
                  <a:schemeClr val="bg1"/>
                </a:solidFill>
                <a:ea typeface="Lato Light" panose="020F0502020204030203" pitchFamily="34" charset="0"/>
                <a:cs typeface="Mukta ExtraLight" panose="020B0000000000000000" pitchFamily="34" charset="77"/>
              </a:rPr>
              <a:t>¿Sucesión?</a:t>
            </a:r>
          </a:p>
        </p:txBody>
      </p:sp>
      <p:sp>
        <p:nvSpPr>
          <p:cNvPr id="10" name="Rechteck 56">
            <a:extLst>
              <a:ext uri="{FF2B5EF4-FFF2-40B4-BE49-F238E27FC236}">
                <a16:creationId xmlns:a16="http://schemas.microsoft.com/office/drawing/2014/main" id="{06C89E84-2259-4DC6-6E8D-854A5B57FD6B}"/>
              </a:ext>
            </a:extLst>
          </p:cNvPr>
          <p:cNvSpPr/>
          <p:nvPr/>
        </p:nvSpPr>
        <p:spPr>
          <a:xfrm>
            <a:off x="7838569" y="5135868"/>
            <a:ext cx="1252565" cy="424800"/>
          </a:xfrm>
          <a:prstGeom prst="rect">
            <a:avLst/>
          </a:prstGeom>
          <a:solidFill>
            <a:srgbClr val="F16924"/>
          </a:solidFill>
        </p:spPr>
        <p:txBody>
          <a:bodyPr wrap="square" anchor="ctr">
            <a:noAutofit/>
          </a:bodyPr>
          <a:lstStyle/>
          <a:p>
            <a:pPr algn="ctr">
              <a:lnSpc>
                <a:spcPts val="1720"/>
              </a:lnSpc>
            </a:pPr>
            <a:r>
              <a:rPr lang="en-GB" sz="1600">
                <a:solidFill>
                  <a:schemeClr val="bg1"/>
                </a:solidFill>
                <a:ea typeface="Lato Light" panose="020F0502020204030203" pitchFamily="34" charset="0"/>
                <a:cs typeface="Mukta ExtraLight" panose="020B0000000000000000" pitchFamily="34" charset="77"/>
              </a:rPr>
              <a:t>¿Sucesión?</a:t>
            </a:r>
          </a:p>
        </p:txBody>
      </p:sp>
      <p:sp>
        <p:nvSpPr>
          <p:cNvPr id="11" name="Rechteck 57">
            <a:extLst>
              <a:ext uri="{FF2B5EF4-FFF2-40B4-BE49-F238E27FC236}">
                <a16:creationId xmlns:a16="http://schemas.microsoft.com/office/drawing/2014/main" id="{1A01F009-6159-301C-70B1-3D0AB79748D8}"/>
              </a:ext>
            </a:extLst>
          </p:cNvPr>
          <p:cNvSpPr/>
          <p:nvPr/>
        </p:nvSpPr>
        <p:spPr>
          <a:xfrm>
            <a:off x="9215919" y="5129945"/>
            <a:ext cx="1252554" cy="423024"/>
          </a:xfrm>
          <a:prstGeom prst="rect">
            <a:avLst/>
          </a:prstGeom>
          <a:solidFill>
            <a:srgbClr val="EDA13E"/>
          </a:solidFill>
        </p:spPr>
        <p:txBody>
          <a:bodyPr wrap="square" anchor="ctr">
            <a:noAutofit/>
          </a:bodyPr>
          <a:lstStyle/>
          <a:p>
            <a:pPr algn="ctr">
              <a:lnSpc>
                <a:spcPts val="1720"/>
              </a:lnSpc>
            </a:pPr>
            <a:r>
              <a:rPr lang="en-GB" sz="1600">
                <a:solidFill>
                  <a:schemeClr val="bg1"/>
                </a:solidFill>
                <a:ea typeface="Lato Light" panose="020F0502020204030203" pitchFamily="34" charset="0"/>
                <a:cs typeface="Mukta ExtraLight" panose="020B0000000000000000" pitchFamily="34" charset="77"/>
              </a:rPr>
              <a:t>¿Sucesión?</a:t>
            </a:r>
          </a:p>
        </p:txBody>
      </p:sp>
      <p:sp>
        <p:nvSpPr>
          <p:cNvPr id="14" name="Rechteck 59">
            <a:extLst>
              <a:ext uri="{FF2B5EF4-FFF2-40B4-BE49-F238E27FC236}">
                <a16:creationId xmlns:a16="http://schemas.microsoft.com/office/drawing/2014/main" id="{0004E086-AEB7-7C5C-9AD5-C52883037D5C}"/>
              </a:ext>
            </a:extLst>
          </p:cNvPr>
          <p:cNvSpPr/>
          <p:nvPr/>
        </p:nvSpPr>
        <p:spPr>
          <a:xfrm>
            <a:off x="4793092" y="4640346"/>
            <a:ext cx="1440000" cy="424800"/>
          </a:xfrm>
          <a:prstGeom prst="rect">
            <a:avLst/>
          </a:prstGeom>
          <a:solidFill>
            <a:srgbClr val="7F1C58"/>
          </a:solidFill>
        </p:spPr>
        <p:txBody>
          <a:bodyPr wrap="square" anchor="ctr">
            <a:noAutofit/>
          </a:bodyPr>
          <a:lstStyle/>
          <a:p>
            <a:pPr algn="ctr">
              <a:lnSpc>
                <a:spcPts val="1720"/>
              </a:lnSpc>
            </a:pPr>
            <a:r>
              <a:rPr lang="en-GB" sz="1600">
                <a:solidFill>
                  <a:schemeClr val="bg1"/>
                </a:solidFill>
                <a:ea typeface="Lato Light" panose="020F0502020204030203" pitchFamily="34" charset="0"/>
                <a:cs typeface="Mukta ExtraLight" panose="020B0000000000000000" pitchFamily="34" charset="77"/>
              </a:rPr>
              <a:t>¿Declaración de intenciones?</a:t>
            </a:r>
          </a:p>
        </p:txBody>
      </p:sp>
      <p:sp>
        <p:nvSpPr>
          <p:cNvPr id="15" name="Rechteck 60">
            <a:extLst>
              <a:ext uri="{FF2B5EF4-FFF2-40B4-BE49-F238E27FC236}">
                <a16:creationId xmlns:a16="http://schemas.microsoft.com/office/drawing/2014/main" id="{8AB7194D-5E4D-7F2E-705C-14E0C4ABACB7}"/>
              </a:ext>
            </a:extLst>
          </p:cNvPr>
          <p:cNvSpPr/>
          <p:nvPr/>
        </p:nvSpPr>
        <p:spPr>
          <a:xfrm>
            <a:off x="6290925" y="4650163"/>
            <a:ext cx="1405522" cy="424800"/>
          </a:xfrm>
          <a:prstGeom prst="rect">
            <a:avLst/>
          </a:prstGeom>
          <a:solidFill>
            <a:srgbClr val="B41F7A"/>
          </a:solidFill>
        </p:spPr>
        <p:txBody>
          <a:bodyPr wrap="square" anchor="ctr">
            <a:noAutofit/>
          </a:bodyPr>
          <a:lstStyle/>
          <a:p>
            <a:pPr algn="ctr">
              <a:lnSpc>
                <a:spcPts val="1720"/>
              </a:lnSpc>
            </a:pPr>
            <a:r>
              <a:rPr lang="en-GB" sz="1600">
                <a:solidFill>
                  <a:schemeClr val="bg1"/>
                </a:solidFill>
                <a:ea typeface="Lato Light" panose="020F0502020204030203" pitchFamily="34" charset="0"/>
                <a:cs typeface="Mukta ExtraLight" panose="020B0000000000000000" pitchFamily="34" charset="77"/>
              </a:rPr>
              <a:t>¿Declaración de intenciones?</a:t>
            </a:r>
          </a:p>
        </p:txBody>
      </p:sp>
      <p:sp>
        <p:nvSpPr>
          <p:cNvPr id="16" name="Rechteck 61">
            <a:extLst>
              <a:ext uri="{FF2B5EF4-FFF2-40B4-BE49-F238E27FC236}">
                <a16:creationId xmlns:a16="http://schemas.microsoft.com/office/drawing/2014/main" id="{C63E62C3-37D9-8899-AE06-8888E79DA730}"/>
              </a:ext>
            </a:extLst>
          </p:cNvPr>
          <p:cNvSpPr/>
          <p:nvPr/>
        </p:nvSpPr>
        <p:spPr>
          <a:xfrm>
            <a:off x="7851486" y="4649230"/>
            <a:ext cx="1252565" cy="424800"/>
          </a:xfrm>
          <a:prstGeom prst="rect">
            <a:avLst/>
          </a:prstGeom>
          <a:solidFill>
            <a:srgbClr val="F16924"/>
          </a:solidFill>
        </p:spPr>
        <p:txBody>
          <a:bodyPr wrap="square" anchor="ctr">
            <a:noAutofit/>
          </a:bodyPr>
          <a:lstStyle/>
          <a:p>
            <a:pPr algn="ctr">
              <a:lnSpc>
                <a:spcPts val="1720"/>
              </a:lnSpc>
            </a:pPr>
            <a:r>
              <a:rPr lang="en-GB" sz="1600">
                <a:solidFill>
                  <a:schemeClr val="bg1"/>
                </a:solidFill>
                <a:ea typeface="Lato Light" panose="020F0502020204030203" pitchFamily="34" charset="0"/>
                <a:cs typeface="Mukta ExtraLight" panose="020B0000000000000000" pitchFamily="34" charset="77"/>
              </a:rPr>
              <a:t>¿Declaración de intenciones?</a:t>
            </a:r>
          </a:p>
        </p:txBody>
      </p:sp>
      <p:sp>
        <p:nvSpPr>
          <p:cNvPr id="17" name="Rechteck 62">
            <a:extLst>
              <a:ext uri="{FF2B5EF4-FFF2-40B4-BE49-F238E27FC236}">
                <a16:creationId xmlns:a16="http://schemas.microsoft.com/office/drawing/2014/main" id="{26728A83-A338-DBEB-91EB-BACC0922A4F4}"/>
              </a:ext>
            </a:extLst>
          </p:cNvPr>
          <p:cNvSpPr/>
          <p:nvPr/>
        </p:nvSpPr>
        <p:spPr>
          <a:xfrm>
            <a:off x="9215920" y="4636119"/>
            <a:ext cx="1252554" cy="424800"/>
          </a:xfrm>
          <a:prstGeom prst="rect">
            <a:avLst/>
          </a:prstGeom>
          <a:solidFill>
            <a:srgbClr val="EDA13E"/>
          </a:solidFill>
        </p:spPr>
        <p:txBody>
          <a:bodyPr wrap="square" anchor="ctr">
            <a:noAutofit/>
          </a:bodyPr>
          <a:lstStyle/>
          <a:p>
            <a:pPr algn="ctr">
              <a:lnSpc>
                <a:spcPts val="1720"/>
              </a:lnSpc>
            </a:pPr>
            <a:r>
              <a:rPr lang="en-GB" sz="1600">
                <a:solidFill>
                  <a:schemeClr val="bg1"/>
                </a:solidFill>
                <a:ea typeface="Lato Light" panose="020F0502020204030203" pitchFamily="34" charset="0"/>
                <a:cs typeface="Mukta ExtraLight" panose="020B0000000000000000" pitchFamily="34" charset="77"/>
              </a:rPr>
              <a:t>¿Declaración de intenciones?</a:t>
            </a:r>
          </a:p>
        </p:txBody>
      </p:sp>
      <p:sp>
        <p:nvSpPr>
          <p:cNvPr id="18" name="Rechteck 63">
            <a:extLst>
              <a:ext uri="{FF2B5EF4-FFF2-40B4-BE49-F238E27FC236}">
                <a16:creationId xmlns:a16="http://schemas.microsoft.com/office/drawing/2014/main" id="{9ED22350-4069-274B-8C8D-F5FD366A5055}"/>
              </a:ext>
            </a:extLst>
          </p:cNvPr>
          <p:cNvSpPr/>
          <p:nvPr/>
        </p:nvSpPr>
        <p:spPr>
          <a:xfrm>
            <a:off x="6290925" y="4177289"/>
            <a:ext cx="1405522" cy="424800"/>
          </a:xfrm>
          <a:prstGeom prst="rect">
            <a:avLst/>
          </a:prstGeom>
          <a:solidFill>
            <a:srgbClr val="B41F7A"/>
          </a:solidFill>
        </p:spPr>
        <p:txBody>
          <a:bodyPr wrap="square" anchor="ctr">
            <a:noAutofit/>
          </a:bodyPr>
          <a:lstStyle/>
          <a:p>
            <a:pPr algn="ctr">
              <a:lnSpc>
                <a:spcPts val="1720"/>
              </a:lnSpc>
            </a:pPr>
            <a:r>
              <a:rPr lang="en-GB" sz="1600">
                <a:solidFill>
                  <a:schemeClr val="bg1"/>
                </a:solidFill>
                <a:ea typeface="Lato Light" panose="020F0502020204030203" pitchFamily="34" charset="0"/>
                <a:cs typeface="Mukta ExtraLight" panose="020B0000000000000000" pitchFamily="34" charset="77"/>
              </a:rPr>
              <a:t>¿Productos?</a:t>
            </a:r>
          </a:p>
        </p:txBody>
      </p:sp>
      <p:sp>
        <p:nvSpPr>
          <p:cNvPr id="19" name="Rechteck 64">
            <a:extLst>
              <a:ext uri="{FF2B5EF4-FFF2-40B4-BE49-F238E27FC236}">
                <a16:creationId xmlns:a16="http://schemas.microsoft.com/office/drawing/2014/main" id="{A147587B-FBD1-07F2-DADB-D9771C7003BC}"/>
              </a:ext>
            </a:extLst>
          </p:cNvPr>
          <p:cNvSpPr/>
          <p:nvPr/>
        </p:nvSpPr>
        <p:spPr>
          <a:xfrm>
            <a:off x="7851486" y="4155597"/>
            <a:ext cx="1252565" cy="424800"/>
          </a:xfrm>
          <a:prstGeom prst="rect">
            <a:avLst/>
          </a:prstGeom>
          <a:solidFill>
            <a:srgbClr val="F16924"/>
          </a:solidFill>
        </p:spPr>
        <p:txBody>
          <a:bodyPr wrap="square" anchor="ctr">
            <a:noAutofit/>
          </a:bodyPr>
          <a:lstStyle/>
          <a:p>
            <a:pPr algn="ctr">
              <a:lnSpc>
                <a:spcPts val="1720"/>
              </a:lnSpc>
            </a:pPr>
            <a:r>
              <a:rPr lang="en-GB" sz="1600">
                <a:solidFill>
                  <a:schemeClr val="bg1"/>
                </a:solidFill>
                <a:ea typeface="Lato Light" panose="020F0502020204030203" pitchFamily="34" charset="0"/>
                <a:cs typeface="Mukta ExtraLight" panose="020B0000000000000000" pitchFamily="34" charset="77"/>
              </a:rPr>
              <a:t>¿Productos?</a:t>
            </a:r>
          </a:p>
        </p:txBody>
      </p:sp>
      <p:sp>
        <p:nvSpPr>
          <p:cNvPr id="20" name="Rechteck 65">
            <a:extLst>
              <a:ext uri="{FF2B5EF4-FFF2-40B4-BE49-F238E27FC236}">
                <a16:creationId xmlns:a16="http://schemas.microsoft.com/office/drawing/2014/main" id="{C558A03E-7803-994D-E751-74908C758313}"/>
              </a:ext>
            </a:extLst>
          </p:cNvPr>
          <p:cNvSpPr/>
          <p:nvPr/>
        </p:nvSpPr>
        <p:spPr>
          <a:xfrm>
            <a:off x="9205258" y="4163340"/>
            <a:ext cx="1252554" cy="424800"/>
          </a:xfrm>
          <a:prstGeom prst="rect">
            <a:avLst/>
          </a:prstGeom>
          <a:solidFill>
            <a:srgbClr val="EDA13E"/>
          </a:solidFill>
        </p:spPr>
        <p:txBody>
          <a:bodyPr wrap="square" anchor="ctr">
            <a:noAutofit/>
          </a:bodyPr>
          <a:lstStyle/>
          <a:p>
            <a:pPr algn="ctr">
              <a:lnSpc>
                <a:spcPts val="1720"/>
              </a:lnSpc>
            </a:pPr>
            <a:r>
              <a:rPr lang="en-GB" sz="1600">
                <a:solidFill>
                  <a:schemeClr val="bg1"/>
                </a:solidFill>
                <a:ea typeface="Lato Light" panose="020F0502020204030203" pitchFamily="34" charset="0"/>
                <a:cs typeface="Mukta ExtraLight" panose="020B0000000000000000" pitchFamily="34" charset="77"/>
              </a:rPr>
              <a:t>¿Productos?</a:t>
            </a:r>
          </a:p>
        </p:txBody>
      </p:sp>
      <p:sp>
        <p:nvSpPr>
          <p:cNvPr id="21" name="Rechteck 67">
            <a:extLst>
              <a:ext uri="{FF2B5EF4-FFF2-40B4-BE49-F238E27FC236}">
                <a16:creationId xmlns:a16="http://schemas.microsoft.com/office/drawing/2014/main" id="{C9AC0698-3F2D-AC0C-D9C4-2E2E6B50BB8D}"/>
              </a:ext>
            </a:extLst>
          </p:cNvPr>
          <p:cNvSpPr/>
          <p:nvPr/>
        </p:nvSpPr>
        <p:spPr>
          <a:xfrm>
            <a:off x="7874194" y="3673003"/>
            <a:ext cx="1252565" cy="424800"/>
          </a:xfrm>
          <a:prstGeom prst="rect">
            <a:avLst/>
          </a:prstGeom>
          <a:solidFill>
            <a:srgbClr val="F16924"/>
          </a:solidFill>
        </p:spPr>
        <p:txBody>
          <a:bodyPr wrap="square" anchor="ctr">
            <a:noAutofit/>
          </a:bodyPr>
          <a:lstStyle/>
          <a:p>
            <a:pPr algn="ctr">
              <a:lnSpc>
                <a:spcPts val="1720"/>
              </a:lnSpc>
            </a:pPr>
            <a:r>
              <a:rPr lang="en-GB" sz="1600">
                <a:solidFill>
                  <a:schemeClr val="bg1"/>
                </a:solidFill>
                <a:ea typeface="Lato Light" panose="020F0502020204030203" pitchFamily="34" charset="0"/>
                <a:cs typeface="Mukta ExtraLight" panose="020B0000000000000000" pitchFamily="34" charset="77"/>
              </a:rPr>
              <a:t>¿Equidad?</a:t>
            </a:r>
          </a:p>
        </p:txBody>
      </p:sp>
      <p:sp>
        <p:nvSpPr>
          <p:cNvPr id="22" name="Rechteck 68">
            <a:extLst>
              <a:ext uri="{FF2B5EF4-FFF2-40B4-BE49-F238E27FC236}">
                <a16:creationId xmlns:a16="http://schemas.microsoft.com/office/drawing/2014/main" id="{8346D8CF-881A-9685-4787-A5DCBA6D0C05}"/>
              </a:ext>
            </a:extLst>
          </p:cNvPr>
          <p:cNvSpPr/>
          <p:nvPr/>
        </p:nvSpPr>
        <p:spPr>
          <a:xfrm>
            <a:off x="9199548" y="3690683"/>
            <a:ext cx="1252554" cy="424800"/>
          </a:xfrm>
          <a:prstGeom prst="rect">
            <a:avLst/>
          </a:prstGeom>
          <a:solidFill>
            <a:srgbClr val="EDA13E"/>
          </a:solidFill>
        </p:spPr>
        <p:txBody>
          <a:bodyPr wrap="square" anchor="ctr">
            <a:noAutofit/>
          </a:bodyPr>
          <a:lstStyle/>
          <a:p>
            <a:pPr algn="ctr">
              <a:lnSpc>
                <a:spcPts val="1720"/>
              </a:lnSpc>
            </a:pPr>
            <a:r>
              <a:rPr lang="en-GB" sz="1600">
                <a:solidFill>
                  <a:schemeClr val="bg1"/>
                </a:solidFill>
                <a:ea typeface="Lato Light" panose="020F0502020204030203" pitchFamily="34" charset="0"/>
                <a:cs typeface="Mukta ExtraLight" panose="020B0000000000000000" pitchFamily="34" charset="77"/>
              </a:rPr>
              <a:t>¿Equidad?</a:t>
            </a:r>
          </a:p>
        </p:txBody>
      </p:sp>
      <p:sp>
        <p:nvSpPr>
          <p:cNvPr id="23" name="Rechteck 69">
            <a:extLst>
              <a:ext uri="{FF2B5EF4-FFF2-40B4-BE49-F238E27FC236}">
                <a16:creationId xmlns:a16="http://schemas.microsoft.com/office/drawing/2014/main" id="{FC5054B8-98B2-3B8B-B862-D852DB948CB9}"/>
              </a:ext>
            </a:extLst>
          </p:cNvPr>
          <p:cNvSpPr/>
          <p:nvPr/>
        </p:nvSpPr>
        <p:spPr>
          <a:xfrm>
            <a:off x="9199548" y="3216600"/>
            <a:ext cx="1252554" cy="424800"/>
          </a:xfrm>
          <a:prstGeom prst="rect">
            <a:avLst/>
          </a:prstGeom>
          <a:solidFill>
            <a:srgbClr val="EDA13E"/>
          </a:solidFill>
        </p:spPr>
        <p:txBody>
          <a:bodyPr wrap="square" anchor="ctr">
            <a:noAutofit/>
          </a:bodyPr>
          <a:lstStyle/>
          <a:p>
            <a:pPr algn="ctr">
              <a:lnSpc>
                <a:spcPts val="1720"/>
              </a:lnSpc>
            </a:pPr>
            <a:r>
              <a:rPr lang="en-GB" sz="1600">
                <a:solidFill>
                  <a:schemeClr val="bg1"/>
                </a:solidFill>
                <a:ea typeface="Lato Light" panose="020F0502020204030203" pitchFamily="34" charset="0"/>
                <a:cs typeface="Mukta ExtraLight" panose="020B0000000000000000" pitchFamily="34" charset="77"/>
              </a:rPr>
              <a:t>¿Fondos líquidos?</a:t>
            </a:r>
          </a:p>
        </p:txBody>
      </p:sp>
      <p:sp>
        <p:nvSpPr>
          <p:cNvPr id="24" name="Gleichschenkliges Dreieck 2">
            <a:extLst>
              <a:ext uri="{FF2B5EF4-FFF2-40B4-BE49-F238E27FC236}">
                <a16:creationId xmlns:a16="http://schemas.microsoft.com/office/drawing/2014/main" id="{A206D1BB-178F-A265-D4F2-9B987DA73FFE}"/>
              </a:ext>
            </a:extLst>
          </p:cNvPr>
          <p:cNvSpPr/>
          <p:nvPr/>
        </p:nvSpPr>
        <p:spPr>
          <a:xfrm rot="16200000">
            <a:off x="5942590" y="-1681914"/>
            <a:ext cx="1829262" cy="7189762"/>
          </a:xfrm>
          <a:prstGeom prst="triangle">
            <a:avLst>
              <a:gd name="adj" fmla="val 48182"/>
            </a:avLst>
          </a:prstGeom>
          <a:solidFill>
            <a:srgbClr val="B41F7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GB" sz="2400" b="1"/>
              <a:t>Presión para reaccionar</a:t>
            </a:r>
          </a:p>
        </p:txBody>
      </p:sp>
      <p:sp>
        <p:nvSpPr>
          <p:cNvPr id="33" name="TextBox 16">
            <a:extLst>
              <a:ext uri="{FF2B5EF4-FFF2-40B4-BE49-F238E27FC236}">
                <a16:creationId xmlns:a16="http://schemas.microsoft.com/office/drawing/2014/main" id="{EE7F7FD2-9D28-F851-1E67-8D10D8B32C9E}"/>
              </a:ext>
            </a:extLst>
          </p:cNvPr>
          <p:cNvSpPr txBox="1"/>
          <p:nvPr/>
        </p:nvSpPr>
        <p:spPr>
          <a:xfrm>
            <a:off x="5513092" y="6498071"/>
            <a:ext cx="1512000" cy="584775"/>
          </a:xfrm>
          <a:prstGeom prst="rect">
            <a:avLst/>
          </a:prstGeom>
          <a:noFill/>
        </p:spPr>
        <p:txBody>
          <a:bodyPr wrap="square" rtlCol="0" anchor="ctr" anchorCtr="0">
            <a:spAutoFit/>
          </a:bodyPr>
          <a:lstStyle/>
          <a:p>
            <a:pPr algn="ctr"/>
            <a:r>
              <a:rPr lang="en-GB" sz="1600" b="1">
                <a:solidFill>
                  <a:schemeClr val="bg1"/>
                </a:solidFill>
                <a:latin typeface="+mj-lt"/>
                <a:ea typeface="League Spartan" charset="0"/>
                <a:cs typeface="Poppins" pitchFamily="2" charset="77"/>
              </a:rPr>
              <a:t>Producto / Crisis de ventas</a:t>
            </a:r>
          </a:p>
        </p:txBody>
      </p:sp>
      <p:pic>
        <p:nvPicPr>
          <p:cNvPr id="51" name="Slika 4">
            <a:extLst>
              <a:ext uri="{FF2B5EF4-FFF2-40B4-BE49-F238E27FC236}">
                <a16:creationId xmlns:a16="http://schemas.microsoft.com/office/drawing/2014/main" id="{9C791D75-2EE0-082F-AF53-AB4AF9D537A8}"/>
              </a:ext>
            </a:extLst>
          </p:cNvPr>
          <p:cNvPicPr>
            <a:picLocks noChangeAspect="1"/>
          </p:cNvPicPr>
          <p:nvPr/>
        </p:nvPicPr>
        <p:blipFill>
          <a:blip r:embed="rId7"/>
          <a:stretch>
            <a:fillRect/>
          </a:stretch>
        </p:blipFill>
        <p:spPr>
          <a:xfrm>
            <a:off x="7835438" y="6205664"/>
            <a:ext cx="4151891" cy="586791"/>
          </a:xfrm>
          <a:prstGeom prst="rect">
            <a:avLst/>
          </a:prstGeom>
        </p:spPr>
      </p:pic>
      <p:sp>
        <p:nvSpPr>
          <p:cNvPr id="52" name="Rectangle 51">
            <a:extLst>
              <a:ext uri="{FF2B5EF4-FFF2-40B4-BE49-F238E27FC236}">
                <a16:creationId xmlns:a16="http://schemas.microsoft.com/office/drawing/2014/main" id="{29E84852-C842-2FC1-B6A0-6D63A1448DD5}"/>
              </a:ext>
            </a:extLst>
          </p:cNvPr>
          <p:cNvSpPr/>
          <p:nvPr/>
        </p:nvSpPr>
        <p:spPr>
          <a:xfrm>
            <a:off x="0" y="0"/>
            <a:ext cx="3087951"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Text Placeholder 1">
            <a:extLst>
              <a:ext uri="{FF2B5EF4-FFF2-40B4-BE49-F238E27FC236}">
                <a16:creationId xmlns:a16="http://schemas.microsoft.com/office/drawing/2014/main" id="{4C2224FB-E586-709B-D818-929C4CB6F99F}"/>
              </a:ext>
            </a:extLst>
          </p:cNvPr>
          <p:cNvSpPr txBox="1"/>
          <p:nvPr/>
        </p:nvSpPr>
        <p:spPr>
          <a:xfrm>
            <a:off x="341105" y="3429000"/>
            <a:ext cx="2571797" cy="306907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5875" indent="-15875"/>
            <a:r>
              <a:rPr lang="en-US" sz="2200">
                <a:solidFill>
                  <a:schemeClr val="bg1"/>
                </a:solidFill>
              </a:rPr>
              <a:t>En el transcurso típico ideal de una crisis empresarial, aumentan las áreas problemáticas a resolver Y la presión para reaccionar.</a:t>
            </a:r>
          </a:p>
        </p:txBody>
      </p:sp>
      <p:sp>
        <p:nvSpPr>
          <p:cNvPr id="54" name="Textplatzhalter 32">
            <a:extLst>
              <a:ext uri="{FF2B5EF4-FFF2-40B4-BE49-F238E27FC236}">
                <a16:creationId xmlns:a16="http://schemas.microsoft.com/office/drawing/2014/main" id="{4D1DE222-7BC3-81C3-41F3-567C60647710}"/>
              </a:ext>
            </a:extLst>
          </p:cNvPr>
          <p:cNvSpPr txBox="1"/>
          <p:nvPr/>
        </p:nvSpPr>
        <p:spPr>
          <a:xfrm>
            <a:off x="392412" y="420981"/>
            <a:ext cx="2520490" cy="216087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3620"/>
              </a:lnSpc>
            </a:pPr>
            <a:r>
              <a:rPr lang="en-GB">
                <a:solidFill>
                  <a:schemeClr val="bg1"/>
                </a:solidFill>
              </a:rPr>
              <a:t>Áreas problemáticas y presión (ejemplos)</a:t>
            </a:r>
          </a:p>
        </p:txBody>
      </p:sp>
      <p:sp>
        <p:nvSpPr>
          <p:cNvPr id="59" name="Rectangle 58">
            <a:extLst>
              <a:ext uri="{FF2B5EF4-FFF2-40B4-BE49-F238E27FC236}">
                <a16:creationId xmlns:a16="http://schemas.microsoft.com/office/drawing/2014/main" id="{34D030E0-87B2-DE25-3C78-9C29FAEBE7D0}"/>
              </a:ext>
            </a:extLst>
          </p:cNvPr>
          <p:cNvSpPr/>
          <p:nvPr/>
        </p:nvSpPr>
        <p:spPr>
          <a:xfrm>
            <a:off x="360325" y="261193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84" name="Chevron 4">
            <a:extLst>
              <a:ext uri="{FF2B5EF4-FFF2-40B4-BE49-F238E27FC236}">
                <a16:creationId xmlns:a16="http://schemas.microsoft.com/office/drawing/2014/main" id="{DDC0F844-A373-CA22-5231-F25FFEDBF324}"/>
              </a:ext>
            </a:extLst>
          </p:cNvPr>
          <p:cNvSpPr/>
          <p:nvPr/>
        </p:nvSpPr>
        <p:spPr>
          <a:xfrm>
            <a:off x="6342487" y="5710142"/>
            <a:ext cx="1405522" cy="570875"/>
          </a:xfrm>
          <a:prstGeom prst="chevron">
            <a:avLst>
              <a:gd name="adj" fmla="val 21186"/>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a:solidFill>
                <a:schemeClr val="tx1"/>
              </a:solidFill>
              <a:latin typeface="+mj-lt"/>
            </a:endParaRPr>
          </a:p>
        </p:txBody>
      </p:sp>
      <p:sp>
        <p:nvSpPr>
          <p:cNvPr id="85" name="Chevron 1">
            <a:extLst>
              <a:ext uri="{FF2B5EF4-FFF2-40B4-BE49-F238E27FC236}">
                <a16:creationId xmlns:a16="http://schemas.microsoft.com/office/drawing/2014/main" id="{93DF3FC0-82C3-D6D0-85B0-EC63ACC10AAD}"/>
              </a:ext>
            </a:extLst>
          </p:cNvPr>
          <p:cNvSpPr/>
          <p:nvPr/>
        </p:nvSpPr>
        <p:spPr>
          <a:xfrm>
            <a:off x="3305314" y="5713395"/>
            <a:ext cx="1430861" cy="570875"/>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a:solidFill>
                <a:schemeClr val="tx1"/>
              </a:solidFill>
              <a:latin typeface="+mj-lt"/>
            </a:endParaRPr>
          </a:p>
        </p:txBody>
      </p:sp>
      <p:sp>
        <p:nvSpPr>
          <p:cNvPr id="86" name="Chevron 2">
            <a:extLst>
              <a:ext uri="{FF2B5EF4-FFF2-40B4-BE49-F238E27FC236}">
                <a16:creationId xmlns:a16="http://schemas.microsoft.com/office/drawing/2014/main" id="{23A7156A-2274-9106-D53A-7CC4791058FF}"/>
              </a:ext>
            </a:extLst>
          </p:cNvPr>
          <p:cNvSpPr/>
          <p:nvPr/>
        </p:nvSpPr>
        <p:spPr>
          <a:xfrm>
            <a:off x="4782573" y="5710142"/>
            <a:ext cx="1532910" cy="570875"/>
          </a:xfrm>
          <a:prstGeom prst="chevron">
            <a:avLst>
              <a:gd name="adj" fmla="val 21186"/>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a:solidFill>
                <a:schemeClr val="tx1"/>
              </a:solidFill>
              <a:latin typeface="+mj-lt"/>
            </a:endParaRPr>
          </a:p>
        </p:txBody>
      </p:sp>
      <p:sp>
        <p:nvSpPr>
          <p:cNvPr id="87" name="Chevron 4">
            <a:extLst>
              <a:ext uri="{FF2B5EF4-FFF2-40B4-BE49-F238E27FC236}">
                <a16:creationId xmlns:a16="http://schemas.microsoft.com/office/drawing/2014/main" id="{279822E2-AA66-4F01-BDA8-1FE15E8474BE}"/>
              </a:ext>
            </a:extLst>
          </p:cNvPr>
          <p:cNvSpPr/>
          <p:nvPr/>
        </p:nvSpPr>
        <p:spPr>
          <a:xfrm>
            <a:off x="7794674" y="5710142"/>
            <a:ext cx="1405522" cy="570875"/>
          </a:xfrm>
          <a:prstGeom prst="chevron">
            <a:avLst>
              <a:gd name="adj" fmla="val 21186"/>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a:solidFill>
                <a:schemeClr val="tx1"/>
              </a:solidFill>
              <a:latin typeface="+mj-lt"/>
            </a:endParaRPr>
          </a:p>
        </p:txBody>
      </p:sp>
      <p:sp>
        <p:nvSpPr>
          <p:cNvPr id="88" name="Chevron 5">
            <a:extLst>
              <a:ext uri="{FF2B5EF4-FFF2-40B4-BE49-F238E27FC236}">
                <a16:creationId xmlns:a16="http://schemas.microsoft.com/office/drawing/2014/main" id="{A15C255B-E84E-94D2-F4BB-C2F5A46A8493}"/>
              </a:ext>
            </a:extLst>
          </p:cNvPr>
          <p:cNvSpPr/>
          <p:nvPr/>
        </p:nvSpPr>
        <p:spPr>
          <a:xfrm>
            <a:off x="9286014" y="5710163"/>
            <a:ext cx="1171798" cy="570875"/>
          </a:xfrm>
          <a:prstGeom prst="chevron">
            <a:avLst>
              <a:gd name="adj" fmla="val 21186"/>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a:solidFill>
                <a:schemeClr val="tx1"/>
              </a:solidFill>
              <a:latin typeface="+mj-lt"/>
            </a:endParaRPr>
          </a:p>
        </p:txBody>
      </p:sp>
      <p:sp>
        <p:nvSpPr>
          <p:cNvPr id="89" name="TextBox 14">
            <a:extLst>
              <a:ext uri="{FF2B5EF4-FFF2-40B4-BE49-F238E27FC236}">
                <a16:creationId xmlns:a16="http://schemas.microsoft.com/office/drawing/2014/main" id="{775D93B9-5581-1310-833E-F1C69436F1C0}"/>
              </a:ext>
            </a:extLst>
          </p:cNvPr>
          <p:cNvSpPr txBox="1"/>
          <p:nvPr/>
        </p:nvSpPr>
        <p:spPr>
          <a:xfrm>
            <a:off x="3399346" y="5743779"/>
            <a:ext cx="1326012" cy="505523"/>
          </a:xfrm>
          <a:prstGeom prst="rect">
            <a:avLst/>
          </a:prstGeom>
          <a:noFill/>
        </p:spPr>
        <p:txBody>
          <a:bodyPr wrap="square" rtlCol="0" anchor="ctr" anchorCtr="0">
            <a:spAutoFit/>
          </a:bodyPr>
          <a:lstStyle/>
          <a:p>
            <a:pPr>
              <a:lnSpc>
                <a:spcPts val="1620"/>
              </a:lnSpc>
            </a:pPr>
            <a:r>
              <a:rPr lang="en-GB" sz="1600" b="1">
                <a:solidFill>
                  <a:schemeClr val="bg1"/>
                </a:solidFill>
                <a:latin typeface="+mj-lt"/>
                <a:ea typeface="League Spartan" charset="0"/>
                <a:cs typeface="Poppins" pitchFamily="2" charset="77"/>
              </a:rPr>
              <a:t>Crisis de las partes interesadas</a:t>
            </a:r>
          </a:p>
        </p:txBody>
      </p:sp>
      <p:sp>
        <p:nvSpPr>
          <p:cNvPr id="90" name="TextBox 15">
            <a:extLst>
              <a:ext uri="{FF2B5EF4-FFF2-40B4-BE49-F238E27FC236}">
                <a16:creationId xmlns:a16="http://schemas.microsoft.com/office/drawing/2014/main" id="{CE4A5EA0-4847-1F1B-F45E-104D5593BF32}"/>
              </a:ext>
            </a:extLst>
          </p:cNvPr>
          <p:cNvSpPr txBox="1"/>
          <p:nvPr/>
        </p:nvSpPr>
        <p:spPr>
          <a:xfrm>
            <a:off x="4900503" y="5863548"/>
            <a:ext cx="1499829" cy="300339"/>
          </a:xfrm>
          <a:prstGeom prst="rect">
            <a:avLst/>
          </a:prstGeom>
          <a:noFill/>
        </p:spPr>
        <p:txBody>
          <a:bodyPr wrap="square" rtlCol="0" anchor="ctr" anchorCtr="0">
            <a:spAutoFit/>
          </a:bodyPr>
          <a:lstStyle/>
          <a:p>
            <a:pPr>
              <a:lnSpc>
                <a:spcPts val="1620"/>
              </a:lnSpc>
            </a:pPr>
            <a:r>
              <a:rPr lang="en-GB" sz="1600" b="1">
                <a:solidFill>
                  <a:schemeClr val="bg1"/>
                </a:solidFill>
                <a:latin typeface="+mj-lt"/>
                <a:ea typeface="League Spartan" charset="0"/>
                <a:cs typeface="Poppins" pitchFamily="2" charset="77"/>
              </a:rPr>
              <a:t>Estrategia de crisis</a:t>
            </a:r>
          </a:p>
        </p:txBody>
      </p:sp>
      <p:sp>
        <p:nvSpPr>
          <p:cNvPr id="91" name="TextBox 16">
            <a:extLst>
              <a:ext uri="{FF2B5EF4-FFF2-40B4-BE49-F238E27FC236}">
                <a16:creationId xmlns:a16="http://schemas.microsoft.com/office/drawing/2014/main" id="{80A82079-ED62-0929-6E37-23DBE4E15E33}"/>
              </a:ext>
            </a:extLst>
          </p:cNvPr>
          <p:cNvSpPr txBox="1"/>
          <p:nvPr/>
        </p:nvSpPr>
        <p:spPr>
          <a:xfrm>
            <a:off x="6495133" y="5751494"/>
            <a:ext cx="1235792" cy="505523"/>
          </a:xfrm>
          <a:prstGeom prst="rect">
            <a:avLst/>
          </a:prstGeom>
          <a:noFill/>
        </p:spPr>
        <p:txBody>
          <a:bodyPr wrap="square" rtlCol="0" anchor="ctr" anchorCtr="0">
            <a:spAutoFit/>
          </a:bodyPr>
          <a:lstStyle/>
          <a:p>
            <a:pPr>
              <a:lnSpc>
                <a:spcPts val="1620"/>
              </a:lnSpc>
            </a:pPr>
            <a:r>
              <a:rPr lang="en-GB" sz="1600" b="1">
                <a:solidFill>
                  <a:schemeClr val="bg1"/>
                </a:solidFill>
                <a:latin typeface="+mj-lt"/>
                <a:ea typeface="League Spartan" charset="0"/>
                <a:cs typeface="Poppins" pitchFamily="2" charset="77"/>
              </a:rPr>
              <a:t>Producto / Crisis de ventas</a:t>
            </a:r>
          </a:p>
        </p:txBody>
      </p:sp>
      <p:sp>
        <p:nvSpPr>
          <p:cNvPr id="92" name="TextBox 17">
            <a:extLst>
              <a:ext uri="{FF2B5EF4-FFF2-40B4-BE49-F238E27FC236}">
                <a16:creationId xmlns:a16="http://schemas.microsoft.com/office/drawing/2014/main" id="{590BC631-5B90-F067-2E1C-6C90C2D90641}"/>
              </a:ext>
            </a:extLst>
          </p:cNvPr>
          <p:cNvSpPr txBox="1"/>
          <p:nvPr/>
        </p:nvSpPr>
        <p:spPr>
          <a:xfrm>
            <a:off x="8076959" y="5736096"/>
            <a:ext cx="956086" cy="505523"/>
          </a:xfrm>
          <a:prstGeom prst="rect">
            <a:avLst/>
          </a:prstGeom>
          <a:noFill/>
        </p:spPr>
        <p:txBody>
          <a:bodyPr wrap="square" rtlCol="0" anchor="ctr" anchorCtr="0">
            <a:spAutoFit/>
          </a:bodyPr>
          <a:lstStyle/>
          <a:p>
            <a:pPr>
              <a:lnSpc>
                <a:spcPts val="1620"/>
              </a:lnSpc>
            </a:pPr>
            <a:r>
              <a:rPr lang="en-GB" sz="1600" b="1">
                <a:solidFill>
                  <a:schemeClr val="bg1"/>
                </a:solidFill>
                <a:latin typeface="+mj-lt"/>
                <a:ea typeface="League Spartan" charset="0"/>
                <a:cs typeface="Poppins" pitchFamily="2" charset="77"/>
              </a:rPr>
              <a:t>Crisis de ingresos</a:t>
            </a:r>
          </a:p>
        </p:txBody>
      </p:sp>
      <p:sp>
        <p:nvSpPr>
          <p:cNvPr id="93" name="TextBox 18">
            <a:extLst>
              <a:ext uri="{FF2B5EF4-FFF2-40B4-BE49-F238E27FC236}">
                <a16:creationId xmlns:a16="http://schemas.microsoft.com/office/drawing/2014/main" id="{B24675F0-0F6A-17A3-8C34-8516DB94750C}"/>
              </a:ext>
            </a:extLst>
          </p:cNvPr>
          <p:cNvSpPr txBox="1"/>
          <p:nvPr/>
        </p:nvSpPr>
        <p:spPr>
          <a:xfrm>
            <a:off x="9438260" y="5745405"/>
            <a:ext cx="1072733" cy="505523"/>
          </a:xfrm>
          <a:prstGeom prst="rect">
            <a:avLst/>
          </a:prstGeom>
          <a:noFill/>
        </p:spPr>
        <p:txBody>
          <a:bodyPr wrap="square" rtlCol="0" anchor="ctr" anchorCtr="0">
            <a:spAutoFit/>
          </a:bodyPr>
          <a:lstStyle/>
          <a:p>
            <a:pPr>
              <a:lnSpc>
                <a:spcPts val="1620"/>
              </a:lnSpc>
            </a:pPr>
            <a:r>
              <a:rPr lang="en-GB" sz="1600" b="1">
                <a:solidFill>
                  <a:schemeClr val="bg1"/>
                </a:solidFill>
                <a:latin typeface="+mj-lt"/>
                <a:ea typeface="League Spartan" charset="0"/>
                <a:cs typeface="Poppins" pitchFamily="2" charset="77"/>
              </a:rPr>
              <a:t>Crisis de liquidez</a:t>
            </a:r>
          </a:p>
        </p:txBody>
      </p:sp>
      <p:sp>
        <p:nvSpPr>
          <p:cNvPr id="94" name="Chevron 5">
            <a:extLst>
              <a:ext uri="{FF2B5EF4-FFF2-40B4-BE49-F238E27FC236}">
                <a16:creationId xmlns:a16="http://schemas.microsoft.com/office/drawing/2014/main" id="{83EDD07C-2767-79BB-ACFD-9F68D339B142}"/>
              </a:ext>
            </a:extLst>
          </p:cNvPr>
          <p:cNvSpPr/>
          <p:nvPr/>
        </p:nvSpPr>
        <p:spPr>
          <a:xfrm>
            <a:off x="10471930" y="5714163"/>
            <a:ext cx="1171798" cy="570875"/>
          </a:xfrm>
          <a:prstGeom prst="chevron">
            <a:avLst>
              <a:gd name="adj" fmla="val 21186"/>
            </a:avLst>
          </a:prstGeom>
          <a:solidFill>
            <a:srgbClr val="EDA13E">
              <a:alpha val="7372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a:solidFill>
                <a:schemeClr val="tx1"/>
              </a:solidFill>
              <a:latin typeface="+mj-lt"/>
            </a:endParaRPr>
          </a:p>
        </p:txBody>
      </p:sp>
      <p:sp>
        <p:nvSpPr>
          <p:cNvPr id="95" name="TextBox 18">
            <a:extLst>
              <a:ext uri="{FF2B5EF4-FFF2-40B4-BE49-F238E27FC236}">
                <a16:creationId xmlns:a16="http://schemas.microsoft.com/office/drawing/2014/main" id="{BE3A0C59-C53B-0938-D989-C3BB2D8D689D}"/>
              </a:ext>
            </a:extLst>
          </p:cNvPr>
          <p:cNvSpPr txBox="1"/>
          <p:nvPr/>
        </p:nvSpPr>
        <p:spPr>
          <a:xfrm>
            <a:off x="10601689" y="5849703"/>
            <a:ext cx="1051803" cy="300339"/>
          </a:xfrm>
          <a:prstGeom prst="rect">
            <a:avLst/>
          </a:prstGeom>
          <a:noFill/>
        </p:spPr>
        <p:txBody>
          <a:bodyPr wrap="square" rtlCol="0" anchor="ctr" anchorCtr="0">
            <a:spAutoFit/>
          </a:bodyPr>
          <a:lstStyle/>
          <a:p>
            <a:pPr>
              <a:lnSpc>
                <a:spcPts val="1620"/>
              </a:lnSpc>
            </a:pPr>
            <a:r>
              <a:rPr lang="en-GB" sz="1600" b="1">
                <a:solidFill>
                  <a:schemeClr val="bg1"/>
                </a:solidFill>
                <a:latin typeface="+mj-lt"/>
                <a:ea typeface="League Spartan" charset="0"/>
                <a:cs typeface="Poppins" pitchFamily="2" charset="77"/>
              </a:rPr>
              <a:t>Insolvencia</a:t>
            </a:r>
          </a:p>
        </p:txBody>
      </p:sp>
    </p:spTree>
    <p:extLst>
      <p:ext uri="{BB962C8B-B14F-4D97-AF65-F5344CB8AC3E}">
        <p14:creationId xmlns:p14="http://schemas.microsoft.com/office/powerpoint/2010/main" val="324974782"/>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344234"/>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IE">
                <a:solidFill>
                  <a:schemeClr val="bg1"/>
                </a:solidFill>
              </a:rPr>
              <a:t>	 PROFUNDIZAR</a:t>
            </a:r>
            <a:endParaRPr lang="en-US">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380214" y="1588759"/>
            <a:ext cx="6388994" cy="4743706"/>
          </a:xfrm>
        </p:spPr>
        <p:txBody>
          <a:bodyPr>
            <a:noAutofit/>
          </a:bodyPr>
          <a:lstStyle/>
          <a:p>
            <a:pPr marL="12700" indent="-12700" algn="just">
              <a:lnSpc>
                <a:spcPct val="100000"/>
              </a:lnSpc>
            </a:pPr>
            <a:r>
              <a:rPr lang="en-GB" sz="2200">
                <a:hlinkClick r:id="rId3"/>
              </a:rPr>
              <a:t>La pequeña empresa en tiempos de crisis: Un modelo de cinco etapas de duelo empresarial - ScienceDirect</a:t>
            </a:r>
            <a:endParaRPr lang="en-GB" sz="2200" b="1"/>
          </a:p>
          <a:p>
            <a:pPr marL="12700" indent="-12700" algn="just">
              <a:lnSpc>
                <a:spcPct val="100000"/>
              </a:lnSpc>
            </a:pPr>
            <a:r>
              <a:rPr lang="en-GB" sz="2200" b="1">
                <a:solidFill>
                  <a:srgbClr val="B41F7A"/>
                </a:solidFill>
                <a:ea typeface="Lato Light" panose="020F0502020204030203" pitchFamily="34" charset="0"/>
                <a:cs typeface="Calibri" panose="020F0502020204030204" pitchFamily="34" charset="0"/>
              </a:rPr>
              <a:t>Nuestro socio principal de SECURE, la Universidad Tecnológica del Atlántico, y su equipo de Simon Stephens, Christopher McLaughlin y Katrina McLaughlin, publicaron un fascinante documento de investigación sobre La pequeña empresa en tiempos de crisis: Un modelo de cinco etapas del duelo empresarial. </a:t>
            </a:r>
          </a:p>
          <a:p>
            <a:pPr marL="12700" indent="-12700" algn="just">
              <a:lnSpc>
                <a:spcPct val="100000"/>
              </a:lnSpc>
            </a:pPr>
            <a:r>
              <a:rPr lang="en-GB" sz="2200">
                <a:ea typeface="Lato Light" panose="020F0502020204030203" pitchFamily="34" charset="0"/>
                <a:cs typeface="Calibri" panose="020F0502020204030204" pitchFamily="34" charset="0"/>
              </a:rPr>
              <a:t>En el documento, examinan las implicaciones que una crisis como la creada por la COVID-19 tiene para el bienestar psicológico de los propietarios de pequeñas empresas. Utilizan la literatura psicológica sobre el duelo, en concreto, el Modelo de las Cinco Etapas del Duelo de Kübler-Ross (1969) para examinar las repercusiones. </a:t>
            </a:r>
          </a:p>
        </p:txBody>
      </p:sp>
      <p:pic>
        <p:nvPicPr>
          <p:cNvPr id="22" name="Picture 21" descr="Feet above water">
            <a:extLst>
              <a:ext uri="{FF2B5EF4-FFF2-40B4-BE49-F238E27FC236}">
                <a16:creationId xmlns:a16="http://schemas.microsoft.com/office/drawing/2014/main" id="{CA8F0F6E-15A0-4D75-B563-E00FB8104F8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329376" y="1714500"/>
            <a:ext cx="4719929" cy="3429000"/>
          </a:xfrm>
          <a:prstGeom prst="rect">
            <a:avLst/>
          </a:prstGeom>
        </p:spPr>
      </p:pic>
      <p:sp>
        <p:nvSpPr>
          <p:cNvPr id="24" name="TextBox 23">
            <a:extLst>
              <a:ext uri="{FF2B5EF4-FFF2-40B4-BE49-F238E27FC236}">
                <a16:creationId xmlns:a16="http://schemas.microsoft.com/office/drawing/2014/main" id="{35579B68-9BBF-E505-720E-66A80B2D7DDD}"/>
              </a:ext>
            </a:extLst>
          </p:cNvPr>
          <p:cNvSpPr txBox="1"/>
          <p:nvPr/>
        </p:nvSpPr>
        <p:spPr>
          <a:xfrm>
            <a:off x="7212417" y="5287890"/>
            <a:ext cx="4719929" cy="1570110"/>
          </a:xfrm>
          <a:prstGeom prst="rect">
            <a:avLst/>
          </a:prstGeom>
          <a:noFill/>
        </p:spPr>
        <p:txBody>
          <a:bodyPr wrap="square">
            <a:spAutoFit/>
          </a:bodyPr>
          <a:lstStyle/>
          <a:p>
            <a:pPr marL="12700" indent="-12700" algn="just">
              <a:lnSpc>
                <a:spcPct val="110000"/>
              </a:lnSpc>
            </a:pPr>
            <a:r>
              <a:rPr lang="en-GB" sz="1400" b="1">
                <a:solidFill>
                  <a:srgbClr val="595959"/>
                </a:solidFill>
                <a:latin typeface="Calibri" panose="020F0502020204030204" pitchFamily="34" charset="0"/>
                <a:ea typeface="Lato Light" panose="020F0502020204030203" pitchFamily="34" charset="0"/>
                <a:cs typeface="Calibri" panose="020F0502020204030204" pitchFamily="34" charset="0"/>
              </a:rPr>
              <a:t>Journal of Business Venturing Insights,</a:t>
            </a:r>
          </a:p>
          <a:p>
            <a:pPr marL="12700" indent="-12700" algn="just">
              <a:lnSpc>
                <a:spcPct val="110000"/>
              </a:lnSpc>
            </a:pPr>
            <a:r>
              <a:rPr lang="en-GB" sz="1400" b="1">
                <a:solidFill>
                  <a:srgbClr val="595959"/>
                </a:solidFill>
                <a:latin typeface="Calibri" panose="020F0502020204030204" pitchFamily="34" charset="0"/>
                <a:ea typeface="Lato Light" panose="020F0502020204030203" pitchFamily="34" charset="0"/>
                <a:cs typeface="Calibri" panose="020F0502020204030204" pitchFamily="34" charset="0"/>
              </a:rPr>
              <a:t>Volumen 16, 2021, e00282, ISSN 2352-6734,</a:t>
            </a:r>
          </a:p>
          <a:p>
            <a:pPr marL="12700" indent="-12700" algn="just">
              <a:lnSpc>
                <a:spcPct val="110000"/>
              </a:lnSpc>
            </a:pPr>
            <a:r>
              <a:rPr lang="en-GB" sz="1400" b="1">
                <a:solidFill>
                  <a:srgbClr val="B41F7A"/>
                </a:solidFill>
                <a:latin typeface="Calibri" panose="020F0502020204030204" pitchFamily="34" charset="0"/>
                <a:ea typeface="Lato Light" panose="020F0502020204030203" pitchFamily="34" charset="0"/>
                <a:cs typeface="Calibri" panose="020F0502020204030204" pitchFamily="34" charset="0"/>
              </a:rPr>
              <a:t>https://doi.org/10.1016/j.jbvi.2021.e00282.</a:t>
            </a:r>
          </a:p>
          <a:p>
            <a:pPr marL="12700" indent="-12700" algn="just">
              <a:lnSpc>
                <a:spcPct val="110000"/>
              </a:lnSpc>
            </a:pPr>
            <a:r>
              <a:rPr lang="en-US" sz="1800" b="1">
                <a:solidFill>
                  <a:schemeClr val="bg1"/>
                </a:solidFill>
                <a:highlight>
                  <a:srgbClr val="F16924"/>
                </a:highlight>
              </a:rPr>
              <a:t>LEER </a:t>
            </a:r>
            <a:r>
              <a:rPr lang="en-GB" sz="1400" b="1">
                <a:solidFill>
                  <a:srgbClr val="B41F7A"/>
                </a:solidFill>
                <a:latin typeface="Calibri" panose="020F0502020204030204" pitchFamily="34" charset="0"/>
                <a:ea typeface="Lato Light" panose="020F0502020204030203" pitchFamily="34" charset="0"/>
                <a:cs typeface="Calibri" panose="020F0502020204030204" pitchFamily="34" charset="0"/>
              </a:rPr>
              <a:t>https://www.sciencedirect.com/science/article/pii/S2352673421000603</a:t>
            </a:r>
          </a:p>
        </p:txBody>
      </p:sp>
    </p:spTree>
    <p:extLst>
      <p:ext uri="{BB962C8B-B14F-4D97-AF65-F5344CB8AC3E}">
        <p14:creationId xmlns:p14="http://schemas.microsoft.com/office/powerpoint/2010/main" val="3170042921"/>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344234"/>
            <a:ext cx="11073663"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509713" algn="l"/>
              </a:tabLst>
            </a:pPr>
            <a:r>
              <a:rPr lang="en-IE">
                <a:solidFill>
                  <a:schemeClr val="bg1"/>
                </a:solidFill>
              </a:rPr>
              <a:t>	 PROFUNDIZAR</a:t>
            </a:r>
            <a:endParaRPr lang="en-US">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380214" y="1687072"/>
            <a:ext cx="6722190" cy="4743706"/>
          </a:xfrm>
        </p:spPr>
        <p:txBody>
          <a:bodyPr>
            <a:noAutofit/>
          </a:bodyPr>
          <a:lstStyle/>
          <a:p>
            <a:pPr marL="12700" indent="-12700" algn="just">
              <a:lnSpc>
                <a:spcPct val="110000"/>
              </a:lnSpc>
            </a:pPr>
            <a:r>
              <a:rPr lang="en-GB" sz="2200">
                <a:latin typeface="Calibri" panose="020F0502020204030204" pitchFamily="34" charset="0"/>
                <a:ea typeface="Lato Light" panose="020F0502020204030203" pitchFamily="34" charset="0"/>
                <a:cs typeface="Calibri" panose="020F0502020204030204" pitchFamily="34" charset="0"/>
              </a:rPr>
              <a:t>Su revisión de la literatura indica que, aunque hay críticos del enfoque basado en etapas, también hay defensores del uso de las etapas para ayudarnos a enmarcar y comprender las manifestaciones del duelo. Se recogieron datos de cuarenta propietarios de pequeñas empresas de Irlanda. Los datos se recogieron cinco veces durante un período de seis meses (de marzo a septiembre de 2020). El resultado es un modelo de cinco etapas del duelo empresarial. Los resultados proporcionan información sobre la relación emocional entre un propietario y su pequeña empresa. Proponen que el cierre de una empresa puede provocar en los propietarios de pequeñas empresas un duelo que se ajusta a una serie de etapas y que estas etapas pueden ser modeladas e ilustradas.</a:t>
            </a:r>
          </a:p>
        </p:txBody>
      </p:sp>
      <p:pic>
        <p:nvPicPr>
          <p:cNvPr id="22" name="Picture 21" descr="Feet above water">
            <a:extLst>
              <a:ext uri="{FF2B5EF4-FFF2-40B4-BE49-F238E27FC236}">
                <a16:creationId xmlns:a16="http://schemas.microsoft.com/office/drawing/2014/main" id="{CA8F0F6E-15A0-4D75-B563-E00FB8104F82}"/>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329376" y="1714500"/>
            <a:ext cx="4719929" cy="3429000"/>
          </a:xfrm>
          <a:prstGeom prst="rect">
            <a:avLst/>
          </a:prstGeom>
        </p:spPr>
      </p:pic>
      <p:sp>
        <p:nvSpPr>
          <p:cNvPr id="24" name="TextBox 23">
            <a:extLst>
              <a:ext uri="{FF2B5EF4-FFF2-40B4-BE49-F238E27FC236}">
                <a16:creationId xmlns:a16="http://schemas.microsoft.com/office/drawing/2014/main" id="{35579B68-9BBF-E505-720E-66A80B2D7DDD}"/>
              </a:ext>
            </a:extLst>
          </p:cNvPr>
          <p:cNvSpPr txBox="1"/>
          <p:nvPr/>
        </p:nvSpPr>
        <p:spPr>
          <a:xfrm>
            <a:off x="7329376" y="5166391"/>
            <a:ext cx="4719929" cy="1570110"/>
          </a:xfrm>
          <a:prstGeom prst="rect">
            <a:avLst/>
          </a:prstGeom>
          <a:noFill/>
        </p:spPr>
        <p:txBody>
          <a:bodyPr wrap="square">
            <a:spAutoFit/>
          </a:bodyPr>
          <a:lstStyle/>
          <a:p>
            <a:pPr marL="12700" indent="-12700" algn="just">
              <a:lnSpc>
                <a:spcPct val="110000"/>
              </a:lnSpc>
            </a:pPr>
            <a:r>
              <a:rPr lang="en-GB" sz="1400" b="1">
                <a:solidFill>
                  <a:srgbClr val="595959"/>
                </a:solidFill>
                <a:latin typeface="Calibri" panose="020F0502020204030204" pitchFamily="34" charset="0"/>
                <a:ea typeface="Lato Light" panose="020F0502020204030203" pitchFamily="34" charset="0"/>
                <a:cs typeface="Calibri" panose="020F0502020204030204" pitchFamily="34" charset="0"/>
              </a:rPr>
              <a:t>Journal of Business Venturing Insights,</a:t>
            </a:r>
          </a:p>
          <a:p>
            <a:pPr marL="12700" indent="-12700" algn="just">
              <a:lnSpc>
                <a:spcPct val="110000"/>
              </a:lnSpc>
            </a:pPr>
            <a:r>
              <a:rPr lang="en-GB" sz="1400" b="1">
                <a:solidFill>
                  <a:srgbClr val="595959"/>
                </a:solidFill>
                <a:latin typeface="Calibri" panose="020F0502020204030204" pitchFamily="34" charset="0"/>
                <a:ea typeface="Lato Light" panose="020F0502020204030203" pitchFamily="34" charset="0"/>
                <a:cs typeface="Calibri" panose="020F0502020204030204" pitchFamily="34" charset="0"/>
              </a:rPr>
              <a:t>Volumen 16, 2021, e00282, ISSN 2352-6734,</a:t>
            </a:r>
          </a:p>
          <a:p>
            <a:pPr marL="12700" indent="-12700" algn="just">
              <a:lnSpc>
                <a:spcPct val="110000"/>
              </a:lnSpc>
            </a:pPr>
            <a:r>
              <a:rPr lang="en-GB" sz="1400" b="1">
                <a:solidFill>
                  <a:srgbClr val="B41F7A"/>
                </a:solidFill>
                <a:latin typeface="Calibri" panose="020F0502020204030204" pitchFamily="34" charset="0"/>
                <a:ea typeface="Lato Light" panose="020F0502020204030203" pitchFamily="34" charset="0"/>
                <a:cs typeface="Calibri" panose="020F0502020204030204" pitchFamily="34" charset="0"/>
              </a:rPr>
              <a:t>https://doi.org/10.1016/j.jbvi.2021.e00282.</a:t>
            </a:r>
          </a:p>
          <a:p>
            <a:pPr marL="12700" indent="-12700" algn="just">
              <a:lnSpc>
                <a:spcPct val="110000"/>
              </a:lnSpc>
            </a:pPr>
            <a:r>
              <a:rPr lang="en-US" sz="1800" b="1">
                <a:solidFill>
                  <a:schemeClr val="bg1"/>
                </a:solidFill>
                <a:highlight>
                  <a:srgbClr val="F16924"/>
                </a:highlight>
              </a:rPr>
              <a:t>LEER </a:t>
            </a:r>
            <a:r>
              <a:rPr lang="en-GB" sz="1400" b="1">
                <a:solidFill>
                  <a:srgbClr val="B41F7A"/>
                </a:solidFill>
                <a:latin typeface="Calibri" panose="020F0502020204030204" pitchFamily="34" charset="0"/>
                <a:ea typeface="Lato Light" panose="020F0502020204030203" pitchFamily="34" charset="0"/>
                <a:cs typeface="Calibri" panose="020F0502020204030204" pitchFamily="34" charset="0"/>
              </a:rPr>
              <a:t>https://www.sciencedirect.com/science/article/pii/S2352673421000603</a:t>
            </a:r>
          </a:p>
        </p:txBody>
      </p:sp>
    </p:spTree>
    <p:extLst>
      <p:ext uri="{BB962C8B-B14F-4D97-AF65-F5344CB8AC3E}">
        <p14:creationId xmlns:p14="http://schemas.microsoft.com/office/powerpoint/2010/main" val="242487328"/>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4678EC-8A3F-3741-8E47-AE94DA479C25}"/>
              </a:ext>
            </a:extLst>
          </p:cNvPr>
          <p:cNvSpPr>
            <a:spLocks noGrp="1"/>
          </p:cNvSpPr>
          <p:nvPr>
            <p:ph type="body" sz="quarter" idx="16"/>
          </p:nvPr>
        </p:nvSpPr>
        <p:spPr>
          <a:xfrm>
            <a:off x="2178466" y="1379071"/>
            <a:ext cx="4474068" cy="3423588"/>
          </a:xfrm>
        </p:spPr>
        <p:txBody>
          <a:bodyPr>
            <a:normAutofit/>
          </a:bodyPr>
          <a:lstStyle/>
          <a:p>
            <a:r>
              <a:rPr lang="en-US" sz="4000"/>
              <a:t>ESCANEAR EN BUSCA DE SIGNOS DE ALERTA TEMPRANA: </a:t>
            </a:r>
          </a:p>
          <a:p>
            <a:endParaRPr lang="en-US" sz="4000"/>
          </a:p>
          <a:p>
            <a:r>
              <a:rPr lang="en-US" sz="4000"/>
              <a:t>4 áreas clave </a:t>
            </a:r>
          </a:p>
        </p:txBody>
      </p:sp>
      <p:sp>
        <p:nvSpPr>
          <p:cNvPr id="3" name="Text Placeholder 2">
            <a:extLst>
              <a:ext uri="{FF2B5EF4-FFF2-40B4-BE49-F238E27FC236}">
                <a16:creationId xmlns:a16="http://schemas.microsoft.com/office/drawing/2014/main" id="{0B5F2CD6-66FF-60DA-48DE-3B0E78B51457}"/>
              </a:ext>
            </a:extLst>
          </p:cNvPr>
          <p:cNvSpPr>
            <a:spLocks noGrp="1"/>
          </p:cNvSpPr>
          <p:nvPr>
            <p:ph type="body" sz="quarter" idx="17"/>
          </p:nvPr>
        </p:nvSpPr>
        <p:spPr/>
        <p:txBody>
          <a:bodyPr/>
          <a:lstStyle/>
          <a:p>
            <a:r>
              <a:rPr lang="en-US"/>
              <a:t>04</a:t>
            </a:r>
          </a:p>
        </p:txBody>
      </p:sp>
    </p:spTree>
    <p:extLst>
      <p:ext uri="{BB962C8B-B14F-4D97-AF65-F5344CB8AC3E}">
        <p14:creationId xmlns:p14="http://schemas.microsoft.com/office/powerpoint/2010/main" val="1964008576"/>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816DEE1E-7145-ABE3-709F-6073509D6351}"/>
              </a:ext>
            </a:extLst>
          </p:cNvPr>
          <p:cNvSpPr>
            <a:spLocks noGrp="1"/>
          </p:cNvSpPr>
          <p:nvPr>
            <p:ph type="body" sz="quarter" idx="18"/>
          </p:nvPr>
        </p:nvSpPr>
        <p:spPr>
          <a:xfrm>
            <a:off x="420236" y="2686432"/>
            <a:ext cx="3249235" cy="3642546"/>
          </a:xfrm>
        </p:spPr>
        <p:txBody>
          <a:bodyPr>
            <a:normAutofit/>
          </a:bodyPr>
          <a:lstStyle/>
          <a:p>
            <a:pPr marL="15875" indent="-15875"/>
            <a:r>
              <a:rPr lang="en-US">
                <a:solidFill>
                  <a:schemeClr val="bg1"/>
                </a:solidFill>
              </a:rPr>
              <a:t>Una evaluación periódica, sistemática y exhaustiva de los riesgos a través de 4 señales clave de alerta/riesgo permite adoptar medidas tempranas. </a:t>
            </a:r>
          </a:p>
          <a:p>
            <a:pPr marL="15875" indent="-15875"/>
            <a:r>
              <a:rPr lang="en-US" b="1">
                <a:solidFill>
                  <a:schemeClr val="bg1"/>
                </a:solidFill>
              </a:rPr>
              <a:t>Veamos cada una de las 4 áreas.</a:t>
            </a:r>
          </a:p>
          <a:p>
            <a:pPr marL="15875" indent="-15875"/>
            <a:endParaRPr lang="en-US">
              <a:solidFill>
                <a:schemeClr val="bg1"/>
              </a:solidFill>
            </a:endParaRPr>
          </a:p>
          <a:p>
            <a:pPr marL="15875" indent="-15875"/>
            <a:endParaRPr lang="en-US">
              <a:solidFill>
                <a:schemeClr val="bg1"/>
              </a:solidFill>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3249234" cy="1875850"/>
          </a:xfrm>
        </p:spPr>
        <p:txBody>
          <a:bodyPr>
            <a:normAutofit lnSpcReduction="10000"/>
          </a:bodyPr>
          <a:lstStyle/>
          <a:p>
            <a:r>
              <a:rPr lang="en-GB">
                <a:solidFill>
                  <a:schemeClr val="bg1"/>
                </a:solidFill>
              </a:rPr>
              <a:t>Búsqueda de señales de alerta temprana, 4 áreas clave </a:t>
            </a:r>
          </a:p>
        </p:txBody>
      </p:sp>
      <p:sp>
        <p:nvSpPr>
          <p:cNvPr id="104" name="TextBox 40">
            <a:extLst>
              <a:ext uri="{FF2B5EF4-FFF2-40B4-BE49-F238E27FC236}">
                <a16:creationId xmlns:a16="http://schemas.microsoft.com/office/drawing/2014/main" id="{BC99318B-D0FF-4921-B814-4CD6119D1E35}"/>
              </a:ext>
            </a:extLst>
          </p:cNvPr>
          <p:cNvSpPr txBox="1"/>
          <p:nvPr/>
        </p:nvSpPr>
        <p:spPr>
          <a:xfrm>
            <a:off x="5972757" y="491603"/>
            <a:ext cx="5972442" cy="7725192"/>
          </a:xfrm>
          <a:prstGeom prst="rect">
            <a:avLst/>
          </a:prstGeom>
          <a:noFill/>
        </p:spPr>
        <p:txBody>
          <a:bodyPr wrap="square" rtlCol="0">
            <a:spAutoFit/>
          </a:bodyPr>
          <a:lstStyle/>
          <a:p>
            <a:pPr>
              <a:defRPr/>
            </a:pPr>
            <a:r>
              <a:rPr lang="en-US" sz="3400">
                <a:solidFill>
                  <a:srgbClr val="F16924"/>
                </a:solidFill>
              </a:rPr>
              <a:t>01 </a:t>
            </a:r>
            <a:r>
              <a:rPr kumimoji="0" lang="en-GB" sz="2200" b="1" i="0" u="none" strike="noStrike" kern="1200" cap="none" spc="0" normalizeH="0" baseline="0" noProof="0">
                <a:ln>
                  <a:noFill/>
                </a:ln>
                <a:solidFill>
                  <a:srgbClr val="B41F7A"/>
                </a:solidFill>
                <a:effectLst/>
                <a:uLnTx/>
                <a:uFillTx/>
                <a:ea typeface="Roboto" charset="0"/>
                <a:cs typeface="Roboto" charset="0"/>
              </a:rPr>
              <a:t>Temas de la industria</a:t>
            </a:r>
          </a:p>
          <a:p>
            <a:pPr>
              <a:defRPr/>
            </a:pPr>
            <a:r>
              <a:rPr lang="en-GB" sz="2200">
                <a:solidFill>
                  <a:srgbClr val="595959"/>
                </a:solidFill>
                <a:ea typeface="Lato Light" charset="0"/>
                <a:cs typeface="Lato Light" charset="0"/>
              </a:rPr>
              <a:t>Búsqueda sistemática de riesgos en el sector en el que trabaja su empresa</a:t>
            </a:r>
          </a:p>
          <a:p>
            <a:pPr marL="0" marR="0" lvl="0" indent="0" algn="l" defTabSz="914400" rtl="0" eaLnBrk="1" fontAlgn="auto" latinLnBrk="0" hangingPunct="1">
              <a:lnSpc>
                <a:spcPct val="100000"/>
              </a:lnSpc>
              <a:spcBef>
                <a:spcPct val="0"/>
              </a:spcBef>
              <a:spcAft>
                <a:spcPct val="0"/>
              </a:spcAft>
              <a:buClrTx/>
              <a:buSzTx/>
              <a:buFontTx/>
              <a:buNone/>
              <a:defRPr/>
            </a:pPr>
            <a:endParaRPr lang="en-GB" sz="3200" b="1">
              <a:solidFill>
                <a:srgbClr val="595959"/>
              </a:solidFill>
              <a:ea typeface="Roboto" charset="0"/>
              <a:cs typeface="Roboto" charset="0"/>
            </a:endParaRPr>
          </a:p>
          <a:p>
            <a:pPr lvl="0">
              <a:defRPr/>
            </a:pPr>
            <a:r>
              <a:rPr lang="en-US" sz="3400">
                <a:solidFill>
                  <a:srgbClr val="F16924"/>
                </a:solidFill>
              </a:rPr>
              <a:t>02 </a:t>
            </a:r>
            <a:r>
              <a:rPr lang="en-GB" sz="2200" b="1">
                <a:solidFill>
                  <a:srgbClr val="B41F7A"/>
                </a:solidFill>
                <a:ea typeface="Roboto" charset="0"/>
                <a:cs typeface="Roboto" charset="0"/>
              </a:rPr>
              <a:t>Cuestiones organizativas</a:t>
            </a:r>
          </a:p>
          <a:p>
            <a:pPr lvl="0">
              <a:defRPr/>
            </a:pPr>
            <a:r>
              <a:rPr lang="en-GB" sz="2200">
                <a:solidFill>
                  <a:srgbClr val="595959"/>
                </a:solidFill>
                <a:ea typeface="Roboto" charset="0"/>
                <a:cs typeface="Roboto" charset="0"/>
              </a:rPr>
              <a:t>Análisis de los riesgos derivados de la propia organización</a:t>
            </a:r>
          </a:p>
          <a:p>
            <a:pPr lvl="0">
              <a:defRPr/>
            </a:pPr>
            <a:endParaRPr lang="en-GB" sz="3200">
              <a:solidFill>
                <a:srgbClr val="595959"/>
              </a:solidFill>
              <a:ea typeface="Roboto" charset="0"/>
              <a:cs typeface="Roboto" charset="0"/>
            </a:endParaRPr>
          </a:p>
          <a:p>
            <a:pPr lvl="0">
              <a:defRPr/>
            </a:pPr>
            <a:r>
              <a:rPr lang="en-US" sz="3400">
                <a:solidFill>
                  <a:srgbClr val="F16924"/>
                </a:solidFill>
              </a:rPr>
              <a:t>03 </a:t>
            </a:r>
            <a:r>
              <a:rPr lang="en-GB" sz="2200" b="1">
                <a:solidFill>
                  <a:srgbClr val="B41F7A"/>
                </a:solidFill>
                <a:ea typeface="Roboto" charset="0"/>
                <a:cs typeface="Roboto" charset="0"/>
              </a:rPr>
              <a:t>Relaciones con las partes interesadas</a:t>
            </a:r>
          </a:p>
          <a:p>
            <a:pPr lvl="0">
              <a:defRPr/>
            </a:pPr>
            <a:r>
              <a:rPr lang="en-GB" sz="2200">
                <a:solidFill>
                  <a:srgbClr val="595959"/>
                </a:solidFill>
                <a:ea typeface="Roboto" charset="0"/>
                <a:cs typeface="Roboto" charset="0"/>
              </a:rPr>
              <a:t>Algunos riesgos se derivan de las relaciones específicas con las partes interesadas</a:t>
            </a:r>
          </a:p>
          <a:p>
            <a:pPr lvl="0">
              <a:defRPr/>
            </a:pPr>
            <a:endParaRPr lang="en-GB" sz="3200">
              <a:solidFill>
                <a:srgbClr val="595959"/>
              </a:solidFill>
              <a:ea typeface="Roboto" charset="0"/>
              <a:cs typeface="Roboto" charset="0"/>
            </a:endParaRPr>
          </a:p>
          <a:p>
            <a:pPr lvl="0">
              <a:defRPr/>
            </a:pPr>
            <a:r>
              <a:rPr lang="en-US" sz="3400">
                <a:solidFill>
                  <a:srgbClr val="F16924"/>
                </a:solidFill>
              </a:rPr>
              <a:t>04 </a:t>
            </a:r>
            <a:r>
              <a:rPr lang="en-GB" sz="2200" b="1">
                <a:solidFill>
                  <a:srgbClr val="B41F7A"/>
                </a:solidFill>
                <a:ea typeface="Roboto" charset="0"/>
                <a:cs typeface="Roboto" charset="0"/>
              </a:rPr>
              <a:t>Evaluaciones de riesgo</a:t>
            </a:r>
          </a:p>
          <a:p>
            <a:pPr lvl="0">
              <a:defRPr/>
            </a:pPr>
            <a:r>
              <a:rPr lang="en-GB" sz="2200">
                <a:solidFill>
                  <a:srgbClr val="595959"/>
                </a:solidFill>
                <a:ea typeface="Roboto" charset="0"/>
                <a:cs typeface="Roboto" charset="0"/>
              </a:rPr>
              <a:t>Exploración sistemática de cuestiones implícitas</a:t>
            </a:r>
          </a:p>
          <a:p>
            <a:pPr lvl="0">
              <a:defRPr/>
            </a:pPr>
            <a:endParaRPr lang="en-GB" sz="2200" b="1">
              <a:solidFill>
                <a:srgbClr val="595959"/>
              </a:solidFill>
              <a:ea typeface="Roboto" charset="0"/>
              <a:cs typeface="Roboto" charset="0"/>
            </a:endParaRPr>
          </a:p>
          <a:p>
            <a:pPr lvl="0">
              <a:defRPr/>
            </a:pPr>
            <a:endParaRPr lang="en-GB" sz="2200" b="1">
              <a:solidFill>
                <a:srgbClr val="595959"/>
              </a:solidFill>
              <a:ea typeface="Roboto" charset="0"/>
              <a:cs typeface="Roboto" charset="0"/>
            </a:endParaRPr>
          </a:p>
          <a:p>
            <a:pPr lvl="0">
              <a:defRPr/>
            </a:pPr>
            <a:r>
              <a:rPr lang="en-GB" sz="2200" b="1">
                <a:solidFill>
                  <a:srgbClr val="595959"/>
                </a:solidFill>
                <a:ea typeface="Roboto" charset="0"/>
                <a:cs typeface="Roboto" charset="0"/>
              </a:rPr>
              <a:t> </a:t>
            </a:r>
          </a:p>
          <a:p>
            <a:pPr lvl="0">
              <a:defRPr/>
            </a:pPr>
            <a:endParaRPr lang="en-GB" sz="2200" b="1">
              <a:solidFill>
                <a:srgbClr val="595959"/>
              </a:solidFill>
              <a:ea typeface="Roboto" charset="0"/>
              <a:cs typeface="Roboto" charset="0"/>
            </a:endParaRPr>
          </a:p>
          <a:p>
            <a:pPr lvl="0">
              <a:defRPr/>
            </a:pPr>
            <a:endParaRPr lang="en-GB" sz="2200" b="1">
              <a:solidFill>
                <a:srgbClr val="595959"/>
              </a:solidFill>
              <a:ea typeface="Roboto" charset="0"/>
              <a:cs typeface="Roboto" charset="0"/>
            </a:endParaRPr>
          </a:p>
          <a:p>
            <a:pPr marL="0" marR="0" lvl="0" indent="0" algn="l" defTabSz="914400" rtl="0" eaLnBrk="1" fontAlgn="auto" latinLnBrk="0" hangingPunct="1">
              <a:lnSpc>
                <a:spcPct val="100000"/>
              </a:lnSpc>
              <a:spcBef>
                <a:spcPct val="0"/>
              </a:spcBef>
              <a:spcAft>
                <a:spcPct val="0"/>
              </a:spcAft>
              <a:buClrTx/>
              <a:buSzTx/>
              <a:buFontTx/>
              <a:buNone/>
              <a:defRPr/>
            </a:pPr>
            <a:endParaRPr kumimoji="0" lang="en-GB" sz="2200" b="1" i="0" u="none" strike="noStrike" kern="1200" cap="none" spc="0" normalizeH="0" baseline="0" noProof="0">
              <a:ln>
                <a:noFill/>
              </a:ln>
              <a:solidFill>
                <a:srgbClr val="595959"/>
              </a:solidFill>
              <a:effectLst/>
              <a:uLnTx/>
              <a:uFillTx/>
              <a:ea typeface="Roboto" charset="0"/>
              <a:cs typeface="Roboto" charset="0"/>
            </a:endParaRPr>
          </a:p>
        </p:txBody>
      </p:sp>
      <p:sp>
        <p:nvSpPr>
          <p:cNvPr id="8" name="Rectangle 7">
            <a:extLst>
              <a:ext uri="{FF2B5EF4-FFF2-40B4-BE49-F238E27FC236}">
                <a16:creationId xmlns:a16="http://schemas.microsoft.com/office/drawing/2014/main" id="{14F9744D-3107-97CB-5B61-61E5B24B2E44}"/>
              </a:ext>
            </a:extLst>
          </p:cNvPr>
          <p:cNvSpPr/>
          <p:nvPr/>
        </p:nvSpPr>
        <p:spPr>
          <a:xfrm>
            <a:off x="378756" y="2443311"/>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grpSp>
        <p:nvGrpSpPr>
          <p:cNvPr id="9" name="Graphic 2">
            <a:extLst>
              <a:ext uri="{FF2B5EF4-FFF2-40B4-BE49-F238E27FC236}">
                <a16:creationId xmlns:a16="http://schemas.microsoft.com/office/drawing/2014/main" id="{C1E2E067-FA67-157D-22DF-8943BAFA9428}"/>
              </a:ext>
            </a:extLst>
          </p:cNvPr>
          <p:cNvGrpSpPr/>
          <p:nvPr/>
        </p:nvGrpSpPr>
        <p:grpSpPr>
          <a:xfrm>
            <a:off x="4679980" y="600008"/>
            <a:ext cx="911305" cy="970368"/>
            <a:chOff x="3918554" y="774528"/>
            <a:chExt cx="868197" cy="924466"/>
          </a:xfrm>
          <a:solidFill>
            <a:srgbClr val="595959"/>
          </a:solidFill>
        </p:grpSpPr>
        <p:grpSp>
          <p:nvGrpSpPr>
            <p:cNvPr id="10" name="Graphic 2">
              <a:extLst>
                <a:ext uri="{FF2B5EF4-FFF2-40B4-BE49-F238E27FC236}">
                  <a16:creationId xmlns:a16="http://schemas.microsoft.com/office/drawing/2014/main" id="{0D7C6B1A-D142-FEAC-4678-BAF1F714E9CD}"/>
                </a:ext>
              </a:extLst>
            </p:cNvPr>
            <p:cNvGrpSpPr/>
            <p:nvPr/>
          </p:nvGrpSpPr>
          <p:grpSpPr>
            <a:xfrm>
              <a:off x="3918554" y="774528"/>
              <a:ext cx="868197" cy="924466"/>
              <a:chOff x="3918554" y="774528"/>
              <a:chExt cx="868197" cy="924466"/>
            </a:xfrm>
            <a:grpFill/>
          </p:grpSpPr>
          <p:sp>
            <p:nvSpPr>
              <p:cNvPr id="14" name="Freeform 13">
                <a:extLst>
                  <a:ext uri="{FF2B5EF4-FFF2-40B4-BE49-F238E27FC236}">
                    <a16:creationId xmlns:a16="http://schemas.microsoft.com/office/drawing/2014/main" id="{677499EE-578B-1132-7A99-91BDA0DF845F}"/>
                  </a:ext>
                </a:extLst>
              </p:cNvPr>
              <p:cNvSpPr/>
              <p:nvPr/>
            </p:nvSpPr>
            <p:spPr>
              <a:xfrm>
                <a:off x="3918554" y="774528"/>
                <a:ext cx="868197" cy="924466"/>
              </a:xfrm>
              <a:custGeom>
                <a:avLst/>
                <a:gdLst>
                  <a:gd name="connsiteX0" fmla="*/ 859428 w 868197"/>
                  <a:gd name="connsiteY0" fmla="*/ 489969 h 924466"/>
                  <a:gd name="connsiteX1" fmla="*/ 762772 w 868197"/>
                  <a:gd name="connsiteY1" fmla="*/ 322855 h 924466"/>
                  <a:gd name="connsiteX2" fmla="*/ 770902 w 868197"/>
                  <a:gd name="connsiteY2" fmla="*/ 318338 h 924466"/>
                  <a:gd name="connsiteX3" fmla="*/ 805228 w 868197"/>
                  <a:gd name="connsiteY3" fmla="*/ 274075 h 924466"/>
                  <a:gd name="connsiteX4" fmla="*/ 798002 w 868197"/>
                  <a:gd name="connsiteY4" fmla="*/ 218973 h 924466"/>
                  <a:gd name="connsiteX5" fmla="*/ 698636 w 868197"/>
                  <a:gd name="connsiteY5" fmla="*/ 192776 h 924466"/>
                  <a:gd name="connsiteX6" fmla="*/ 690507 w 868197"/>
                  <a:gd name="connsiteY6" fmla="*/ 197293 h 924466"/>
                  <a:gd name="connsiteX7" fmla="*/ 593851 w 868197"/>
                  <a:gd name="connsiteY7" fmla="*/ 29275 h 924466"/>
                  <a:gd name="connsiteX8" fmla="*/ 557718 w 868197"/>
                  <a:gd name="connsiteY8" fmla="*/ 2176 h 924466"/>
                  <a:gd name="connsiteX9" fmla="*/ 512552 w 868197"/>
                  <a:gd name="connsiteY9" fmla="*/ 8499 h 924466"/>
                  <a:gd name="connsiteX10" fmla="*/ 485452 w 868197"/>
                  <a:gd name="connsiteY10" fmla="*/ 44632 h 924466"/>
                  <a:gd name="connsiteX11" fmla="*/ 485452 w 868197"/>
                  <a:gd name="connsiteY11" fmla="*/ 76248 h 924466"/>
                  <a:gd name="connsiteX12" fmla="*/ 393314 w 868197"/>
                  <a:gd name="connsiteY12" fmla="*/ 178324 h 924466"/>
                  <a:gd name="connsiteX13" fmla="*/ 395120 w 868197"/>
                  <a:gd name="connsiteY13" fmla="*/ 203616 h 924466"/>
                  <a:gd name="connsiteX14" fmla="*/ 420413 w 868197"/>
                  <a:gd name="connsiteY14" fmla="*/ 201810 h 924466"/>
                  <a:gd name="connsiteX15" fmla="*/ 503519 w 868197"/>
                  <a:gd name="connsiteY15" fmla="*/ 107865 h 924466"/>
                  <a:gd name="connsiteX16" fmla="*/ 745609 w 868197"/>
                  <a:gd name="connsiteY16" fmla="*/ 527005 h 924466"/>
                  <a:gd name="connsiteX17" fmla="*/ 340921 w 868197"/>
                  <a:gd name="connsiteY17" fmla="*/ 613725 h 924466"/>
                  <a:gd name="connsiteX18" fmla="*/ 228006 w 868197"/>
                  <a:gd name="connsiteY18" fmla="*/ 417704 h 924466"/>
                  <a:gd name="connsiteX19" fmla="*/ 312015 w 868197"/>
                  <a:gd name="connsiteY19" fmla="*/ 322855 h 924466"/>
                  <a:gd name="connsiteX20" fmla="*/ 310208 w 868197"/>
                  <a:gd name="connsiteY20" fmla="*/ 297562 h 924466"/>
                  <a:gd name="connsiteX21" fmla="*/ 284915 w 868197"/>
                  <a:gd name="connsiteY21" fmla="*/ 299369 h 924466"/>
                  <a:gd name="connsiteX22" fmla="*/ 193680 w 868197"/>
                  <a:gd name="connsiteY22" fmla="*/ 401444 h 924466"/>
                  <a:gd name="connsiteX23" fmla="*/ 42825 w 868197"/>
                  <a:gd name="connsiteY23" fmla="*/ 489066 h 924466"/>
                  <a:gd name="connsiteX24" fmla="*/ 3079 w 868197"/>
                  <a:gd name="connsiteY24" fmla="*/ 541459 h 924466"/>
                  <a:gd name="connsiteX25" fmla="*/ 12112 w 868197"/>
                  <a:gd name="connsiteY25" fmla="*/ 606498 h 924466"/>
                  <a:gd name="connsiteX26" fmla="*/ 69925 w 868197"/>
                  <a:gd name="connsiteY26" fmla="*/ 706767 h 924466"/>
                  <a:gd name="connsiteX27" fmla="*/ 144900 w 868197"/>
                  <a:gd name="connsiteY27" fmla="*/ 750126 h 924466"/>
                  <a:gd name="connsiteX28" fmla="*/ 188260 w 868197"/>
                  <a:gd name="connsiteY28" fmla="*/ 738383 h 924466"/>
                  <a:gd name="connsiteX29" fmla="*/ 231619 w 868197"/>
                  <a:gd name="connsiteY29" fmla="*/ 713993 h 924466"/>
                  <a:gd name="connsiteX30" fmla="*/ 420413 w 868197"/>
                  <a:gd name="connsiteY30" fmla="*/ 902787 h 924466"/>
                  <a:gd name="connsiteX31" fmla="*/ 471903 w 868197"/>
                  <a:gd name="connsiteY31" fmla="*/ 924467 h 924466"/>
                  <a:gd name="connsiteX32" fmla="*/ 508036 w 868197"/>
                  <a:gd name="connsiteY32" fmla="*/ 914531 h 924466"/>
                  <a:gd name="connsiteX33" fmla="*/ 544168 w 868197"/>
                  <a:gd name="connsiteY33" fmla="*/ 860331 h 924466"/>
                  <a:gd name="connsiteX34" fmla="*/ 523392 w 868197"/>
                  <a:gd name="connsiteY34" fmla="*/ 798905 h 924466"/>
                  <a:gd name="connsiteX35" fmla="*/ 458353 w 868197"/>
                  <a:gd name="connsiteY35" fmla="*/ 733866 h 924466"/>
                  <a:gd name="connsiteX36" fmla="*/ 476419 w 868197"/>
                  <a:gd name="connsiteY36" fmla="*/ 723930 h 924466"/>
                  <a:gd name="connsiteX37" fmla="*/ 500809 w 868197"/>
                  <a:gd name="connsiteY37" fmla="*/ 686893 h 924466"/>
                  <a:gd name="connsiteX38" fmla="*/ 485452 w 868197"/>
                  <a:gd name="connsiteY38" fmla="*/ 645341 h 924466"/>
                  <a:gd name="connsiteX39" fmla="*/ 463773 w 868197"/>
                  <a:gd name="connsiteY39" fmla="*/ 625468 h 924466"/>
                  <a:gd name="connsiteX40" fmla="*/ 768192 w 868197"/>
                  <a:gd name="connsiteY40" fmla="*/ 560428 h 924466"/>
                  <a:gd name="connsiteX41" fmla="*/ 795292 w 868197"/>
                  <a:gd name="connsiteY41" fmla="*/ 575785 h 924466"/>
                  <a:gd name="connsiteX42" fmla="*/ 810648 w 868197"/>
                  <a:gd name="connsiteY42" fmla="*/ 577592 h 924466"/>
                  <a:gd name="connsiteX43" fmla="*/ 840458 w 868197"/>
                  <a:gd name="connsiteY43" fmla="*/ 569462 h 924466"/>
                  <a:gd name="connsiteX44" fmla="*/ 867557 w 868197"/>
                  <a:gd name="connsiteY44" fmla="*/ 533329 h 924466"/>
                  <a:gd name="connsiteX45" fmla="*/ 859428 w 868197"/>
                  <a:gd name="connsiteY45" fmla="*/ 489969 h 924466"/>
                  <a:gd name="connsiteX46" fmla="*/ 859428 w 868197"/>
                  <a:gd name="connsiteY46" fmla="*/ 489969 h 924466"/>
                  <a:gd name="connsiteX47" fmla="*/ 707670 w 868197"/>
                  <a:gd name="connsiteY47" fmla="*/ 228006 h 924466"/>
                  <a:gd name="connsiteX48" fmla="*/ 715799 w 868197"/>
                  <a:gd name="connsiteY48" fmla="*/ 223490 h 924466"/>
                  <a:gd name="connsiteX49" fmla="*/ 765482 w 868197"/>
                  <a:gd name="connsiteY49" fmla="*/ 237039 h 924466"/>
                  <a:gd name="connsiteX50" fmla="*/ 751932 w 868197"/>
                  <a:gd name="connsiteY50" fmla="*/ 286722 h 924466"/>
                  <a:gd name="connsiteX51" fmla="*/ 743802 w 868197"/>
                  <a:gd name="connsiteY51" fmla="*/ 291239 h 924466"/>
                  <a:gd name="connsiteX52" fmla="*/ 707670 w 868197"/>
                  <a:gd name="connsiteY52" fmla="*/ 228909 h 924466"/>
                  <a:gd name="connsiteX53" fmla="*/ 707670 w 868197"/>
                  <a:gd name="connsiteY53" fmla="*/ 228006 h 924466"/>
                  <a:gd name="connsiteX54" fmla="*/ 169290 w 868197"/>
                  <a:gd name="connsiteY54" fmla="*/ 708573 h 924466"/>
                  <a:gd name="connsiteX55" fmla="*/ 100637 w 868197"/>
                  <a:gd name="connsiteY55" fmla="*/ 690507 h 924466"/>
                  <a:gd name="connsiteX56" fmla="*/ 42825 w 868197"/>
                  <a:gd name="connsiteY56" fmla="*/ 590238 h 924466"/>
                  <a:gd name="connsiteX57" fmla="*/ 37405 w 868197"/>
                  <a:gd name="connsiteY57" fmla="*/ 552299 h 924466"/>
                  <a:gd name="connsiteX58" fmla="*/ 60891 w 868197"/>
                  <a:gd name="connsiteY58" fmla="*/ 521586 h 924466"/>
                  <a:gd name="connsiteX59" fmla="*/ 199100 w 868197"/>
                  <a:gd name="connsiteY59" fmla="*/ 442093 h 924466"/>
                  <a:gd name="connsiteX60" fmla="*/ 307498 w 868197"/>
                  <a:gd name="connsiteY60" fmla="*/ 629081 h 924466"/>
                  <a:gd name="connsiteX61" fmla="*/ 169290 w 868197"/>
                  <a:gd name="connsiteY61" fmla="*/ 708573 h 924466"/>
                  <a:gd name="connsiteX62" fmla="*/ 507132 w 868197"/>
                  <a:gd name="connsiteY62" fmla="*/ 856718 h 924466"/>
                  <a:gd name="connsiteX63" fmla="*/ 489066 w 868197"/>
                  <a:gd name="connsiteY63" fmla="*/ 883817 h 924466"/>
                  <a:gd name="connsiteX64" fmla="*/ 444803 w 868197"/>
                  <a:gd name="connsiteY64" fmla="*/ 877495 h 924466"/>
                  <a:gd name="connsiteX65" fmla="*/ 263235 w 868197"/>
                  <a:gd name="connsiteY65" fmla="*/ 695927 h 924466"/>
                  <a:gd name="connsiteX66" fmla="*/ 329178 w 868197"/>
                  <a:gd name="connsiteY66" fmla="*/ 657987 h 924466"/>
                  <a:gd name="connsiteX67" fmla="*/ 497196 w 868197"/>
                  <a:gd name="connsiteY67" fmla="*/ 826005 h 924466"/>
                  <a:gd name="connsiteX68" fmla="*/ 507132 w 868197"/>
                  <a:gd name="connsiteY68" fmla="*/ 856718 h 924466"/>
                  <a:gd name="connsiteX69" fmla="*/ 507132 w 868197"/>
                  <a:gd name="connsiteY69" fmla="*/ 856718 h 924466"/>
                  <a:gd name="connsiteX70" fmla="*/ 459256 w 868197"/>
                  <a:gd name="connsiteY70" fmla="*/ 672440 h 924466"/>
                  <a:gd name="connsiteX71" fmla="*/ 462869 w 868197"/>
                  <a:gd name="connsiteY71" fmla="*/ 683280 h 924466"/>
                  <a:gd name="connsiteX72" fmla="*/ 456546 w 868197"/>
                  <a:gd name="connsiteY72" fmla="*/ 693217 h 924466"/>
                  <a:gd name="connsiteX73" fmla="*/ 430350 w 868197"/>
                  <a:gd name="connsiteY73" fmla="*/ 708573 h 924466"/>
                  <a:gd name="connsiteX74" fmla="*/ 368021 w 868197"/>
                  <a:gd name="connsiteY74" fmla="*/ 646244 h 924466"/>
                  <a:gd name="connsiteX75" fmla="*/ 418607 w 868197"/>
                  <a:gd name="connsiteY75" fmla="*/ 635404 h 924466"/>
                  <a:gd name="connsiteX76" fmla="*/ 459256 w 868197"/>
                  <a:gd name="connsiteY76" fmla="*/ 672440 h 924466"/>
                  <a:gd name="connsiteX77" fmla="*/ 830521 w 868197"/>
                  <a:gd name="connsiteY77" fmla="*/ 525199 h 924466"/>
                  <a:gd name="connsiteX78" fmla="*/ 819681 w 868197"/>
                  <a:gd name="connsiteY78" fmla="*/ 538749 h 924466"/>
                  <a:gd name="connsiteX79" fmla="*/ 802518 w 868197"/>
                  <a:gd name="connsiteY79" fmla="*/ 541459 h 924466"/>
                  <a:gd name="connsiteX80" fmla="*/ 788969 w 868197"/>
                  <a:gd name="connsiteY80" fmla="*/ 530619 h 924466"/>
                  <a:gd name="connsiteX81" fmla="*/ 523392 w 868197"/>
                  <a:gd name="connsiteY81" fmla="*/ 69925 h 924466"/>
                  <a:gd name="connsiteX82" fmla="*/ 520682 w 868197"/>
                  <a:gd name="connsiteY82" fmla="*/ 52762 h 924466"/>
                  <a:gd name="connsiteX83" fmla="*/ 531522 w 868197"/>
                  <a:gd name="connsiteY83" fmla="*/ 39212 h 924466"/>
                  <a:gd name="connsiteX84" fmla="*/ 543265 w 868197"/>
                  <a:gd name="connsiteY84" fmla="*/ 36502 h 924466"/>
                  <a:gd name="connsiteX85" fmla="*/ 549588 w 868197"/>
                  <a:gd name="connsiteY85" fmla="*/ 37405 h 924466"/>
                  <a:gd name="connsiteX86" fmla="*/ 563138 w 868197"/>
                  <a:gd name="connsiteY86" fmla="*/ 48245 h 924466"/>
                  <a:gd name="connsiteX87" fmla="*/ 828715 w 868197"/>
                  <a:gd name="connsiteY87" fmla="*/ 508939 h 924466"/>
                  <a:gd name="connsiteX88" fmla="*/ 830521 w 868197"/>
                  <a:gd name="connsiteY88" fmla="*/ 525199 h 9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68197" h="924466">
                    <a:moveTo>
                      <a:pt x="859428" y="489969"/>
                    </a:moveTo>
                    <a:lnTo>
                      <a:pt x="762772" y="322855"/>
                    </a:lnTo>
                    <a:lnTo>
                      <a:pt x="770902" y="318338"/>
                    </a:lnTo>
                    <a:cubicBezTo>
                      <a:pt x="788065" y="308402"/>
                      <a:pt x="799808" y="293045"/>
                      <a:pt x="805228" y="274075"/>
                    </a:cubicBezTo>
                    <a:cubicBezTo>
                      <a:pt x="810648" y="255106"/>
                      <a:pt x="807938" y="236136"/>
                      <a:pt x="798002" y="218973"/>
                    </a:cubicBezTo>
                    <a:cubicBezTo>
                      <a:pt x="778129" y="184647"/>
                      <a:pt x="732963" y="172000"/>
                      <a:pt x="698636" y="192776"/>
                    </a:cubicBezTo>
                    <a:lnTo>
                      <a:pt x="690507" y="197293"/>
                    </a:lnTo>
                    <a:lnTo>
                      <a:pt x="593851" y="29275"/>
                    </a:lnTo>
                    <a:cubicBezTo>
                      <a:pt x="585721" y="15726"/>
                      <a:pt x="573075" y="5789"/>
                      <a:pt x="557718" y="2176"/>
                    </a:cubicBezTo>
                    <a:cubicBezTo>
                      <a:pt x="542362" y="-2341"/>
                      <a:pt x="527005" y="369"/>
                      <a:pt x="512552" y="8499"/>
                    </a:cubicBezTo>
                    <a:cubicBezTo>
                      <a:pt x="498099" y="16629"/>
                      <a:pt x="489066" y="29275"/>
                      <a:pt x="485452" y="44632"/>
                    </a:cubicBezTo>
                    <a:cubicBezTo>
                      <a:pt x="482742" y="55472"/>
                      <a:pt x="482742" y="65408"/>
                      <a:pt x="485452" y="76248"/>
                    </a:cubicBezTo>
                    <a:lnTo>
                      <a:pt x="393314" y="178324"/>
                    </a:lnTo>
                    <a:cubicBezTo>
                      <a:pt x="386990" y="185550"/>
                      <a:pt x="386990" y="197293"/>
                      <a:pt x="395120" y="203616"/>
                    </a:cubicBezTo>
                    <a:cubicBezTo>
                      <a:pt x="402347" y="209940"/>
                      <a:pt x="414090" y="209940"/>
                      <a:pt x="420413" y="201810"/>
                    </a:cubicBezTo>
                    <a:lnTo>
                      <a:pt x="503519" y="107865"/>
                    </a:lnTo>
                    <a:lnTo>
                      <a:pt x="745609" y="527005"/>
                    </a:lnTo>
                    <a:lnTo>
                      <a:pt x="340921" y="613725"/>
                    </a:lnTo>
                    <a:lnTo>
                      <a:pt x="228006" y="417704"/>
                    </a:lnTo>
                    <a:lnTo>
                      <a:pt x="312015" y="322855"/>
                    </a:lnTo>
                    <a:cubicBezTo>
                      <a:pt x="318338" y="315628"/>
                      <a:pt x="318338" y="303885"/>
                      <a:pt x="310208" y="297562"/>
                    </a:cubicBezTo>
                    <a:cubicBezTo>
                      <a:pt x="302982" y="291239"/>
                      <a:pt x="291238" y="291239"/>
                      <a:pt x="284915" y="299369"/>
                    </a:cubicBezTo>
                    <a:lnTo>
                      <a:pt x="193680" y="401444"/>
                    </a:lnTo>
                    <a:lnTo>
                      <a:pt x="42825" y="489066"/>
                    </a:lnTo>
                    <a:cubicBezTo>
                      <a:pt x="22952" y="500809"/>
                      <a:pt x="8499" y="518876"/>
                      <a:pt x="3079" y="541459"/>
                    </a:cubicBezTo>
                    <a:cubicBezTo>
                      <a:pt x="-3245" y="564042"/>
                      <a:pt x="369" y="586625"/>
                      <a:pt x="12112" y="606498"/>
                    </a:cubicBezTo>
                    <a:lnTo>
                      <a:pt x="69925" y="706767"/>
                    </a:lnTo>
                    <a:cubicBezTo>
                      <a:pt x="86184" y="734769"/>
                      <a:pt x="115091" y="750126"/>
                      <a:pt x="144900" y="750126"/>
                    </a:cubicBezTo>
                    <a:cubicBezTo>
                      <a:pt x="159353" y="750126"/>
                      <a:pt x="174710" y="746513"/>
                      <a:pt x="188260" y="738383"/>
                    </a:cubicBezTo>
                    <a:lnTo>
                      <a:pt x="231619" y="713993"/>
                    </a:lnTo>
                    <a:lnTo>
                      <a:pt x="420413" y="902787"/>
                    </a:lnTo>
                    <a:cubicBezTo>
                      <a:pt x="434866" y="917240"/>
                      <a:pt x="452933" y="924467"/>
                      <a:pt x="471903" y="924467"/>
                    </a:cubicBezTo>
                    <a:cubicBezTo>
                      <a:pt x="484549" y="924467"/>
                      <a:pt x="497196" y="920854"/>
                      <a:pt x="508036" y="914531"/>
                    </a:cubicBezTo>
                    <a:cubicBezTo>
                      <a:pt x="527909" y="902787"/>
                      <a:pt x="540555" y="883817"/>
                      <a:pt x="544168" y="860331"/>
                    </a:cubicBezTo>
                    <a:cubicBezTo>
                      <a:pt x="546878" y="837748"/>
                      <a:pt x="539652" y="815165"/>
                      <a:pt x="523392" y="798905"/>
                    </a:cubicBezTo>
                    <a:lnTo>
                      <a:pt x="458353" y="733866"/>
                    </a:lnTo>
                    <a:lnTo>
                      <a:pt x="476419" y="723930"/>
                    </a:lnTo>
                    <a:cubicBezTo>
                      <a:pt x="489969" y="715800"/>
                      <a:pt x="499002" y="702250"/>
                      <a:pt x="500809" y="686893"/>
                    </a:cubicBezTo>
                    <a:cubicBezTo>
                      <a:pt x="502616" y="671537"/>
                      <a:pt x="497196" y="656181"/>
                      <a:pt x="485452" y="645341"/>
                    </a:cubicBezTo>
                    <a:lnTo>
                      <a:pt x="463773" y="625468"/>
                    </a:lnTo>
                    <a:lnTo>
                      <a:pt x="768192" y="560428"/>
                    </a:lnTo>
                    <a:cubicBezTo>
                      <a:pt x="775419" y="567655"/>
                      <a:pt x="784452" y="573075"/>
                      <a:pt x="795292" y="575785"/>
                    </a:cubicBezTo>
                    <a:cubicBezTo>
                      <a:pt x="800712" y="577592"/>
                      <a:pt x="805228" y="577592"/>
                      <a:pt x="810648" y="577592"/>
                    </a:cubicBezTo>
                    <a:cubicBezTo>
                      <a:pt x="820585" y="577592"/>
                      <a:pt x="830521" y="574882"/>
                      <a:pt x="840458" y="569462"/>
                    </a:cubicBezTo>
                    <a:cubicBezTo>
                      <a:pt x="854008" y="561332"/>
                      <a:pt x="863944" y="548685"/>
                      <a:pt x="867557" y="533329"/>
                    </a:cubicBezTo>
                    <a:cubicBezTo>
                      <a:pt x="869364" y="518876"/>
                      <a:pt x="867557" y="503519"/>
                      <a:pt x="859428" y="489969"/>
                    </a:cubicBezTo>
                    <a:lnTo>
                      <a:pt x="859428" y="489969"/>
                    </a:lnTo>
                    <a:close/>
                    <a:moveTo>
                      <a:pt x="707670" y="228006"/>
                    </a:moveTo>
                    <a:lnTo>
                      <a:pt x="715799" y="223490"/>
                    </a:lnTo>
                    <a:cubicBezTo>
                      <a:pt x="732963" y="213553"/>
                      <a:pt x="755546" y="218973"/>
                      <a:pt x="765482" y="237039"/>
                    </a:cubicBezTo>
                    <a:cubicBezTo>
                      <a:pt x="775419" y="254203"/>
                      <a:pt x="769999" y="276786"/>
                      <a:pt x="751932" y="286722"/>
                    </a:cubicBezTo>
                    <a:lnTo>
                      <a:pt x="743802" y="291239"/>
                    </a:lnTo>
                    <a:lnTo>
                      <a:pt x="707670" y="228909"/>
                    </a:lnTo>
                    <a:lnTo>
                      <a:pt x="707670" y="228006"/>
                    </a:lnTo>
                    <a:close/>
                    <a:moveTo>
                      <a:pt x="169290" y="708573"/>
                    </a:moveTo>
                    <a:cubicBezTo>
                      <a:pt x="145804" y="722123"/>
                      <a:pt x="115091" y="713993"/>
                      <a:pt x="100637" y="690507"/>
                    </a:cubicBezTo>
                    <a:lnTo>
                      <a:pt x="42825" y="590238"/>
                    </a:lnTo>
                    <a:cubicBezTo>
                      <a:pt x="36502" y="578495"/>
                      <a:pt x="34695" y="564945"/>
                      <a:pt x="37405" y="552299"/>
                    </a:cubicBezTo>
                    <a:cubicBezTo>
                      <a:pt x="40115" y="539652"/>
                      <a:pt x="49148" y="528812"/>
                      <a:pt x="60891" y="521586"/>
                    </a:cubicBezTo>
                    <a:lnTo>
                      <a:pt x="199100" y="442093"/>
                    </a:lnTo>
                    <a:lnTo>
                      <a:pt x="307498" y="629081"/>
                    </a:lnTo>
                    <a:lnTo>
                      <a:pt x="169290" y="708573"/>
                    </a:lnTo>
                    <a:close/>
                    <a:moveTo>
                      <a:pt x="507132" y="856718"/>
                    </a:moveTo>
                    <a:cubicBezTo>
                      <a:pt x="505326" y="868461"/>
                      <a:pt x="499002" y="878398"/>
                      <a:pt x="489066" y="883817"/>
                    </a:cubicBezTo>
                    <a:cubicBezTo>
                      <a:pt x="474613" y="891947"/>
                      <a:pt x="456546" y="890141"/>
                      <a:pt x="444803" y="877495"/>
                    </a:cubicBezTo>
                    <a:lnTo>
                      <a:pt x="263235" y="695927"/>
                    </a:lnTo>
                    <a:lnTo>
                      <a:pt x="329178" y="657987"/>
                    </a:lnTo>
                    <a:lnTo>
                      <a:pt x="497196" y="826005"/>
                    </a:lnTo>
                    <a:cubicBezTo>
                      <a:pt x="504422" y="833232"/>
                      <a:pt x="508939" y="844975"/>
                      <a:pt x="507132" y="856718"/>
                    </a:cubicBezTo>
                    <a:lnTo>
                      <a:pt x="507132" y="856718"/>
                    </a:lnTo>
                    <a:close/>
                    <a:moveTo>
                      <a:pt x="459256" y="672440"/>
                    </a:moveTo>
                    <a:cubicBezTo>
                      <a:pt x="461966" y="675150"/>
                      <a:pt x="463773" y="678764"/>
                      <a:pt x="462869" y="683280"/>
                    </a:cubicBezTo>
                    <a:cubicBezTo>
                      <a:pt x="461966" y="687797"/>
                      <a:pt x="460159" y="690507"/>
                      <a:pt x="456546" y="693217"/>
                    </a:cubicBezTo>
                    <a:lnTo>
                      <a:pt x="430350" y="708573"/>
                    </a:lnTo>
                    <a:lnTo>
                      <a:pt x="368021" y="646244"/>
                    </a:lnTo>
                    <a:lnTo>
                      <a:pt x="418607" y="635404"/>
                    </a:lnTo>
                    <a:lnTo>
                      <a:pt x="459256" y="672440"/>
                    </a:lnTo>
                    <a:close/>
                    <a:moveTo>
                      <a:pt x="830521" y="525199"/>
                    </a:moveTo>
                    <a:cubicBezTo>
                      <a:pt x="828715" y="531522"/>
                      <a:pt x="825101" y="536039"/>
                      <a:pt x="819681" y="538749"/>
                    </a:cubicBezTo>
                    <a:cubicBezTo>
                      <a:pt x="814261" y="541459"/>
                      <a:pt x="807938" y="542362"/>
                      <a:pt x="802518" y="541459"/>
                    </a:cubicBezTo>
                    <a:cubicBezTo>
                      <a:pt x="796195" y="539652"/>
                      <a:pt x="791678" y="536039"/>
                      <a:pt x="788969" y="530619"/>
                    </a:cubicBezTo>
                    <a:lnTo>
                      <a:pt x="523392" y="69925"/>
                    </a:lnTo>
                    <a:cubicBezTo>
                      <a:pt x="520682" y="64505"/>
                      <a:pt x="519779" y="58182"/>
                      <a:pt x="520682" y="52762"/>
                    </a:cubicBezTo>
                    <a:cubicBezTo>
                      <a:pt x="522489" y="46439"/>
                      <a:pt x="526102" y="41922"/>
                      <a:pt x="531522" y="39212"/>
                    </a:cubicBezTo>
                    <a:cubicBezTo>
                      <a:pt x="535135" y="37405"/>
                      <a:pt x="538748" y="36502"/>
                      <a:pt x="543265" y="36502"/>
                    </a:cubicBezTo>
                    <a:cubicBezTo>
                      <a:pt x="545072" y="36502"/>
                      <a:pt x="546878" y="36502"/>
                      <a:pt x="549588" y="37405"/>
                    </a:cubicBezTo>
                    <a:cubicBezTo>
                      <a:pt x="555912" y="39212"/>
                      <a:pt x="560428" y="42825"/>
                      <a:pt x="563138" y="48245"/>
                    </a:cubicBezTo>
                    <a:lnTo>
                      <a:pt x="828715" y="508939"/>
                    </a:lnTo>
                    <a:cubicBezTo>
                      <a:pt x="831424" y="513456"/>
                      <a:pt x="832328" y="518876"/>
                      <a:pt x="830521" y="5251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5" name="Freeform 14">
                <a:extLst>
                  <a:ext uri="{FF2B5EF4-FFF2-40B4-BE49-F238E27FC236}">
                    <a16:creationId xmlns:a16="http://schemas.microsoft.com/office/drawing/2014/main" id="{F4BD0802-FB2C-A76A-0D9A-79DCF7F25CDC}"/>
                  </a:ext>
                </a:extLst>
              </p:cNvPr>
              <p:cNvSpPr/>
              <p:nvPr/>
            </p:nvSpPr>
            <p:spPr>
              <a:xfrm>
                <a:off x="4253152" y="1007954"/>
                <a:ext cx="36132" cy="36132"/>
              </a:xfrm>
              <a:custGeom>
                <a:avLst/>
                <a:gdLst>
                  <a:gd name="connsiteX0" fmla="*/ 18066 w 36132"/>
                  <a:gd name="connsiteY0" fmla="*/ 36133 h 36132"/>
                  <a:gd name="connsiteX1" fmla="*/ 30713 w 36132"/>
                  <a:gd name="connsiteY1" fmla="*/ 30713 h 36132"/>
                  <a:gd name="connsiteX2" fmla="*/ 36133 w 36132"/>
                  <a:gd name="connsiteY2" fmla="*/ 18066 h 36132"/>
                  <a:gd name="connsiteX3" fmla="*/ 30713 w 36132"/>
                  <a:gd name="connsiteY3" fmla="*/ 5420 h 36132"/>
                  <a:gd name="connsiteX4" fmla="*/ 18066 w 36132"/>
                  <a:gd name="connsiteY4" fmla="*/ 0 h 36132"/>
                  <a:gd name="connsiteX5" fmla="*/ 5420 w 36132"/>
                  <a:gd name="connsiteY5" fmla="*/ 5420 h 36132"/>
                  <a:gd name="connsiteX6" fmla="*/ 0 w 36132"/>
                  <a:gd name="connsiteY6" fmla="*/ 18066 h 36132"/>
                  <a:gd name="connsiteX7" fmla="*/ 5420 w 36132"/>
                  <a:gd name="connsiteY7" fmla="*/ 30713 h 36132"/>
                  <a:gd name="connsiteX8" fmla="*/ 18066 w 36132"/>
                  <a:gd name="connsiteY8" fmla="*/ 36133 h 3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 h="36132">
                    <a:moveTo>
                      <a:pt x="18066" y="36133"/>
                    </a:moveTo>
                    <a:cubicBezTo>
                      <a:pt x="22583" y="36133"/>
                      <a:pt x="27100" y="34327"/>
                      <a:pt x="30713" y="30713"/>
                    </a:cubicBezTo>
                    <a:cubicBezTo>
                      <a:pt x="34326" y="27100"/>
                      <a:pt x="36133" y="22583"/>
                      <a:pt x="36133" y="18066"/>
                    </a:cubicBezTo>
                    <a:cubicBezTo>
                      <a:pt x="36133" y="13550"/>
                      <a:pt x="34326" y="9033"/>
                      <a:pt x="30713" y="5420"/>
                    </a:cubicBezTo>
                    <a:cubicBezTo>
                      <a:pt x="27100" y="1807"/>
                      <a:pt x="22583" y="0"/>
                      <a:pt x="18066" y="0"/>
                    </a:cubicBezTo>
                    <a:cubicBezTo>
                      <a:pt x="13550" y="0"/>
                      <a:pt x="9033" y="1807"/>
                      <a:pt x="5420" y="5420"/>
                    </a:cubicBezTo>
                    <a:cubicBezTo>
                      <a:pt x="1807" y="9033"/>
                      <a:pt x="0" y="13550"/>
                      <a:pt x="0" y="18066"/>
                    </a:cubicBezTo>
                    <a:cubicBezTo>
                      <a:pt x="0" y="22583"/>
                      <a:pt x="1807" y="27100"/>
                      <a:pt x="5420" y="30713"/>
                    </a:cubicBezTo>
                    <a:cubicBezTo>
                      <a:pt x="8130" y="34327"/>
                      <a:pt x="13550" y="36133"/>
                      <a:pt x="18066" y="3613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11" name="Graphic 2">
              <a:extLst>
                <a:ext uri="{FF2B5EF4-FFF2-40B4-BE49-F238E27FC236}">
                  <a16:creationId xmlns:a16="http://schemas.microsoft.com/office/drawing/2014/main" id="{B3A72D40-D0D7-2799-E1F0-A850040C23F6}"/>
                </a:ext>
              </a:extLst>
            </p:cNvPr>
            <p:cNvGrpSpPr/>
            <p:nvPr/>
          </p:nvGrpSpPr>
          <p:grpSpPr>
            <a:xfrm>
              <a:off x="3958353" y="890522"/>
              <a:ext cx="708520" cy="605461"/>
              <a:chOff x="3958353" y="890522"/>
              <a:chExt cx="708520" cy="605461"/>
            </a:xfrm>
            <a:grpFill/>
          </p:grpSpPr>
          <p:sp>
            <p:nvSpPr>
              <p:cNvPr id="12" name="Freeform 11">
                <a:extLst>
                  <a:ext uri="{FF2B5EF4-FFF2-40B4-BE49-F238E27FC236}">
                    <a16:creationId xmlns:a16="http://schemas.microsoft.com/office/drawing/2014/main" id="{4B1128B1-C83F-0B69-07F6-BC6B725A1BA0}"/>
                  </a:ext>
                </a:extLst>
              </p:cNvPr>
              <p:cNvSpPr/>
              <p:nvPr/>
            </p:nvSpPr>
            <p:spPr>
              <a:xfrm>
                <a:off x="4150173" y="890522"/>
                <a:ext cx="516699" cy="505860"/>
              </a:xfrm>
              <a:custGeom>
                <a:avLst/>
                <a:gdLst>
                  <a:gd name="connsiteX0" fmla="*/ 274610 w 516699"/>
                  <a:gd name="connsiteY0" fmla="*/ 0 h 505860"/>
                  <a:gd name="connsiteX1" fmla="*/ 516700 w 516699"/>
                  <a:gd name="connsiteY1" fmla="*/ 419141 h 505860"/>
                  <a:gd name="connsiteX2" fmla="*/ 112915 w 516699"/>
                  <a:gd name="connsiteY2" fmla="*/ 505860 h 505860"/>
                  <a:gd name="connsiteX3" fmla="*/ 0 w 516699"/>
                  <a:gd name="connsiteY3" fmla="*/ 309840 h 505860"/>
                </a:gdLst>
                <a:ahLst/>
                <a:cxnLst>
                  <a:cxn ang="0">
                    <a:pos x="connsiteX0" y="connsiteY0"/>
                  </a:cxn>
                  <a:cxn ang="0">
                    <a:pos x="connsiteX1" y="connsiteY1"/>
                  </a:cxn>
                  <a:cxn ang="0">
                    <a:pos x="connsiteX2" y="connsiteY2"/>
                  </a:cxn>
                  <a:cxn ang="0">
                    <a:pos x="connsiteX3" y="connsiteY3"/>
                  </a:cxn>
                </a:cxnLst>
                <a:rect l="l" t="t" r="r" b="b"/>
                <a:pathLst>
                  <a:path w="516698" h="505859">
                    <a:moveTo>
                      <a:pt x="274610" y="0"/>
                    </a:moveTo>
                    <a:lnTo>
                      <a:pt x="516700" y="419141"/>
                    </a:lnTo>
                    <a:lnTo>
                      <a:pt x="112915" y="505860"/>
                    </a:lnTo>
                    <a:lnTo>
                      <a:pt x="0" y="309840"/>
                    </a:lnTo>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3" name="Freeform 12">
                <a:extLst>
                  <a:ext uri="{FF2B5EF4-FFF2-40B4-BE49-F238E27FC236}">
                    <a16:creationId xmlns:a16="http://schemas.microsoft.com/office/drawing/2014/main" id="{D20AC160-747D-6F94-AF72-FD7C718A41A8}"/>
                  </a:ext>
                </a:extLst>
              </p:cNvPr>
              <p:cNvSpPr/>
              <p:nvPr/>
            </p:nvSpPr>
            <p:spPr>
              <a:xfrm>
                <a:off x="3958353" y="1222945"/>
                <a:ext cx="271312" cy="273038"/>
              </a:xfrm>
              <a:custGeom>
                <a:avLst/>
                <a:gdLst>
                  <a:gd name="connsiteX0" fmla="*/ 133104 w 271312"/>
                  <a:gd name="connsiteY0" fmla="*/ 266480 h 273038"/>
                  <a:gd name="connsiteX1" fmla="*/ 64452 w 271312"/>
                  <a:gd name="connsiteY1" fmla="*/ 248413 h 273038"/>
                  <a:gd name="connsiteX2" fmla="*/ 6639 w 271312"/>
                  <a:gd name="connsiteY2" fmla="*/ 148144 h 273038"/>
                  <a:gd name="connsiteX3" fmla="*/ 1220 w 271312"/>
                  <a:gd name="connsiteY3" fmla="*/ 110205 h 273038"/>
                  <a:gd name="connsiteX4" fmla="*/ 24706 w 271312"/>
                  <a:gd name="connsiteY4" fmla="*/ 79492 h 273038"/>
                  <a:gd name="connsiteX5" fmla="*/ 162914 w 271312"/>
                  <a:gd name="connsiteY5" fmla="*/ 0 h 273038"/>
                  <a:gd name="connsiteX6" fmla="*/ 271313 w 271312"/>
                  <a:gd name="connsiteY6" fmla="*/ 186987 h 273038"/>
                  <a:gd name="connsiteX7" fmla="*/ 133104 w 271312"/>
                  <a:gd name="connsiteY7" fmla="*/ 266480 h 27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312" h="273038">
                    <a:moveTo>
                      <a:pt x="133104" y="266480"/>
                    </a:moveTo>
                    <a:cubicBezTo>
                      <a:pt x="109618" y="280030"/>
                      <a:pt x="78905" y="271900"/>
                      <a:pt x="64452" y="248413"/>
                    </a:cubicBezTo>
                    <a:lnTo>
                      <a:pt x="6639" y="148144"/>
                    </a:lnTo>
                    <a:cubicBezTo>
                      <a:pt x="316" y="136401"/>
                      <a:pt x="-1490" y="122852"/>
                      <a:pt x="1220" y="110205"/>
                    </a:cubicBezTo>
                    <a:cubicBezTo>
                      <a:pt x="4833" y="97559"/>
                      <a:pt x="12963" y="86719"/>
                      <a:pt x="24706" y="79492"/>
                    </a:cubicBezTo>
                    <a:lnTo>
                      <a:pt x="162914" y="0"/>
                    </a:lnTo>
                    <a:lnTo>
                      <a:pt x="271313" y="186987"/>
                    </a:lnTo>
                    <a:lnTo>
                      <a:pt x="133104" y="266480"/>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16" name="Group 15">
            <a:extLst>
              <a:ext uri="{FF2B5EF4-FFF2-40B4-BE49-F238E27FC236}">
                <a16:creationId xmlns:a16="http://schemas.microsoft.com/office/drawing/2014/main" id="{7AD25DAB-836E-43AC-EAA5-4F0179FEEF59}"/>
              </a:ext>
            </a:extLst>
          </p:cNvPr>
          <p:cNvGrpSpPr/>
          <p:nvPr/>
        </p:nvGrpSpPr>
        <p:grpSpPr>
          <a:xfrm>
            <a:off x="4705476" y="3721748"/>
            <a:ext cx="885534" cy="895928"/>
            <a:chOff x="7190753" y="5365577"/>
            <a:chExt cx="745522" cy="754273"/>
          </a:xfrm>
          <a:solidFill>
            <a:srgbClr val="595959"/>
          </a:solidFill>
        </p:grpSpPr>
        <p:grpSp>
          <p:nvGrpSpPr>
            <p:cNvPr id="17" name="Graphic 2">
              <a:extLst>
                <a:ext uri="{FF2B5EF4-FFF2-40B4-BE49-F238E27FC236}">
                  <a16:creationId xmlns:a16="http://schemas.microsoft.com/office/drawing/2014/main" id="{F43ABC08-1F16-3DAB-9EFF-FB44DAE19CD9}"/>
                </a:ext>
              </a:extLst>
            </p:cNvPr>
            <p:cNvGrpSpPr/>
            <p:nvPr/>
          </p:nvGrpSpPr>
          <p:grpSpPr>
            <a:xfrm>
              <a:off x="7353351" y="5647412"/>
              <a:ext cx="420044" cy="75879"/>
              <a:chOff x="7353351" y="5647412"/>
              <a:chExt cx="420044" cy="75879"/>
            </a:xfrm>
            <a:grpFill/>
          </p:grpSpPr>
          <p:sp>
            <p:nvSpPr>
              <p:cNvPr id="28" name="Freeform 27">
                <a:extLst>
                  <a:ext uri="{FF2B5EF4-FFF2-40B4-BE49-F238E27FC236}">
                    <a16:creationId xmlns:a16="http://schemas.microsoft.com/office/drawing/2014/main" id="{FD7E2E19-270F-1D25-5020-FEA8D46000B1}"/>
                  </a:ext>
                </a:extLst>
              </p:cNvPr>
              <p:cNvSpPr/>
              <p:nvPr/>
            </p:nvSpPr>
            <p:spPr>
              <a:xfrm>
                <a:off x="7353351" y="5649220"/>
                <a:ext cx="131884" cy="74071"/>
              </a:xfrm>
              <a:custGeom>
                <a:avLst/>
                <a:gdLst>
                  <a:gd name="connsiteX0" fmla="*/ 123755 w 131884"/>
                  <a:gd name="connsiteY0" fmla="*/ 23486 h 74071"/>
                  <a:gd name="connsiteX1" fmla="*/ 60523 w 131884"/>
                  <a:gd name="connsiteY1" fmla="*/ 74072 h 74071"/>
                  <a:gd name="connsiteX2" fmla="*/ 0 w 131884"/>
                  <a:gd name="connsiteY2" fmla="*/ 74072 h 74071"/>
                  <a:gd name="connsiteX3" fmla="*/ 0 w 131884"/>
                  <a:gd name="connsiteY3" fmla="*/ 63233 h 74071"/>
                  <a:gd name="connsiteX4" fmla="*/ 31616 w 131884"/>
                  <a:gd name="connsiteY4" fmla="*/ 27100 h 74071"/>
                  <a:gd name="connsiteX5" fmla="*/ 68652 w 131884"/>
                  <a:gd name="connsiteY5" fmla="*/ 18970 h 74071"/>
                  <a:gd name="connsiteX6" fmla="*/ 80396 w 131884"/>
                  <a:gd name="connsiteY6" fmla="*/ 5420 h 74071"/>
                  <a:gd name="connsiteX7" fmla="*/ 80396 w 131884"/>
                  <a:gd name="connsiteY7" fmla="*/ 0 h 74071"/>
                  <a:gd name="connsiteX8" fmla="*/ 89429 w 131884"/>
                  <a:gd name="connsiteY8" fmla="*/ 0 h 74071"/>
                  <a:gd name="connsiteX9" fmla="*/ 98462 w 131884"/>
                  <a:gd name="connsiteY9" fmla="*/ 0 h 74071"/>
                  <a:gd name="connsiteX10" fmla="*/ 98462 w 131884"/>
                  <a:gd name="connsiteY10" fmla="*/ 2709 h 74071"/>
                  <a:gd name="connsiteX11" fmla="*/ 103882 w 131884"/>
                  <a:gd name="connsiteY11" fmla="*/ 13550 h 74071"/>
                  <a:gd name="connsiteX12" fmla="*/ 109302 w 131884"/>
                  <a:gd name="connsiteY12" fmla="*/ 16259 h 74071"/>
                  <a:gd name="connsiteX13" fmla="*/ 131885 w 131884"/>
                  <a:gd name="connsiteY13" fmla="*/ 21680 h 74071"/>
                  <a:gd name="connsiteX14" fmla="*/ 123755 w 131884"/>
                  <a:gd name="connsiteY14" fmla="*/ 23486 h 7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884" h="74071">
                    <a:moveTo>
                      <a:pt x="123755" y="23486"/>
                    </a:moveTo>
                    <a:cubicBezTo>
                      <a:pt x="94849" y="28906"/>
                      <a:pt x="72266" y="48780"/>
                      <a:pt x="60523" y="74072"/>
                    </a:cubicBezTo>
                    <a:lnTo>
                      <a:pt x="0" y="74072"/>
                    </a:lnTo>
                    <a:lnTo>
                      <a:pt x="0" y="63233"/>
                    </a:lnTo>
                    <a:cubicBezTo>
                      <a:pt x="0" y="46069"/>
                      <a:pt x="11743" y="29809"/>
                      <a:pt x="31616" y="27100"/>
                    </a:cubicBezTo>
                    <a:lnTo>
                      <a:pt x="68652" y="18970"/>
                    </a:lnTo>
                    <a:cubicBezTo>
                      <a:pt x="74072" y="16259"/>
                      <a:pt x="80396" y="10839"/>
                      <a:pt x="80396" y="5420"/>
                    </a:cubicBezTo>
                    <a:lnTo>
                      <a:pt x="80396" y="0"/>
                    </a:lnTo>
                    <a:cubicBezTo>
                      <a:pt x="83106" y="0"/>
                      <a:pt x="85816" y="0"/>
                      <a:pt x="89429" y="0"/>
                    </a:cubicBezTo>
                    <a:cubicBezTo>
                      <a:pt x="93042" y="0"/>
                      <a:pt x="94849" y="0"/>
                      <a:pt x="98462" y="0"/>
                    </a:cubicBezTo>
                    <a:lnTo>
                      <a:pt x="98462" y="2709"/>
                    </a:lnTo>
                    <a:cubicBezTo>
                      <a:pt x="98462" y="8130"/>
                      <a:pt x="101172" y="10839"/>
                      <a:pt x="103882" y="13550"/>
                    </a:cubicBezTo>
                    <a:cubicBezTo>
                      <a:pt x="106592" y="13550"/>
                      <a:pt x="106592" y="16259"/>
                      <a:pt x="109302" y="16259"/>
                    </a:cubicBezTo>
                    <a:lnTo>
                      <a:pt x="131885" y="21680"/>
                    </a:lnTo>
                    <a:lnTo>
                      <a:pt x="123755" y="2348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9" name="Freeform 28">
                <a:extLst>
                  <a:ext uri="{FF2B5EF4-FFF2-40B4-BE49-F238E27FC236}">
                    <a16:creationId xmlns:a16="http://schemas.microsoft.com/office/drawing/2014/main" id="{082735AE-ADE4-3A3C-374F-27856751B705}"/>
                  </a:ext>
                </a:extLst>
              </p:cNvPr>
              <p:cNvSpPr/>
              <p:nvPr/>
            </p:nvSpPr>
            <p:spPr>
              <a:xfrm>
                <a:off x="7640607" y="5647412"/>
                <a:ext cx="132788" cy="75879"/>
              </a:xfrm>
              <a:custGeom>
                <a:avLst/>
                <a:gdLst>
                  <a:gd name="connsiteX0" fmla="*/ 132788 w 132788"/>
                  <a:gd name="connsiteY0" fmla="*/ 75879 h 75879"/>
                  <a:gd name="connsiteX1" fmla="*/ 72266 w 132788"/>
                  <a:gd name="connsiteY1" fmla="*/ 75879 h 75879"/>
                  <a:gd name="connsiteX2" fmla="*/ 9033 w 132788"/>
                  <a:gd name="connsiteY2" fmla="*/ 27100 h 75879"/>
                  <a:gd name="connsiteX3" fmla="*/ 0 w 132788"/>
                  <a:gd name="connsiteY3" fmla="*/ 24390 h 75879"/>
                  <a:gd name="connsiteX4" fmla="*/ 22583 w 132788"/>
                  <a:gd name="connsiteY4" fmla="*/ 18971 h 75879"/>
                  <a:gd name="connsiteX5" fmla="*/ 28003 w 132788"/>
                  <a:gd name="connsiteY5" fmla="*/ 16260 h 75879"/>
                  <a:gd name="connsiteX6" fmla="*/ 33423 w 132788"/>
                  <a:gd name="connsiteY6" fmla="*/ 5421 h 75879"/>
                  <a:gd name="connsiteX7" fmla="*/ 33423 w 132788"/>
                  <a:gd name="connsiteY7" fmla="*/ 0 h 75879"/>
                  <a:gd name="connsiteX8" fmla="*/ 42456 w 132788"/>
                  <a:gd name="connsiteY8" fmla="*/ 0 h 75879"/>
                  <a:gd name="connsiteX9" fmla="*/ 51489 w 132788"/>
                  <a:gd name="connsiteY9" fmla="*/ 0 h 75879"/>
                  <a:gd name="connsiteX10" fmla="*/ 51489 w 132788"/>
                  <a:gd name="connsiteY10" fmla="*/ 5421 h 75879"/>
                  <a:gd name="connsiteX11" fmla="*/ 63233 w 132788"/>
                  <a:gd name="connsiteY11" fmla="*/ 18971 h 75879"/>
                  <a:gd name="connsiteX12" fmla="*/ 100269 w 132788"/>
                  <a:gd name="connsiteY12" fmla="*/ 27100 h 75879"/>
                  <a:gd name="connsiteX13" fmla="*/ 131885 w 132788"/>
                  <a:gd name="connsiteY13" fmla="*/ 62329 h 75879"/>
                  <a:gd name="connsiteX14" fmla="*/ 131885 w 132788"/>
                  <a:gd name="connsiteY14" fmla="*/ 75879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788" h="75879">
                    <a:moveTo>
                      <a:pt x="132788" y="75879"/>
                    </a:moveTo>
                    <a:lnTo>
                      <a:pt x="72266" y="75879"/>
                    </a:lnTo>
                    <a:cubicBezTo>
                      <a:pt x="60523" y="51490"/>
                      <a:pt x="37940" y="32520"/>
                      <a:pt x="9033" y="27100"/>
                    </a:cubicBezTo>
                    <a:lnTo>
                      <a:pt x="0" y="24390"/>
                    </a:lnTo>
                    <a:lnTo>
                      <a:pt x="22583" y="18971"/>
                    </a:lnTo>
                    <a:cubicBezTo>
                      <a:pt x="25293" y="18971"/>
                      <a:pt x="25293" y="18971"/>
                      <a:pt x="28003" y="16260"/>
                    </a:cubicBezTo>
                    <a:cubicBezTo>
                      <a:pt x="33423" y="13550"/>
                      <a:pt x="33423" y="8130"/>
                      <a:pt x="33423" y="5421"/>
                    </a:cubicBezTo>
                    <a:lnTo>
                      <a:pt x="33423" y="0"/>
                    </a:lnTo>
                    <a:cubicBezTo>
                      <a:pt x="36133" y="0"/>
                      <a:pt x="38843" y="0"/>
                      <a:pt x="42456" y="0"/>
                    </a:cubicBezTo>
                    <a:cubicBezTo>
                      <a:pt x="45166" y="0"/>
                      <a:pt x="47876" y="0"/>
                      <a:pt x="51489" y="0"/>
                    </a:cubicBezTo>
                    <a:lnTo>
                      <a:pt x="51489" y="5421"/>
                    </a:lnTo>
                    <a:cubicBezTo>
                      <a:pt x="51489" y="10841"/>
                      <a:pt x="56909" y="16260"/>
                      <a:pt x="63233" y="18971"/>
                    </a:cubicBezTo>
                    <a:lnTo>
                      <a:pt x="100269" y="27100"/>
                    </a:lnTo>
                    <a:cubicBezTo>
                      <a:pt x="117432" y="29810"/>
                      <a:pt x="131885" y="46070"/>
                      <a:pt x="131885" y="62329"/>
                    </a:cubicBezTo>
                    <a:lnTo>
                      <a:pt x="131885" y="75879"/>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18" name="Graphic 2">
              <a:extLst>
                <a:ext uri="{FF2B5EF4-FFF2-40B4-BE49-F238E27FC236}">
                  <a16:creationId xmlns:a16="http://schemas.microsoft.com/office/drawing/2014/main" id="{E327CCE1-C30F-E836-9526-F9F37F9E6266}"/>
                </a:ext>
              </a:extLst>
            </p:cNvPr>
            <p:cNvGrpSpPr/>
            <p:nvPr/>
          </p:nvGrpSpPr>
          <p:grpSpPr>
            <a:xfrm>
              <a:off x="7190753" y="5365577"/>
              <a:ext cx="745522" cy="754273"/>
              <a:chOff x="7190753" y="5365577"/>
              <a:chExt cx="745522" cy="754273"/>
            </a:xfrm>
            <a:grpFill/>
          </p:grpSpPr>
          <p:sp>
            <p:nvSpPr>
              <p:cNvPr id="19" name="Freeform 18">
                <a:extLst>
                  <a:ext uri="{FF2B5EF4-FFF2-40B4-BE49-F238E27FC236}">
                    <a16:creationId xmlns:a16="http://schemas.microsoft.com/office/drawing/2014/main" id="{E908A2EC-B378-0536-F9E5-201A76264CD2}"/>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7">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0" name="Freeform 19">
                <a:extLst>
                  <a:ext uri="{FF2B5EF4-FFF2-40B4-BE49-F238E27FC236}">
                    <a16:creationId xmlns:a16="http://schemas.microsoft.com/office/drawing/2014/main" id="{BC30E396-FC85-EE06-BCE5-B163826AC530}"/>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1" name="Freeform 20">
                <a:extLst>
                  <a:ext uri="{FF2B5EF4-FFF2-40B4-BE49-F238E27FC236}">
                    <a16:creationId xmlns:a16="http://schemas.microsoft.com/office/drawing/2014/main" id="{3250DFAC-F9A2-0F0C-C9E3-7A163D586198}"/>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1">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2" name="Freeform 21">
                <a:extLst>
                  <a:ext uri="{FF2B5EF4-FFF2-40B4-BE49-F238E27FC236}">
                    <a16:creationId xmlns:a16="http://schemas.microsoft.com/office/drawing/2014/main" id="{B2912BBA-1F52-0DF6-8DB6-D02E5F42E169}"/>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3" name="Freeform 22">
                <a:extLst>
                  <a:ext uri="{FF2B5EF4-FFF2-40B4-BE49-F238E27FC236}">
                    <a16:creationId xmlns:a16="http://schemas.microsoft.com/office/drawing/2014/main" id="{FB0347CB-9C49-E5D1-A19D-F7F3774D9E71}"/>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4" name="Freeform 23">
                <a:extLst>
                  <a:ext uri="{FF2B5EF4-FFF2-40B4-BE49-F238E27FC236}">
                    <a16:creationId xmlns:a16="http://schemas.microsoft.com/office/drawing/2014/main" id="{F2AB7536-EB04-0582-607A-BFD6714715E4}"/>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5" name="Freeform 24">
                <a:extLst>
                  <a:ext uri="{FF2B5EF4-FFF2-40B4-BE49-F238E27FC236}">
                    <a16:creationId xmlns:a16="http://schemas.microsoft.com/office/drawing/2014/main" id="{1B9EBD4F-57D1-D650-7BB6-B1C8D30C25B8}"/>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6" name="Freeform 25">
                <a:extLst>
                  <a:ext uri="{FF2B5EF4-FFF2-40B4-BE49-F238E27FC236}">
                    <a16:creationId xmlns:a16="http://schemas.microsoft.com/office/drawing/2014/main" id="{541D7A9B-434B-D2F3-6CBF-74B17D81F5DA}"/>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27" name="Freeform 26">
                <a:extLst>
                  <a:ext uri="{FF2B5EF4-FFF2-40B4-BE49-F238E27FC236}">
                    <a16:creationId xmlns:a16="http://schemas.microsoft.com/office/drawing/2014/main" id="{85D29300-FFB1-651D-76E7-67DDFD5FC044}"/>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30" name="Group 29">
            <a:extLst>
              <a:ext uri="{FF2B5EF4-FFF2-40B4-BE49-F238E27FC236}">
                <a16:creationId xmlns:a16="http://schemas.microsoft.com/office/drawing/2014/main" id="{F0FE1B05-3855-8C18-61BC-529127DE17EE}"/>
              </a:ext>
            </a:extLst>
          </p:cNvPr>
          <p:cNvGrpSpPr/>
          <p:nvPr/>
        </p:nvGrpSpPr>
        <p:grpSpPr>
          <a:xfrm>
            <a:off x="4672100" y="5185589"/>
            <a:ext cx="912642" cy="1019345"/>
            <a:chOff x="8865150" y="2423597"/>
            <a:chExt cx="667915" cy="746005"/>
          </a:xfrm>
          <a:solidFill>
            <a:srgbClr val="595959"/>
          </a:solidFill>
        </p:grpSpPr>
        <p:sp>
          <p:nvSpPr>
            <p:cNvPr id="31" name="Freeform 30">
              <a:extLst>
                <a:ext uri="{FF2B5EF4-FFF2-40B4-BE49-F238E27FC236}">
                  <a16:creationId xmlns:a16="http://schemas.microsoft.com/office/drawing/2014/main" id="{500C7EA6-5BBA-F5E9-F861-EC3AE8C8E70B}"/>
                </a:ext>
              </a:extLst>
            </p:cNvPr>
            <p:cNvSpPr/>
            <p:nvPr/>
          </p:nvSpPr>
          <p:spPr>
            <a:xfrm>
              <a:off x="9086825" y="2589670"/>
              <a:ext cx="283642" cy="260156"/>
            </a:xfrm>
            <a:custGeom>
              <a:avLst/>
              <a:gdLst>
                <a:gd name="connsiteX0" fmla="*/ 68652 w 283642"/>
                <a:gd name="connsiteY0" fmla="*/ 84912 h 260156"/>
                <a:gd name="connsiteX1" fmla="*/ 141821 w 283642"/>
                <a:gd name="connsiteY1" fmla="*/ 2710 h 260156"/>
                <a:gd name="connsiteX2" fmla="*/ 214990 w 283642"/>
                <a:gd name="connsiteY2" fmla="*/ 84912 h 260156"/>
                <a:gd name="connsiteX3" fmla="*/ 68652 w 283642"/>
                <a:gd name="connsiteY3" fmla="*/ 84912 h 260156"/>
                <a:gd name="connsiteX4" fmla="*/ 221314 w 283642"/>
                <a:gd name="connsiteY4" fmla="*/ 110205 h 260156"/>
                <a:gd name="connsiteX5" fmla="*/ 140918 w 283642"/>
                <a:gd name="connsiteY5" fmla="*/ 260156 h 260156"/>
                <a:gd name="connsiteX6" fmla="*/ 60522 w 283642"/>
                <a:gd name="connsiteY6" fmla="*/ 110205 h 260156"/>
                <a:gd name="connsiteX7" fmla="*/ 221314 w 283642"/>
                <a:gd name="connsiteY7" fmla="*/ 110205 h 260156"/>
                <a:gd name="connsiteX8" fmla="*/ 53296 w 283642"/>
                <a:gd name="connsiteY8" fmla="*/ 64136 h 260156"/>
                <a:gd name="connsiteX9" fmla="*/ 53296 w 283642"/>
                <a:gd name="connsiteY9" fmla="*/ 7226 h 260156"/>
                <a:gd name="connsiteX10" fmla="*/ 110205 w 283642"/>
                <a:gd name="connsiteY10" fmla="*/ 0 h 260156"/>
                <a:gd name="connsiteX11" fmla="*/ 53296 w 283642"/>
                <a:gd name="connsiteY11" fmla="*/ 64136 h 260156"/>
                <a:gd name="connsiteX12" fmla="*/ 28003 w 283642"/>
                <a:gd name="connsiteY12" fmla="*/ 84912 h 260156"/>
                <a:gd name="connsiteX13" fmla="*/ 0 w 283642"/>
                <a:gd name="connsiteY13" fmla="*/ 84912 h 260156"/>
                <a:gd name="connsiteX14" fmla="*/ 28003 w 283642"/>
                <a:gd name="connsiteY14" fmla="*/ 40649 h 260156"/>
                <a:gd name="connsiteX15" fmla="*/ 28003 w 283642"/>
                <a:gd name="connsiteY15" fmla="*/ 84912 h 260156"/>
                <a:gd name="connsiteX16" fmla="*/ 32519 w 283642"/>
                <a:gd name="connsiteY16" fmla="*/ 110205 h 260156"/>
                <a:gd name="connsiteX17" fmla="*/ 76782 w 283642"/>
                <a:gd name="connsiteY17" fmla="*/ 194214 h 260156"/>
                <a:gd name="connsiteX18" fmla="*/ 4517 w 283642"/>
                <a:gd name="connsiteY18" fmla="*/ 110205 h 260156"/>
                <a:gd name="connsiteX19" fmla="*/ 32519 w 283642"/>
                <a:gd name="connsiteY19" fmla="*/ 110205 h 260156"/>
                <a:gd name="connsiteX20" fmla="*/ 250220 w 283642"/>
                <a:gd name="connsiteY20" fmla="*/ 110205 h 260156"/>
                <a:gd name="connsiteX21" fmla="*/ 278223 w 283642"/>
                <a:gd name="connsiteY21" fmla="*/ 110205 h 260156"/>
                <a:gd name="connsiteX22" fmla="*/ 205957 w 283642"/>
                <a:gd name="connsiteY22" fmla="*/ 194214 h 260156"/>
                <a:gd name="connsiteX23" fmla="*/ 250220 w 283642"/>
                <a:gd name="connsiteY23" fmla="*/ 110205 h 260156"/>
                <a:gd name="connsiteX24" fmla="*/ 255640 w 283642"/>
                <a:gd name="connsiteY24" fmla="*/ 84912 h 260156"/>
                <a:gd name="connsiteX25" fmla="*/ 255640 w 283642"/>
                <a:gd name="connsiteY25" fmla="*/ 40649 h 260156"/>
                <a:gd name="connsiteX26" fmla="*/ 283643 w 283642"/>
                <a:gd name="connsiteY26" fmla="*/ 84912 h 260156"/>
                <a:gd name="connsiteX27" fmla="*/ 255640 w 283642"/>
                <a:gd name="connsiteY27" fmla="*/ 84912 h 260156"/>
                <a:gd name="connsiteX28" fmla="*/ 230347 w 283642"/>
                <a:gd name="connsiteY28" fmla="*/ 64136 h 260156"/>
                <a:gd name="connsiteX29" fmla="*/ 173437 w 283642"/>
                <a:gd name="connsiteY29" fmla="*/ 0 h 260156"/>
                <a:gd name="connsiteX30" fmla="*/ 230347 w 283642"/>
                <a:gd name="connsiteY30" fmla="*/ 7226 h 260156"/>
                <a:gd name="connsiteX31" fmla="*/ 230347 w 283642"/>
                <a:gd name="connsiteY31" fmla="*/ 64136 h 26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3642" h="260156">
                  <a:moveTo>
                    <a:pt x="68652" y="84912"/>
                  </a:moveTo>
                  <a:lnTo>
                    <a:pt x="141821" y="2710"/>
                  </a:lnTo>
                  <a:lnTo>
                    <a:pt x="214990" y="84912"/>
                  </a:lnTo>
                  <a:lnTo>
                    <a:pt x="68652" y="84912"/>
                  </a:lnTo>
                  <a:close/>
                  <a:moveTo>
                    <a:pt x="221314" y="110205"/>
                  </a:moveTo>
                  <a:lnTo>
                    <a:pt x="140918" y="260156"/>
                  </a:lnTo>
                  <a:lnTo>
                    <a:pt x="60522" y="110205"/>
                  </a:lnTo>
                  <a:lnTo>
                    <a:pt x="221314" y="110205"/>
                  </a:lnTo>
                  <a:close/>
                  <a:moveTo>
                    <a:pt x="53296" y="64136"/>
                  </a:moveTo>
                  <a:lnTo>
                    <a:pt x="53296" y="7226"/>
                  </a:lnTo>
                  <a:lnTo>
                    <a:pt x="110205" y="0"/>
                  </a:lnTo>
                  <a:lnTo>
                    <a:pt x="53296" y="64136"/>
                  </a:lnTo>
                  <a:close/>
                  <a:moveTo>
                    <a:pt x="28003" y="84912"/>
                  </a:moveTo>
                  <a:lnTo>
                    <a:pt x="0" y="84912"/>
                  </a:lnTo>
                  <a:lnTo>
                    <a:pt x="28003" y="40649"/>
                  </a:lnTo>
                  <a:lnTo>
                    <a:pt x="28003" y="84912"/>
                  </a:lnTo>
                  <a:close/>
                  <a:moveTo>
                    <a:pt x="32519" y="110205"/>
                  </a:moveTo>
                  <a:lnTo>
                    <a:pt x="76782" y="194214"/>
                  </a:lnTo>
                  <a:lnTo>
                    <a:pt x="4517" y="110205"/>
                  </a:lnTo>
                  <a:lnTo>
                    <a:pt x="32519" y="110205"/>
                  </a:lnTo>
                  <a:close/>
                  <a:moveTo>
                    <a:pt x="250220" y="110205"/>
                  </a:moveTo>
                  <a:lnTo>
                    <a:pt x="278223" y="110205"/>
                  </a:lnTo>
                  <a:lnTo>
                    <a:pt x="205957" y="194214"/>
                  </a:lnTo>
                  <a:lnTo>
                    <a:pt x="250220" y="110205"/>
                  </a:lnTo>
                  <a:close/>
                  <a:moveTo>
                    <a:pt x="255640" y="84912"/>
                  </a:moveTo>
                  <a:lnTo>
                    <a:pt x="255640" y="40649"/>
                  </a:lnTo>
                  <a:lnTo>
                    <a:pt x="283643" y="84912"/>
                  </a:lnTo>
                  <a:lnTo>
                    <a:pt x="255640" y="84912"/>
                  </a:lnTo>
                  <a:close/>
                  <a:moveTo>
                    <a:pt x="230347" y="64136"/>
                  </a:moveTo>
                  <a:lnTo>
                    <a:pt x="173437" y="0"/>
                  </a:lnTo>
                  <a:lnTo>
                    <a:pt x="230347" y="7226"/>
                  </a:lnTo>
                  <a:lnTo>
                    <a:pt x="230347" y="6413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32" name="Graphic 2">
              <a:extLst>
                <a:ext uri="{FF2B5EF4-FFF2-40B4-BE49-F238E27FC236}">
                  <a16:creationId xmlns:a16="http://schemas.microsoft.com/office/drawing/2014/main" id="{320D3D29-5770-477E-4400-519F3A218153}"/>
                </a:ext>
              </a:extLst>
            </p:cNvPr>
            <p:cNvGrpSpPr/>
            <p:nvPr/>
          </p:nvGrpSpPr>
          <p:grpSpPr>
            <a:xfrm>
              <a:off x="8865150" y="2423597"/>
              <a:ext cx="667915" cy="746005"/>
              <a:chOff x="8865150" y="2423597"/>
              <a:chExt cx="667915" cy="746005"/>
            </a:xfrm>
            <a:grpFill/>
          </p:grpSpPr>
          <p:sp>
            <p:nvSpPr>
              <p:cNvPr id="33" name="Freeform 32">
                <a:extLst>
                  <a:ext uri="{FF2B5EF4-FFF2-40B4-BE49-F238E27FC236}">
                    <a16:creationId xmlns:a16="http://schemas.microsoft.com/office/drawing/2014/main" id="{D3C55E7D-0164-29B8-793F-EE6CF7818888}"/>
                  </a:ext>
                </a:extLst>
              </p:cNvPr>
              <p:cNvSpPr/>
              <p:nvPr/>
            </p:nvSpPr>
            <p:spPr>
              <a:xfrm>
                <a:off x="9507773" y="2947385"/>
                <a:ext cx="25293" cy="25293"/>
              </a:xfrm>
              <a:custGeom>
                <a:avLst/>
                <a:gdLst>
                  <a:gd name="connsiteX0" fmla="*/ 25293 w 25293"/>
                  <a:gd name="connsiteY0" fmla="*/ 12647 h 25293"/>
                  <a:gd name="connsiteX1" fmla="*/ 12646 w 25293"/>
                  <a:gd name="connsiteY1" fmla="*/ 25293 h 25293"/>
                  <a:gd name="connsiteX2" fmla="*/ -1 w 25293"/>
                  <a:gd name="connsiteY2" fmla="*/ 12647 h 25293"/>
                  <a:gd name="connsiteX3" fmla="*/ 12646 w 25293"/>
                  <a:gd name="connsiteY3" fmla="*/ 0 h 25293"/>
                  <a:gd name="connsiteX4" fmla="*/ 25293 w 25293"/>
                  <a:gd name="connsiteY4" fmla="*/ 12647 h 25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3" h="25293">
                    <a:moveTo>
                      <a:pt x="25293" y="12647"/>
                    </a:moveTo>
                    <a:cubicBezTo>
                      <a:pt x="25293" y="19631"/>
                      <a:pt x="19631" y="25293"/>
                      <a:pt x="12646" y="25293"/>
                    </a:cubicBezTo>
                    <a:cubicBezTo>
                      <a:pt x="5662" y="25293"/>
                      <a:pt x="-1" y="19631"/>
                      <a:pt x="-1" y="12647"/>
                    </a:cubicBezTo>
                    <a:cubicBezTo>
                      <a:pt x="-1" y="5662"/>
                      <a:pt x="5662" y="0"/>
                      <a:pt x="12646" y="0"/>
                    </a:cubicBezTo>
                    <a:cubicBezTo>
                      <a:pt x="19631" y="0"/>
                      <a:pt x="25293" y="5662"/>
                      <a:pt x="25293" y="12647"/>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8774BB34-A262-E68D-1208-02852D1F5C6D}"/>
                  </a:ext>
                </a:extLst>
              </p:cNvPr>
              <p:cNvSpPr/>
              <p:nvPr/>
            </p:nvSpPr>
            <p:spPr>
              <a:xfrm>
                <a:off x="8875448" y="2466818"/>
                <a:ext cx="75879" cy="75879"/>
              </a:xfrm>
              <a:custGeom>
                <a:avLst/>
                <a:gdLst>
                  <a:gd name="connsiteX0" fmla="*/ 37940 w 75879"/>
                  <a:gd name="connsiteY0" fmla="*/ 75879 h 75879"/>
                  <a:gd name="connsiteX1" fmla="*/ 75879 w 75879"/>
                  <a:gd name="connsiteY1" fmla="*/ 37940 h 75879"/>
                  <a:gd name="connsiteX2" fmla="*/ 37940 w 75879"/>
                  <a:gd name="connsiteY2" fmla="*/ 0 h 75879"/>
                  <a:gd name="connsiteX3" fmla="*/ 0 w 75879"/>
                  <a:gd name="connsiteY3" fmla="*/ 37940 h 75879"/>
                  <a:gd name="connsiteX4" fmla="*/ 37940 w 75879"/>
                  <a:gd name="connsiteY4" fmla="*/ 75879 h 75879"/>
                  <a:gd name="connsiteX5" fmla="*/ 37940 w 75879"/>
                  <a:gd name="connsiteY5" fmla="*/ 25293 h 75879"/>
                  <a:gd name="connsiteX6" fmla="*/ 50586 w 75879"/>
                  <a:gd name="connsiteY6" fmla="*/ 37940 h 75879"/>
                  <a:gd name="connsiteX7" fmla="*/ 37940 w 75879"/>
                  <a:gd name="connsiteY7" fmla="*/ 50586 h 75879"/>
                  <a:gd name="connsiteX8" fmla="*/ 25293 w 75879"/>
                  <a:gd name="connsiteY8" fmla="*/ 37940 h 75879"/>
                  <a:gd name="connsiteX9" fmla="*/ 37940 w 75879"/>
                  <a:gd name="connsiteY9" fmla="*/ 25293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79" h="75879">
                    <a:moveTo>
                      <a:pt x="37940" y="75879"/>
                    </a:moveTo>
                    <a:cubicBezTo>
                      <a:pt x="58716" y="75879"/>
                      <a:pt x="75879" y="58716"/>
                      <a:pt x="75879" y="37940"/>
                    </a:cubicBezTo>
                    <a:cubicBezTo>
                      <a:pt x="75879" y="17163"/>
                      <a:pt x="58716" y="0"/>
                      <a:pt x="37940" y="0"/>
                    </a:cubicBezTo>
                    <a:cubicBezTo>
                      <a:pt x="17163" y="0"/>
                      <a:pt x="0" y="17163"/>
                      <a:pt x="0" y="37940"/>
                    </a:cubicBezTo>
                    <a:cubicBezTo>
                      <a:pt x="0" y="58716"/>
                      <a:pt x="17163" y="75879"/>
                      <a:pt x="37940" y="75879"/>
                    </a:cubicBezTo>
                    <a:close/>
                    <a:moveTo>
                      <a:pt x="37940" y="25293"/>
                    </a:moveTo>
                    <a:cubicBezTo>
                      <a:pt x="45166" y="25293"/>
                      <a:pt x="50586" y="30713"/>
                      <a:pt x="50586" y="37940"/>
                    </a:cubicBezTo>
                    <a:cubicBezTo>
                      <a:pt x="50586" y="45166"/>
                      <a:pt x="45166" y="50586"/>
                      <a:pt x="37940" y="50586"/>
                    </a:cubicBezTo>
                    <a:cubicBezTo>
                      <a:pt x="30713" y="50586"/>
                      <a:pt x="25293" y="45166"/>
                      <a:pt x="25293" y="37940"/>
                    </a:cubicBezTo>
                    <a:cubicBezTo>
                      <a:pt x="25293" y="30713"/>
                      <a:pt x="31616" y="25293"/>
                      <a:pt x="37940" y="2529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5" name="Freeform 34">
                <a:extLst>
                  <a:ext uri="{FF2B5EF4-FFF2-40B4-BE49-F238E27FC236}">
                    <a16:creationId xmlns:a16="http://schemas.microsoft.com/office/drawing/2014/main" id="{93192830-D129-30D7-CFCC-2AE47FADDAA8}"/>
                  </a:ext>
                </a:extLst>
              </p:cNvPr>
              <p:cNvSpPr/>
              <p:nvPr/>
            </p:nvSpPr>
            <p:spPr>
              <a:xfrm>
                <a:off x="8865150" y="2423597"/>
                <a:ext cx="640413" cy="746005"/>
              </a:xfrm>
              <a:custGeom>
                <a:avLst/>
                <a:gdLst>
                  <a:gd name="connsiteX0" fmla="*/ 368917 w 640413"/>
                  <a:gd name="connsiteY0" fmla="*/ 765 h 746005"/>
                  <a:gd name="connsiteX1" fmla="*/ 167476 w 640413"/>
                  <a:gd name="connsiteY1" fmla="*/ 67611 h 746005"/>
                  <a:gd name="connsiteX2" fmla="*/ 67207 w 640413"/>
                  <a:gd name="connsiteY2" fmla="*/ 286215 h 746005"/>
                  <a:gd name="connsiteX3" fmla="*/ 3071 w 640413"/>
                  <a:gd name="connsiteY3" fmla="*/ 412680 h 746005"/>
                  <a:gd name="connsiteX4" fmla="*/ 2168 w 640413"/>
                  <a:gd name="connsiteY4" fmla="*/ 414486 h 746005"/>
                  <a:gd name="connsiteX5" fmla="*/ 4878 w 640413"/>
                  <a:gd name="connsiteY5" fmla="*/ 443393 h 746005"/>
                  <a:gd name="connsiteX6" fmla="*/ 27461 w 640413"/>
                  <a:gd name="connsiteY6" fmla="*/ 460556 h 746005"/>
                  <a:gd name="connsiteX7" fmla="*/ 75337 w 640413"/>
                  <a:gd name="connsiteY7" fmla="*/ 471396 h 746005"/>
                  <a:gd name="connsiteX8" fmla="*/ 88887 w 640413"/>
                  <a:gd name="connsiteY8" fmla="*/ 624057 h 746005"/>
                  <a:gd name="connsiteX9" fmla="*/ 123213 w 640413"/>
                  <a:gd name="connsiteY9" fmla="*/ 655673 h 746005"/>
                  <a:gd name="connsiteX10" fmla="*/ 125020 w 640413"/>
                  <a:gd name="connsiteY10" fmla="*/ 655673 h 746005"/>
                  <a:gd name="connsiteX11" fmla="*/ 225288 w 640413"/>
                  <a:gd name="connsiteY11" fmla="*/ 644833 h 746005"/>
                  <a:gd name="connsiteX12" fmla="*/ 225288 w 640413"/>
                  <a:gd name="connsiteY12" fmla="*/ 731552 h 746005"/>
                  <a:gd name="connsiteX13" fmla="*/ 237935 w 640413"/>
                  <a:gd name="connsiteY13" fmla="*/ 744199 h 746005"/>
                  <a:gd name="connsiteX14" fmla="*/ 250581 w 640413"/>
                  <a:gd name="connsiteY14" fmla="*/ 731552 h 746005"/>
                  <a:gd name="connsiteX15" fmla="*/ 250581 w 640413"/>
                  <a:gd name="connsiteY15" fmla="*/ 630380 h 746005"/>
                  <a:gd name="connsiteX16" fmla="*/ 246065 w 640413"/>
                  <a:gd name="connsiteY16" fmla="*/ 621347 h 746005"/>
                  <a:gd name="connsiteX17" fmla="*/ 236128 w 640413"/>
                  <a:gd name="connsiteY17" fmla="*/ 618637 h 746005"/>
                  <a:gd name="connsiteX18" fmla="*/ 122310 w 640413"/>
                  <a:gd name="connsiteY18" fmla="*/ 631284 h 746005"/>
                  <a:gd name="connsiteX19" fmla="*/ 114180 w 640413"/>
                  <a:gd name="connsiteY19" fmla="*/ 623153 h 746005"/>
                  <a:gd name="connsiteX20" fmla="*/ 99727 w 640413"/>
                  <a:gd name="connsiteY20" fmla="*/ 461459 h 746005"/>
                  <a:gd name="connsiteX21" fmla="*/ 89790 w 640413"/>
                  <a:gd name="connsiteY21" fmla="*/ 450619 h 746005"/>
                  <a:gd name="connsiteX22" fmla="*/ 32881 w 640413"/>
                  <a:gd name="connsiteY22" fmla="*/ 437069 h 746005"/>
                  <a:gd name="connsiteX23" fmla="*/ 27461 w 640413"/>
                  <a:gd name="connsiteY23" fmla="*/ 432553 h 746005"/>
                  <a:gd name="connsiteX24" fmla="*/ 26558 w 640413"/>
                  <a:gd name="connsiteY24" fmla="*/ 424423 h 746005"/>
                  <a:gd name="connsiteX25" fmla="*/ 90694 w 640413"/>
                  <a:gd name="connsiteY25" fmla="*/ 298861 h 746005"/>
                  <a:gd name="connsiteX26" fmla="*/ 93404 w 640413"/>
                  <a:gd name="connsiteY26" fmla="*/ 291634 h 746005"/>
                  <a:gd name="connsiteX27" fmla="*/ 185542 w 640413"/>
                  <a:gd name="connsiteY27" fmla="*/ 87484 h 746005"/>
                  <a:gd name="connsiteX28" fmla="*/ 368013 w 640413"/>
                  <a:gd name="connsiteY28" fmla="*/ 26961 h 746005"/>
                  <a:gd name="connsiteX29" fmla="*/ 615523 w 640413"/>
                  <a:gd name="connsiteY29" fmla="*/ 289828 h 746005"/>
                  <a:gd name="connsiteX30" fmla="*/ 547774 w 640413"/>
                  <a:gd name="connsiteY30" fmla="*/ 488559 h 746005"/>
                  <a:gd name="connsiteX31" fmla="*/ 517965 w 640413"/>
                  <a:gd name="connsiteY31" fmla="*/ 568954 h 746005"/>
                  <a:gd name="connsiteX32" fmla="*/ 517965 w 640413"/>
                  <a:gd name="connsiteY32" fmla="*/ 733359 h 746005"/>
                  <a:gd name="connsiteX33" fmla="*/ 530611 w 640413"/>
                  <a:gd name="connsiteY33" fmla="*/ 746005 h 746005"/>
                  <a:gd name="connsiteX34" fmla="*/ 543258 w 640413"/>
                  <a:gd name="connsiteY34" fmla="*/ 733359 h 746005"/>
                  <a:gd name="connsiteX35" fmla="*/ 543258 w 640413"/>
                  <a:gd name="connsiteY35" fmla="*/ 568954 h 746005"/>
                  <a:gd name="connsiteX36" fmla="*/ 566744 w 640413"/>
                  <a:gd name="connsiteY36" fmla="*/ 504819 h 746005"/>
                  <a:gd name="connsiteX37" fmla="*/ 639913 w 640413"/>
                  <a:gd name="connsiteY37" fmla="*/ 288924 h 746005"/>
                  <a:gd name="connsiteX38" fmla="*/ 368917 w 640413"/>
                  <a:gd name="connsiteY38" fmla="*/ 765 h 746005"/>
                  <a:gd name="connsiteX39" fmla="*/ 368917 w 640413"/>
                  <a:gd name="connsiteY39" fmla="*/ 765 h 74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0413" h="746005">
                    <a:moveTo>
                      <a:pt x="368917" y="765"/>
                    </a:moveTo>
                    <a:cubicBezTo>
                      <a:pt x="293941" y="-4655"/>
                      <a:pt x="222578" y="18832"/>
                      <a:pt x="167476" y="67611"/>
                    </a:cubicBezTo>
                    <a:cubicBezTo>
                      <a:pt x="107856" y="120907"/>
                      <a:pt x="70821" y="200399"/>
                      <a:pt x="67207" y="286215"/>
                    </a:cubicBezTo>
                    <a:lnTo>
                      <a:pt x="3071" y="412680"/>
                    </a:lnTo>
                    <a:cubicBezTo>
                      <a:pt x="3071" y="413583"/>
                      <a:pt x="2168" y="413583"/>
                      <a:pt x="2168" y="414486"/>
                    </a:cubicBezTo>
                    <a:cubicBezTo>
                      <a:pt x="-1445" y="424423"/>
                      <a:pt x="-542" y="434360"/>
                      <a:pt x="4878" y="443393"/>
                    </a:cubicBezTo>
                    <a:cubicBezTo>
                      <a:pt x="9395" y="452426"/>
                      <a:pt x="17524" y="457846"/>
                      <a:pt x="27461" y="460556"/>
                    </a:cubicBezTo>
                    <a:lnTo>
                      <a:pt x="75337" y="471396"/>
                    </a:lnTo>
                    <a:lnTo>
                      <a:pt x="88887" y="624057"/>
                    </a:lnTo>
                    <a:cubicBezTo>
                      <a:pt x="90694" y="642124"/>
                      <a:pt x="105147" y="655673"/>
                      <a:pt x="123213" y="655673"/>
                    </a:cubicBezTo>
                    <a:cubicBezTo>
                      <a:pt x="124116" y="655673"/>
                      <a:pt x="124116" y="655673"/>
                      <a:pt x="125020" y="655673"/>
                    </a:cubicBezTo>
                    <a:lnTo>
                      <a:pt x="225288" y="644833"/>
                    </a:lnTo>
                    <a:lnTo>
                      <a:pt x="225288" y="731552"/>
                    </a:lnTo>
                    <a:cubicBezTo>
                      <a:pt x="225288" y="738778"/>
                      <a:pt x="230709" y="744199"/>
                      <a:pt x="237935" y="744199"/>
                    </a:cubicBezTo>
                    <a:cubicBezTo>
                      <a:pt x="245161" y="744199"/>
                      <a:pt x="250581" y="738778"/>
                      <a:pt x="250581" y="731552"/>
                    </a:cubicBezTo>
                    <a:lnTo>
                      <a:pt x="250581" y="630380"/>
                    </a:lnTo>
                    <a:cubicBezTo>
                      <a:pt x="250581" y="626767"/>
                      <a:pt x="248775" y="623153"/>
                      <a:pt x="246065" y="621347"/>
                    </a:cubicBezTo>
                    <a:cubicBezTo>
                      <a:pt x="243355" y="618637"/>
                      <a:pt x="239742" y="617734"/>
                      <a:pt x="236128" y="618637"/>
                    </a:cubicBezTo>
                    <a:lnTo>
                      <a:pt x="122310" y="631284"/>
                    </a:lnTo>
                    <a:cubicBezTo>
                      <a:pt x="117793" y="631284"/>
                      <a:pt x="114180" y="627670"/>
                      <a:pt x="114180" y="623153"/>
                    </a:cubicBezTo>
                    <a:lnTo>
                      <a:pt x="99727" y="461459"/>
                    </a:lnTo>
                    <a:cubicBezTo>
                      <a:pt x="98823" y="456039"/>
                      <a:pt x="95210" y="451522"/>
                      <a:pt x="89790" y="450619"/>
                    </a:cubicBezTo>
                    <a:lnTo>
                      <a:pt x="32881" y="437069"/>
                    </a:lnTo>
                    <a:cubicBezTo>
                      <a:pt x="29267" y="436166"/>
                      <a:pt x="27461" y="433456"/>
                      <a:pt x="27461" y="432553"/>
                    </a:cubicBezTo>
                    <a:cubicBezTo>
                      <a:pt x="26558" y="429843"/>
                      <a:pt x="25654" y="427133"/>
                      <a:pt x="26558" y="424423"/>
                    </a:cubicBezTo>
                    <a:lnTo>
                      <a:pt x="90694" y="298861"/>
                    </a:lnTo>
                    <a:cubicBezTo>
                      <a:pt x="92500" y="297055"/>
                      <a:pt x="93404" y="294345"/>
                      <a:pt x="93404" y="291634"/>
                    </a:cubicBezTo>
                    <a:cubicBezTo>
                      <a:pt x="97017" y="211239"/>
                      <a:pt x="130440" y="137167"/>
                      <a:pt x="185542" y="87484"/>
                    </a:cubicBezTo>
                    <a:cubicBezTo>
                      <a:pt x="235225" y="43221"/>
                      <a:pt x="300264" y="21542"/>
                      <a:pt x="368013" y="26961"/>
                    </a:cubicBezTo>
                    <a:cubicBezTo>
                      <a:pt x="502608" y="36898"/>
                      <a:pt x="608297" y="149813"/>
                      <a:pt x="615523" y="289828"/>
                    </a:cubicBezTo>
                    <a:cubicBezTo>
                      <a:pt x="619137" y="362997"/>
                      <a:pt x="594747" y="433456"/>
                      <a:pt x="547774" y="488559"/>
                    </a:cubicBezTo>
                    <a:cubicBezTo>
                      <a:pt x="528805" y="511142"/>
                      <a:pt x="517965" y="539145"/>
                      <a:pt x="517965" y="568954"/>
                    </a:cubicBezTo>
                    <a:lnTo>
                      <a:pt x="517965" y="733359"/>
                    </a:lnTo>
                    <a:cubicBezTo>
                      <a:pt x="517965" y="740585"/>
                      <a:pt x="523384" y="746005"/>
                      <a:pt x="530611" y="746005"/>
                    </a:cubicBezTo>
                    <a:cubicBezTo>
                      <a:pt x="537838" y="746005"/>
                      <a:pt x="543258" y="740585"/>
                      <a:pt x="543258" y="733359"/>
                    </a:cubicBezTo>
                    <a:lnTo>
                      <a:pt x="543258" y="568954"/>
                    </a:lnTo>
                    <a:cubicBezTo>
                      <a:pt x="543258" y="545468"/>
                      <a:pt x="551388" y="522885"/>
                      <a:pt x="566744" y="504819"/>
                    </a:cubicBezTo>
                    <a:cubicBezTo>
                      <a:pt x="618233" y="445199"/>
                      <a:pt x="644430" y="368417"/>
                      <a:pt x="639913" y="288924"/>
                    </a:cubicBezTo>
                    <a:cubicBezTo>
                      <a:pt x="632687" y="135360"/>
                      <a:pt x="516158" y="11605"/>
                      <a:pt x="368917" y="765"/>
                    </a:cubicBezTo>
                    <a:lnTo>
                      <a:pt x="368917" y="76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6" name="Freeform 35">
                <a:extLst>
                  <a:ext uri="{FF2B5EF4-FFF2-40B4-BE49-F238E27FC236}">
                    <a16:creationId xmlns:a16="http://schemas.microsoft.com/office/drawing/2014/main" id="{6754AE18-757C-21DD-3379-5C1530D791D4}"/>
                  </a:ext>
                </a:extLst>
              </p:cNvPr>
              <p:cNvSpPr/>
              <p:nvPr/>
            </p:nvSpPr>
            <p:spPr>
              <a:xfrm>
                <a:off x="9002816" y="2492111"/>
                <a:ext cx="429981" cy="429980"/>
              </a:xfrm>
              <a:custGeom>
                <a:avLst/>
                <a:gdLst>
                  <a:gd name="connsiteX0" fmla="*/ 333326 w 429981"/>
                  <a:gd name="connsiteY0" fmla="*/ 36133 h 429980"/>
                  <a:gd name="connsiteX1" fmla="*/ 316163 w 429981"/>
                  <a:gd name="connsiteY1" fmla="*/ 39746 h 429980"/>
                  <a:gd name="connsiteX2" fmla="*/ 319776 w 429981"/>
                  <a:gd name="connsiteY2" fmla="*/ 56909 h 429980"/>
                  <a:gd name="connsiteX3" fmla="*/ 404688 w 429981"/>
                  <a:gd name="connsiteY3" fmla="*/ 214990 h 429980"/>
                  <a:gd name="connsiteX4" fmla="*/ 214991 w 429981"/>
                  <a:gd name="connsiteY4" fmla="*/ 404688 h 429980"/>
                  <a:gd name="connsiteX5" fmla="*/ 25293 w 429981"/>
                  <a:gd name="connsiteY5" fmla="*/ 214990 h 429980"/>
                  <a:gd name="connsiteX6" fmla="*/ 214991 w 429981"/>
                  <a:gd name="connsiteY6" fmla="*/ 25293 h 429980"/>
                  <a:gd name="connsiteX7" fmla="*/ 280933 w 429981"/>
                  <a:gd name="connsiteY7" fmla="*/ 37036 h 429980"/>
                  <a:gd name="connsiteX8" fmla="*/ 297193 w 429981"/>
                  <a:gd name="connsiteY8" fmla="*/ 29809 h 429980"/>
                  <a:gd name="connsiteX9" fmla="*/ 289967 w 429981"/>
                  <a:gd name="connsiteY9" fmla="*/ 13550 h 429980"/>
                  <a:gd name="connsiteX10" fmla="*/ 214991 w 429981"/>
                  <a:gd name="connsiteY10" fmla="*/ 0 h 429980"/>
                  <a:gd name="connsiteX11" fmla="*/ 0 w 429981"/>
                  <a:gd name="connsiteY11" fmla="*/ 214990 h 429980"/>
                  <a:gd name="connsiteX12" fmla="*/ 214991 w 429981"/>
                  <a:gd name="connsiteY12" fmla="*/ 429981 h 429980"/>
                  <a:gd name="connsiteX13" fmla="*/ 429981 w 429981"/>
                  <a:gd name="connsiteY13" fmla="*/ 214990 h 429980"/>
                  <a:gd name="connsiteX14" fmla="*/ 333326 w 429981"/>
                  <a:gd name="connsiteY14" fmla="*/ 36133 h 429980"/>
                  <a:gd name="connsiteX15" fmla="*/ 333326 w 429981"/>
                  <a:gd name="connsiteY15" fmla="*/ 36133 h 42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9981" h="429980">
                    <a:moveTo>
                      <a:pt x="333326" y="36133"/>
                    </a:moveTo>
                    <a:cubicBezTo>
                      <a:pt x="327906" y="32519"/>
                      <a:pt x="319776" y="33422"/>
                      <a:pt x="316163" y="39746"/>
                    </a:cubicBezTo>
                    <a:cubicBezTo>
                      <a:pt x="312550" y="45166"/>
                      <a:pt x="313453" y="53296"/>
                      <a:pt x="319776" y="56909"/>
                    </a:cubicBezTo>
                    <a:cubicBezTo>
                      <a:pt x="373072" y="92138"/>
                      <a:pt x="404688" y="151758"/>
                      <a:pt x="404688" y="214990"/>
                    </a:cubicBezTo>
                    <a:cubicBezTo>
                      <a:pt x="404688" y="319775"/>
                      <a:pt x="319776" y="404688"/>
                      <a:pt x="214991" y="404688"/>
                    </a:cubicBezTo>
                    <a:cubicBezTo>
                      <a:pt x="110205" y="404688"/>
                      <a:pt x="25293" y="319775"/>
                      <a:pt x="25293" y="214990"/>
                    </a:cubicBezTo>
                    <a:cubicBezTo>
                      <a:pt x="25293" y="110205"/>
                      <a:pt x="110205" y="25293"/>
                      <a:pt x="214991" y="25293"/>
                    </a:cubicBezTo>
                    <a:cubicBezTo>
                      <a:pt x="237574" y="25293"/>
                      <a:pt x="260157" y="28906"/>
                      <a:pt x="280933" y="37036"/>
                    </a:cubicBezTo>
                    <a:cubicBezTo>
                      <a:pt x="287257" y="39746"/>
                      <a:pt x="294483" y="36133"/>
                      <a:pt x="297193" y="29809"/>
                    </a:cubicBezTo>
                    <a:cubicBezTo>
                      <a:pt x="299903" y="23486"/>
                      <a:pt x="296290" y="16260"/>
                      <a:pt x="289967" y="13550"/>
                    </a:cubicBezTo>
                    <a:cubicBezTo>
                      <a:pt x="265577" y="4517"/>
                      <a:pt x="240284" y="0"/>
                      <a:pt x="214991" y="0"/>
                    </a:cubicBezTo>
                    <a:cubicBezTo>
                      <a:pt x="96656" y="0"/>
                      <a:pt x="0" y="96655"/>
                      <a:pt x="0" y="214990"/>
                    </a:cubicBezTo>
                    <a:cubicBezTo>
                      <a:pt x="0" y="333325"/>
                      <a:pt x="96656" y="429981"/>
                      <a:pt x="214991" y="429981"/>
                    </a:cubicBezTo>
                    <a:cubicBezTo>
                      <a:pt x="333326" y="429981"/>
                      <a:pt x="429981" y="333325"/>
                      <a:pt x="429981" y="214990"/>
                    </a:cubicBezTo>
                    <a:cubicBezTo>
                      <a:pt x="429078" y="142725"/>
                      <a:pt x="393849" y="75879"/>
                      <a:pt x="333326" y="36133"/>
                    </a:cubicBezTo>
                    <a:lnTo>
                      <a:pt x="333326" y="36133"/>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7" name="Freeform 36">
                <a:extLst>
                  <a:ext uri="{FF2B5EF4-FFF2-40B4-BE49-F238E27FC236}">
                    <a16:creationId xmlns:a16="http://schemas.microsoft.com/office/drawing/2014/main" id="{DDBC5526-BBBE-1DDB-8DAD-B48FC3FCB22E}"/>
                  </a:ext>
                </a:extLst>
              </p:cNvPr>
              <p:cNvSpPr/>
              <p:nvPr/>
            </p:nvSpPr>
            <p:spPr>
              <a:xfrm>
                <a:off x="9046954" y="2555344"/>
                <a:ext cx="354720" cy="328808"/>
              </a:xfrm>
              <a:custGeom>
                <a:avLst/>
                <a:gdLst>
                  <a:gd name="connsiteX0" fmla="*/ 175369 w 354720"/>
                  <a:gd name="connsiteY0" fmla="*/ 0 h 328808"/>
                  <a:gd name="connsiteX1" fmla="*/ 74197 w 354720"/>
                  <a:gd name="connsiteY1" fmla="*/ 12646 h 328808"/>
                  <a:gd name="connsiteX2" fmla="*/ 65164 w 354720"/>
                  <a:gd name="connsiteY2" fmla="*/ 18066 h 328808"/>
                  <a:gd name="connsiteX3" fmla="*/ 1932 w 354720"/>
                  <a:gd name="connsiteY3" fmla="*/ 119238 h 328808"/>
                  <a:gd name="connsiteX4" fmla="*/ 2835 w 354720"/>
                  <a:gd name="connsiteY4" fmla="*/ 134595 h 328808"/>
                  <a:gd name="connsiteX5" fmla="*/ 167239 w 354720"/>
                  <a:gd name="connsiteY5" fmla="*/ 324292 h 328808"/>
                  <a:gd name="connsiteX6" fmla="*/ 177176 w 354720"/>
                  <a:gd name="connsiteY6" fmla="*/ 328809 h 328808"/>
                  <a:gd name="connsiteX7" fmla="*/ 187113 w 354720"/>
                  <a:gd name="connsiteY7" fmla="*/ 324292 h 328808"/>
                  <a:gd name="connsiteX8" fmla="*/ 351517 w 354720"/>
                  <a:gd name="connsiteY8" fmla="*/ 134595 h 328808"/>
                  <a:gd name="connsiteX9" fmla="*/ 352420 w 354720"/>
                  <a:gd name="connsiteY9" fmla="*/ 119238 h 328808"/>
                  <a:gd name="connsiteX10" fmla="*/ 289188 w 354720"/>
                  <a:gd name="connsiteY10" fmla="*/ 18066 h 328808"/>
                  <a:gd name="connsiteX11" fmla="*/ 280155 w 354720"/>
                  <a:gd name="connsiteY11" fmla="*/ 12646 h 328808"/>
                  <a:gd name="connsiteX12" fmla="*/ 178982 w 354720"/>
                  <a:gd name="connsiteY12" fmla="*/ 0 h 328808"/>
                  <a:gd name="connsiteX13" fmla="*/ 175369 w 354720"/>
                  <a:gd name="connsiteY13" fmla="*/ 0 h 328808"/>
                  <a:gd name="connsiteX14" fmla="*/ 175369 w 354720"/>
                  <a:gd name="connsiteY14" fmla="*/ 0 h 328808"/>
                  <a:gd name="connsiteX15" fmla="*/ 104007 w 354720"/>
                  <a:gd name="connsiteY15" fmla="*/ 113818 h 328808"/>
                  <a:gd name="connsiteX16" fmla="*/ 177176 w 354720"/>
                  <a:gd name="connsiteY16" fmla="*/ 31616 h 328808"/>
                  <a:gd name="connsiteX17" fmla="*/ 250345 w 354720"/>
                  <a:gd name="connsiteY17" fmla="*/ 113818 h 328808"/>
                  <a:gd name="connsiteX18" fmla="*/ 104007 w 354720"/>
                  <a:gd name="connsiteY18" fmla="*/ 113818 h 328808"/>
                  <a:gd name="connsiteX19" fmla="*/ 256668 w 354720"/>
                  <a:gd name="connsiteY19" fmla="*/ 139111 h 328808"/>
                  <a:gd name="connsiteX20" fmla="*/ 176273 w 354720"/>
                  <a:gd name="connsiteY20" fmla="*/ 289063 h 328808"/>
                  <a:gd name="connsiteX21" fmla="*/ 95877 w 354720"/>
                  <a:gd name="connsiteY21" fmla="*/ 139111 h 328808"/>
                  <a:gd name="connsiteX22" fmla="*/ 256668 w 354720"/>
                  <a:gd name="connsiteY22" fmla="*/ 139111 h 328808"/>
                  <a:gd name="connsiteX23" fmla="*/ 87747 w 354720"/>
                  <a:gd name="connsiteY23" fmla="*/ 93042 h 328808"/>
                  <a:gd name="connsiteX24" fmla="*/ 87747 w 354720"/>
                  <a:gd name="connsiteY24" fmla="*/ 36133 h 328808"/>
                  <a:gd name="connsiteX25" fmla="*/ 144656 w 354720"/>
                  <a:gd name="connsiteY25" fmla="*/ 28906 h 328808"/>
                  <a:gd name="connsiteX26" fmla="*/ 87747 w 354720"/>
                  <a:gd name="connsiteY26" fmla="*/ 93042 h 328808"/>
                  <a:gd name="connsiteX27" fmla="*/ 62454 w 354720"/>
                  <a:gd name="connsiteY27" fmla="*/ 113818 h 328808"/>
                  <a:gd name="connsiteX28" fmla="*/ 34451 w 354720"/>
                  <a:gd name="connsiteY28" fmla="*/ 113818 h 328808"/>
                  <a:gd name="connsiteX29" fmla="*/ 62454 w 354720"/>
                  <a:gd name="connsiteY29" fmla="*/ 69555 h 328808"/>
                  <a:gd name="connsiteX30" fmla="*/ 62454 w 354720"/>
                  <a:gd name="connsiteY30" fmla="*/ 113818 h 328808"/>
                  <a:gd name="connsiteX31" fmla="*/ 67874 w 354720"/>
                  <a:gd name="connsiteY31" fmla="*/ 139111 h 328808"/>
                  <a:gd name="connsiteX32" fmla="*/ 112137 w 354720"/>
                  <a:gd name="connsiteY32" fmla="*/ 223120 h 328808"/>
                  <a:gd name="connsiteX33" fmla="*/ 39871 w 354720"/>
                  <a:gd name="connsiteY33" fmla="*/ 139111 h 328808"/>
                  <a:gd name="connsiteX34" fmla="*/ 67874 w 354720"/>
                  <a:gd name="connsiteY34" fmla="*/ 139111 h 328808"/>
                  <a:gd name="connsiteX35" fmla="*/ 285574 w 354720"/>
                  <a:gd name="connsiteY35" fmla="*/ 139111 h 328808"/>
                  <a:gd name="connsiteX36" fmla="*/ 313578 w 354720"/>
                  <a:gd name="connsiteY36" fmla="*/ 139111 h 328808"/>
                  <a:gd name="connsiteX37" fmla="*/ 241312 w 354720"/>
                  <a:gd name="connsiteY37" fmla="*/ 223120 h 328808"/>
                  <a:gd name="connsiteX38" fmla="*/ 285574 w 354720"/>
                  <a:gd name="connsiteY38" fmla="*/ 139111 h 328808"/>
                  <a:gd name="connsiteX39" fmla="*/ 290091 w 354720"/>
                  <a:gd name="connsiteY39" fmla="*/ 113818 h 328808"/>
                  <a:gd name="connsiteX40" fmla="*/ 290091 w 354720"/>
                  <a:gd name="connsiteY40" fmla="*/ 69555 h 328808"/>
                  <a:gd name="connsiteX41" fmla="*/ 318094 w 354720"/>
                  <a:gd name="connsiteY41" fmla="*/ 113818 h 328808"/>
                  <a:gd name="connsiteX42" fmla="*/ 290091 w 354720"/>
                  <a:gd name="connsiteY42" fmla="*/ 113818 h 328808"/>
                  <a:gd name="connsiteX43" fmla="*/ 264798 w 354720"/>
                  <a:gd name="connsiteY43" fmla="*/ 93042 h 328808"/>
                  <a:gd name="connsiteX44" fmla="*/ 207889 w 354720"/>
                  <a:gd name="connsiteY44" fmla="*/ 28906 h 328808"/>
                  <a:gd name="connsiteX45" fmla="*/ 264798 w 354720"/>
                  <a:gd name="connsiteY45" fmla="*/ 36133 h 328808"/>
                  <a:gd name="connsiteX46" fmla="*/ 264798 w 354720"/>
                  <a:gd name="connsiteY46" fmla="*/ 93042 h 32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720" h="328808">
                    <a:moveTo>
                      <a:pt x="175369" y="0"/>
                    </a:moveTo>
                    <a:lnTo>
                      <a:pt x="74197" y="12646"/>
                    </a:lnTo>
                    <a:cubicBezTo>
                      <a:pt x="70584" y="13550"/>
                      <a:pt x="66971" y="15356"/>
                      <a:pt x="65164" y="18066"/>
                    </a:cubicBezTo>
                    <a:lnTo>
                      <a:pt x="1932" y="119238"/>
                    </a:lnTo>
                    <a:cubicBezTo>
                      <a:pt x="-778" y="123755"/>
                      <a:pt x="-778" y="130078"/>
                      <a:pt x="2835" y="134595"/>
                    </a:cubicBezTo>
                    <a:lnTo>
                      <a:pt x="167239" y="324292"/>
                    </a:lnTo>
                    <a:cubicBezTo>
                      <a:pt x="169949" y="327002"/>
                      <a:pt x="173563" y="328809"/>
                      <a:pt x="177176" y="328809"/>
                    </a:cubicBezTo>
                    <a:cubicBezTo>
                      <a:pt x="180789" y="328809"/>
                      <a:pt x="184403" y="327002"/>
                      <a:pt x="187113" y="324292"/>
                    </a:cubicBezTo>
                    <a:lnTo>
                      <a:pt x="351517" y="134595"/>
                    </a:lnTo>
                    <a:cubicBezTo>
                      <a:pt x="355130" y="130078"/>
                      <a:pt x="356034" y="124658"/>
                      <a:pt x="352420" y="119238"/>
                    </a:cubicBezTo>
                    <a:lnTo>
                      <a:pt x="289188" y="18066"/>
                    </a:lnTo>
                    <a:cubicBezTo>
                      <a:pt x="287381" y="14453"/>
                      <a:pt x="283768" y="12646"/>
                      <a:pt x="280155" y="12646"/>
                    </a:cubicBezTo>
                    <a:lnTo>
                      <a:pt x="178982" y="0"/>
                    </a:lnTo>
                    <a:cubicBezTo>
                      <a:pt x="177176" y="0"/>
                      <a:pt x="176273" y="0"/>
                      <a:pt x="175369" y="0"/>
                    </a:cubicBezTo>
                    <a:lnTo>
                      <a:pt x="175369" y="0"/>
                    </a:lnTo>
                    <a:close/>
                    <a:moveTo>
                      <a:pt x="104007" y="113818"/>
                    </a:moveTo>
                    <a:lnTo>
                      <a:pt x="177176" y="31616"/>
                    </a:lnTo>
                    <a:lnTo>
                      <a:pt x="250345" y="113818"/>
                    </a:lnTo>
                    <a:lnTo>
                      <a:pt x="104007" y="113818"/>
                    </a:lnTo>
                    <a:close/>
                    <a:moveTo>
                      <a:pt x="256668" y="139111"/>
                    </a:moveTo>
                    <a:lnTo>
                      <a:pt x="176273" y="289063"/>
                    </a:lnTo>
                    <a:lnTo>
                      <a:pt x="95877" y="139111"/>
                    </a:lnTo>
                    <a:lnTo>
                      <a:pt x="256668" y="139111"/>
                    </a:lnTo>
                    <a:close/>
                    <a:moveTo>
                      <a:pt x="87747" y="93042"/>
                    </a:moveTo>
                    <a:lnTo>
                      <a:pt x="87747" y="36133"/>
                    </a:lnTo>
                    <a:lnTo>
                      <a:pt x="144656" y="28906"/>
                    </a:lnTo>
                    <a:lnTo>
                      <a:pt x="87747" y="93042"/>
                    </a:lnTo>
                    <a:close/>
                    <a:moveTo>
                      <a:pt x="62454" y="113818"/>
                    </a:moveTo>
                    <a:lnTo>
                      <a:pt x="34451" y="113818"/>
                    </a:lnTo>
                    <a:lnTo>
                      <a:pt x="62454" y="69555"/>
                    </a:lnTo>
                    <a:lnTo>
                      <a:pt x="62454" y="113818"/>
                    </a:lnTo>
                    <a:close/>
                    <a:moveTo>
                      <a:pt x="67874" y="139111"/>
                    </a:moveTo>
                    <a:lnTo>
                      <a:pt x="112137" y="223120"/>
                    </a:lnTo>
                    <a:lnTo>
                      <a:pt x="39871" y="139111"/>
                    </a:lnTo>
                    <a:lnTo>
                      <a:pt x="67874" y="139111"/>
                    </a:lnTo>
                    <a:close/>
                    <a:moveTo>
                      <a:pt x="285574" y="139111"/>
                    </a:moveTo>
                    <a:lnTo>
                      <a:pt x="313578" y="139111"/>
                    </a:lnTo>
                    <a:lnTo>
                      <a:pt x="241312" y="223120"/>
                    </a:lnTo>
                    <a:lnTo>
                      <a:pt x="285574" y="139111"/>
                    </a:lnTo>
                    <a:close/>
                    <a:moveTo>
                      <a:pt x="290091" y="113818"/>
                    </a:moveTo>
                    <a:lnTo>
                      <a:pt x="290091" y="69555"/>
                    </a:lnTo>
                    <a:lnTo>
                      <a:pt x="318094" y="113818"/>
                    </a:lnTo>
                    <a:lnTo>
                      <a:pt x="290091" y="113818"/>
                    </a:lnTo>
                    <a:close/>
                    <a:moveTo>
                      <a:pt x="264798" y="93042"/>
                    </a:moveTo>
                    <a:lnTo>
                      <a:pt x="207889" y="28906"/>
                    </a:lnTo>
                    <a:lnTo>
                      <a:pt x="264798" y="36133"/>
                    </a:lnTo>
                    <a:lnTo>
                      <a:pt x="264798" y="93042"/>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38" name="Group 37">
            <a:extLst>
              <a:ext uri="{FF2B5EF4-FFF2-40B4-BE49-F238E27FC236}">
                <a16:creationId xmlns:a16="http://schemas.microsoft.com/office/drawing/2014/main" id="{AEA50320-E088-0240-E185-0CDFC06A26C0}"/>
              </a:ext>
            </a:extLst>
          </p:cNvPr>
          <p:cNvGrpSpPr/>
          <p:nvPr/>
        </p:nvGrpSpPr>
        <p:grpSpPr>
          <a:xfrm>
            <a:off x="4648602" y="2266174"/>
            <a:ext cx="868457" cy="867509"/>
            <a:chOff x="7257599" y="768348"/>
            <a:chExt cx="868457" cy="867509"/>
          </a:xfrm>
          <a:solidFill>
            <a:srgbClr val="595959"/>
          </a:solidFill>
        </p:grpSpPr>
        <p:sp>
          <p:nvSpPr>
            <p:cNvPr id="39" name="Freeform 38">
              <a:extLst>
                <a:ext uri="{FF2B5EF4-FFF2-40B4-BE49-F238E27FC236}">
                  <a16:creationId xmlns:a16="http://schemas.microsoft.com/office/drawing/2014/main" id="{98647607-C24D-7C38-D63A-3227040F8F6C}"/>
                </a:ext>
              </a:extLst>
            </p:cNvPr>
            <p:cNvSpPr/>
            <p:nvPr/>
          </p:nvSpPr>
          <p:spPr>
            <a:xfrm>
              <a:off x="7672223" y="1282564"/>
              <a:ext cx="303614" cy="275513"/>
            </a:xfrm>
            <a:custGeom>
              <a:avLst/>
              <a:gdLst>
                <a:gd name="connsiteX0" fmla="*/ 5420 w 303614"/>
                <a:gd name="connsiteY0" fmla="*/ 194214 h 275513"/>
                <a:gd name="connsiteX1" fmla="*/ 8130 w 303614"/>
                <a:gd name="connsiteY1" fmla="*/ 193311 h 275513"/>
                <a:gd name="connsiteX2" fmla="*/ 18970 w 303614"/>
                <a:gd name="connsiteY2" fmla="*/ 193311 h 275513"/>
                <a:gd name="connsiteX3" fmla="*/ 79492 w 303614"/>
                <a:gd name="connsiteY3" fmla="*/ 229444 h 275513"/>
                <a:gd name="connsiteX4" fmla="*/ 93946 w 303614"/>
                <a:gd name="connsiteY4" fmla="*/ 229444 h 275513"/>
                <a:gd name="connsiteX5" fmla="*/ 101172 w 303614"/>
                <a:gd name="connsiteY5" fmla="*/ 216797 h 275513"/>
                <a:gd name="connsiteX6" fmla="*/ 101172 w 303614"/>
                <a:gd name="connsiteY6" fmla="*/ 14453 h 275513"/>
                <a:gd name="connsiteX7" fmla="*/ 115625 w 303614"/>
                <a:gd name="connsiteY7" fmla="*/ 0 h 275513"/>
                <a:gd name="connsiteX8" fmla="*/ 130079 w 303614"/>
                <a:gd name="connsiteY8" fmla="*/ 14453 h 275513"/>
                <a:gd name="connsiteX9" fmla="*/ 130079 w 303614"/>
                <a:gd name="connsiteY9" fmla="*/ 130982 h 275513"/>
                <a:gd name="connsiteX10" fmla="*/ 144531 w 303614"/>
                <a:gd name="connsiteY10" fmla="*/ 145435 h 275513"/>
                <a:gd name="connsiteX11" fmla="*/ 158985 w 303614"/>
                <a:gd name="connsiteY11" fmla="*/ 130982 h 275513"/>
                <a:gd name="connsiteX12" fmla="*/ 173438 w 303614"/>
                <a:gd name="connsiteY12" fmla="*/ 116529 h 275513"/>
                <a:gd name="connsiteX13" fmla="*/ 187891 w 303614"/>
                <a:gd name="connsiteY13" fmla="*/ 130982 h 275513"/>
                <a:gd name="connsiteX14" fmla="*/ 202344 w 303614"/>
                <a:gd name="connsiteY14" fmla="*/ 145435 h 275513"/>
                <a:gd name="connsiteX15" fmla="*/ 216797 w 303614"/>
                <a:gd name="connsiteY15" fmla="*/ 130982 h 275513"/>
                <a:gd name="connsiteX16" fmla="*/ 231251 w 303614"/>
                <a:gd name="connsiteY16" fmla="*/ 116529 h 275513"/>
                <a:gd name="connsiteX17" fmla="*/ 245704 w 303614"/>
                <a:gd name="connsiteY17" fmla="*/ 130982 h 275513"/>
                <a:gd name="connsiteX18" fmla="*/ 260156 w 303614"/>
                <a:gd name="connsiteY18" fmla="*/ 145435 h 275513"/>
                <a:gd name="connsiteX19" fmla="*/ 274610 w 303614"/>
                <a:gd name="connsiteY19" fmla="*/ 130982 h 275513"/>
                <a:gd name="connsiteX20" fmla="*/ 280030 w 303614"/>
                <a:gd name="connsiteY20" fmla="*/ 120142 h 275513"/>
                <a:gd name="connsiteX21" fmla="*/ 291773 w 303614"/>
                <a:gd name="connsiteY21" fmla="*/ 117432 h 275513"/>
                <a:gd name="connsiteX22" fmla="*/ 303516 w 303614"/>
                <a:gd name="connsiteY22" fmla="*/ 132788 h 275513"/>
                <a:gd name="connsiteX23" fmla="*/ 303516 w 303614"/>
                <a:gd name="connsiteY23" fmla="*/ 275513 h 275513"/>
                <a:gd name="connsiteX24" fmla="*/ 91236 w 303614"/>
                <a:gd name="connsiteY24" fmla="*/ 275513 h 275513"/>
                <a:gd name="connsiteX25" fmla="*/ 4517 w 303614"/>
                <a:gd name="connsiteY25" fmla="*/ 213184 h 275513"/>
                <a:gd name="connsiteX26" fmla="*/ 0 w 303614"/>
                <a:gd name="connsiteY26" fmla="*/ 203247 h 275513"/>
                <a:gd name="connsiteX27" fmla="*/ 5420 w 303614"/>
                <a:gd name="connsiteY27" fmla="*/ 194214 h 275513"/>
                <a:gd name="connsiteX28" fmla="*/ 5420 w 303614"/>
                <a:gd name="connsiteY28" fmla="*/ 194214 h 27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4" h="275513">
                  <a:moveTo>
                    <a:pt x="5420" y="194214"/>
                  </a:moveTo>
                  <a:lnTo>
                    <a:pt x="8130" y="193311"/>
                  </a:lnTo>
                  <a:cubicBezTo>
                    <a:pt x="11743" y="191504"/>
                    <a:pt x="15357" y="191504"/>
                    <a:pt x="18970" y="193311"/>
                  </a:cubicBezTo>
                  <a:lnTo>
                    <a:pt x="79492" y="229444"/>
                  </a:lnTo>
                  <a:cubicBezTo>
                    <a:pt x="84009" y="232154"/>
                    <a:pt x="89429" y="232154"/>
                    <a:pt x="93946" y="229444"/>
                  </a:cubicBezTo>
                  <a:cubicBezTo>
                    <a:pt x="98462" y="226733"/>
                    <a:pt x="101172" y="222217"/>
                    <a:pt x="101172" y="216797"/>
                  </a:cubicBezTo>
                  <a:lnTo>
                    <a:pt x="101172" y="14453"/>
                  </a:lnTo>
                  <a:cubicBezTo>
                    <a:pt x="101172" y="6323"/>
                    <a:pt x="107495" y="0"/>
                    <a:pt x="115625" y="0"/>
                  </a:cubicBezTo>
                  <a:cubicBezTo>
                    <a:pt x="123755" y="0"/>
                    <a:pt x="130079" y="6323"/>
                    <a:pt x="130079" y="14453"/>
                  </a:cubicBezTo>
                  <a:lnTo>
                    <a:pt x="130079" y="130982"/>
                  </a:lnTo>
                  <a:cubicBezTo>
                    <a:pt x="130079" y="139112"/>
                    <a:pt x="136402" y="145435"/>
                    <a:pt x="144531" y="145435"/>
                  </a:cubicBezTo>
                  <a:cubicBezTo>
                    <a:pt x="152662" y="145435"/>
                    <a:pt x="158985" y="139112"/>
                    <a:pt x="158985" y="130982"/>
                  </a:cubicBezTo>
                  <a:cubicBezTo>
                    <a:pt x="158985" y="122852"/>
                    <a:pt x="165308" y="116529"/>
                    <a:pt x="173438" y="116529"/>
                  </a:cubicBezTo>
                  <a:cubicBezTo>
                    <a:pt x="181568" y="116529"/>
                    <a:pt x="187891" y="122852"/>
                    <a:pt x="187891" y="130982"/>
                  </a:cubicBezTo>
                  <a:cubicBezTo>
                    <a:pt x="187891" y="139112"/>
                    <a:pt x="194214" y="145435"/>
                    <a:pt x="202344" y="145435"/>
                  </a:cubicBezTo>
                  <a:cubicBezTo>
                    <a:pt x="210474" y="145435"/>
                    <a:pt x="216797" y="139112"/>
                    <a:pt x="216797" y="130982"/>
                  </a:cubicBezTo>
                  <a:cubicBezTo>
                    <a:pt x="216797" y="122852"/>
                    <a:pt x="223121" y="116529"/>
                    <a:pt x="231251" y="116529"/>
                  </a:cubicBezTo>
                  <a:cubicBezTo>
                    <a:pt x="239380" y="116529"/>
                    <a:pt x="245704" y="122852"/>
                    <a:pt x="245704" y="130982"/>
                  </a:cubicBezTo>
                  <a:cubicBezTo>
                    <a:pt x="245704" y="139112"/>
                    <a:pt x="252027" y="145435"/>
                    <a:pt x="260156" y="145435"/>
                  </a:cubicBezTo>
                  <a:cubicBezTo>
                    <a:pt x="268287" y="145435"/>
                    <a:pt x="274610" y="139112"/>
                    <a:pt x="274610" y="130982"/>
                  </a:cubicBezTo>
                  <a:cubicBezTo>
                    <a:pt x="274610" y="126465"/>
                    <a:pt x="276417" y="122852"/>
                    <a:pt x="280030" y="120142"/>
                  </a:cubicBezTo>
                  <a:cubicBezTo>
                    <a:pt x="283643" y="117432"/>
                    <a:pt x="287256" y="116529"/>
                    <a:pt x="291773" y="117432"/>
                  </a:cubicBezTo>
                  <a:cubicBezTo>
                    <a:pt x="299000" y="119239"/>
                    <a:pt x="304419" y="125562"/>
                    <a:pt x="303516" y="132788"/>
                  </a:cubicBezTo>
                  <a:lnTo>
                    <a:pt x="303516" y="275513"/>
                  </a:lnTo>
                  <a:lnTo>
                    <a:pt x="91236" y="275513"/>
                  </a:lnTo>
                  <a:lnTo>
                    <a:pt x="4517" y="213184"/>
                  </a:lnTo>
                  <a:cubicBezTo>
                    <a:pt x="1807" y="211377"/>
                    <a:pt x="0" y="206861"/>
                    <a:pt x="0" y="203247"/>
                  </a:cubicBezTo>
                  <a:cubicBezTo>
                    <a:pt x="0" y="199634"/>
                    <a:pt x="1807" y="196021"/>
                    <a:pt x="5420" y="194214"/>
                  </a:cubicBezTo>
                  <a:lnTo>
                    <a:pt x="5420" y="194214"/>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40" name="Graphic 2">
              <a:extLst>
                <a:ext uri="{FF2B5EF4-FFF2-40B4-BE49-F238E27FC236}">
                  <a16:creationId xmlns:a16="http://schemas.microsoft.com/office/drawing/2014/main" id="{06150730-83FD-36C8-9D78-E18CAE8FD5CC}"/>
                </a:ext>
              </a:extLst>
            </p:cNvPr>
            <p:cNvGrpSpPr/>
            <p:nvPr/>
          </p:nvGrpSpPr>
          <p:grpSpPr>
            <a:xfrm>
              <a:off x="7257599" y="768348"/>
              <a:ext cx="868457" cy="867509"/>
              <a:chOff x="7257599" y="768348"/>
              <a:chExt cx="868457" cy="867509"/>
            </a:xfrm>
            <a:grpFill/>
          </p:grpSpPr>
          <p:sp>
            <p:nvSpPr>
              <p:cNvPr id="41" name="Freeform 40">
                <a:extLst>
                  <a:ext uri="{FF2B5EF4-FFF2-40B4-BE49-F238E27FC236}">
                    <a16:creationId xmlns:a16="http://schemas.microsoft.com/office/drawing/2014/main" id="{E2CE06F2-A8EC-D4E2-A6E3-05130D84289A}"/>
                  </a:ext>
                </a:extLst>
              </p:cNvPr>
              <p:cNvSpPr/>
              <p:nvPr/>
            </p:nvSpPr>
            <p:spPr>
              <a:xfrm>
                <a:off x="7257599" y="768348"/>
                <a:ext cx="868457" cy="867509"/>
              </a:xfrm>
              <a:custGeom>
                <a:avLst/>
                <a:gdLst>
                  <a:gd name="connsiteX0" fmla="*/ 0 w 868457"/>
                  <a:gd name="connsiteY0" fmla="*/ 621711 h 867509"/>
                  <a:gd name="connsiteX1" fmla="*/ 61426 w 868457"/>
                  <a:gd name="connsiteY1" fmla="*/ 704816 h 867509"/>
                  <a:gd name="connsiteX2" fmla="*/ 158984 w 868457"/>
                  <a:gd name="connsiteY2" fmla="*/ 670490 h 867509"/>
                  <a:gd name="connsiteX3" fmla="*/ 350489 w 868457"/>
                  <a:gd name="connsiteY3" fmla="*/ 758113 h 867509"/>
                  <a:gd name="connsiteX4" fmla="*/ 347779 w 868457"/>
                  <a:gd name="connsiteY4" fmla="*/ 780696 h 867509"/>
                  <a:gd name="connsiteX5" fmla="*/ 395655 w 868457"/>
                  <a:gd name="connsiteY5" fmla="*/ 858381 h 867509"/>
                  <a:gd name="connsiteX6" fmla="*/ 485987 w 868457"/>
                  <a:gd name="connsiteY6" fmla="*/ 850251 h 867509"/>
                  <a:gd name="connsiteX7" fmla="*/ 468824 w 868457"/>
                  <a:gd name="connsiteY7" fmla="*/ 826765 h 867509"/>
                  <a:gd name="connsiteX8" fmla="*/ 434497 w 868457"/>
                  <a:gd name="connsiteY8" fmla="*/ 838508 h 867509"/>
                  <a:gd name="connsiteX9" fmla="*/ 386621 w 868457"/>
                  <a:gd name="connsiteY9" fmla="*/ 812312 h 867509"/>
                  <a:gd name="connsiteX10" fmla="*/ 382105 w 868457"/>
                  <a:gd name="connsiteY10" fmla="*/ 758113 h 867509"/>
                  <a:gd name="connsiteX11" fmla="*/ 383008 w 868457"/>
                  <a:gd name="connsiteY11" fmla="*/ 746370 h 867509"/>
                  <a:gd name="connsiteX12" fmla="*/ 374878 w 868457"/>
                  <a:gd name="connsiteY12" fmla="*/ 737336 h 867509"/>
                  <a:gd name="connsiteX13" fmla="*/ 171631 w 868457"/>
                  <a:gd name="connsiteY13" fmla="*/ 644294 h 867509"/>
                  <a:gd name="connsiteX14" fmla="*/ 170727 w 868457"/>
                  <a:gd name="connsiteY14" fmla="*/ 595515 h 867509"/>
                  <a:gd name="connsiteX15" fmla="*/ 282740 w 868457"/>
                  <a:gd name="connsiteY15" fmla="*/ 534089 h 867509"/>
                  <a:gd name="connsiteX16" fmla="*/ 269190 w 868457"/>
                  <a:gd name="connsiteY16" fmla="*/ 508796 h 867509"/>
                  <a:gd name="connsiteX17" fmla="*/ 158081 w 868457"/>
                  <a:gd name="connsiteY17" fmla="*/ 569318 h 867509"/>
                  <a:gd name="connsiteX18" fmla="*/ 102978 w 868457"/>
                  <a:gd name="connsiteY18" fmla="*/ 535896 h 867509"/>
                  <a:gd name="connsiteX19" fmla="*/ 102978 w 868457"/>
                  <a:gd name="connsiteY19" fmla="*/ 330842 h 867509"/>
                  <a:gd name="connsiteX20" fmla="*/ 149951 w 868457"/>
                  <a:gd name="connsiteY20" fmla="*/ 306452 h 867509"/>
                  <a:gd name="connsiteX21" fmla="*/ 270093 w 868457"/>
                  <a:gd name="connsiteY21" fmla="*/ 366974 h 867509"/>
                  <a:gd name="connsiteX22" fmla="*/ 282740 w 868457"/>
                  <a:gd name="connsiteY22" fmla="*/ 340778 h 867509"/>
                  <a:gd name="connsiteX23" fmla="*/ 166211 w 868457"/>
                  <a:gd name="connsiteY23" fmla="*/ 282966 h 867509"/>
                  <a:gd name="connsiteX24" fmla="*/ 171631 w 868457"/>
                  <a:gd name="connsiteY24" fmla="*/ 223346 h 867509"/>
                  <a:gd name="connsiteX25" fmla="*/ 363135 w 868457"/>
                  <a:gd name="connsiteY25" fmla="*/ 135724 h 867509"/>
                  <a:gd name="connsiteX26" fmla="*/ 420044 w 868457"/>
                  <a:gd name="connsiteY26" fmla="*/ 172760 h 867509"/>
                  <a:gd name="connsiteX27" fmla="*/ 420044 w 868457"/>
                  <a:gd name="connsiteY27" fmla="*/ 245929 h 867509"/>
                  <a:gd name="connsiteX28" fmla="*/ 448950 w 868457"/>
                  <a:gd name="connsiteY28" fmla="*/ 245929 h 867509"/>
                  <a:gd name="connsiteX29" fmla="*/ 448950 w 868457"/>
                  <a:gd name="connsiteY29" fmla="*/ 172760 h 867509"/>
                  <a:gd name="connsiteX30" fmla="*/ 505860 w 868457"/>
                  <a:gd name="connsiteY30" fmla="*/ 135724 h 867509"/>
                  <a:gd name="connsiteX31" fmla="*/ 697364 w 868457"/>
                  <a:gd name="connsiteY31" fmla="*/ 223346 h 867509"/>
                  <a:gd name="connsiteX32" fmla="*/ 698267 w 868457"/>
                  <a:gd name="connsiteY32" fmla="*/ 272126 h 867509"/>
                  <a:gd name="connsiteX33" fmla="*/ 586255 w 868457"/>
                  <a:gd name="connsiteY33" fmla="*/ 333551 h 867509"/>
                  <a:gd name="connsiteX34" fmla="*/ 599805 w 868457"/>
                  <a:gd name="connsiteY34" fmla="*/ 358844 h 867509"/>
                  <a:gd name="connsiteX35" fmla="*/ 710914 w 868457"/>
                  <a:gd name="connsiteY35" fmla="*/ 298322 h 867509"/>
                  <a:gd name="connsiteX36" fmla="*/ 766017 w 868457"/>
                  <a:gd name="connsiteY36" fmla="*/ 331745 h 867509"/>
                  <a:gd name="connsiteX37" fmla="*/ 766017 w 868457"/>
                  <a:gd name="connsiteY37" fmla="*/ 536799 h 867509"/>
                  <a:gd name="connsiteX38" fmla="*/ 710914 w 868457"/>
                  <a:gd name="connsiteY38" fmla="*/ 570222 h 867509"/>
                  <a:gd name="connsiteX39" fmla="*/ 734400 w 868457"/>
                  <a:gd name="connsiteY39" fmla="*/ 587385 h 867509"/>
                  <a:gd name="connsiteX40" fmla="*/ 808473 w 868457"/>
                  <a:gd name="connsiteY40" fmla="*/ 571125 h 867509"/>
                  <a:gd name="connsiteX41" fmla="*/ 835572 w 868457"/>
                  <a:gd name="connsiteY41" fmla="*/ 641584 h 867509"/>
                  <a:gd name="connsiteX42" fmla="*/ 769629 w 868457"/>
                  <a:gd name="connsiteY42" fmla="*/ 678620 h 867509"/>
                  <a:gd name="connsiteX43" fmla="*/ 764210 w 868457"/>
                  <a:gd name="connsiteY43" fmla="*/ 706623 h 867509"/>
                  <a:gd name="connsiteX44" fmla="*/ 781373 w 868457"/>
                  <a:gd name="connsiteY44" fmla="*/ 708430 h 867509"/>
                  <a:gd name="connsiteX45" fmla="*/ 867189 w 868457"/>
                  <a:gd name="connsiteY45" fmla="*/ 628938 h 867509"/>
                  <a:gd name="connsiteX46" fmla="*/ 795826 w 868457"/>
                  <a:gd name="connsiteY46" fmla="*/ 535896 h 867509"/>
                  <a:gd name="connsiteX47" fmla="*/ 795826 w 868457"/>
                  <a:gd name="connsiteY47" fmla="*/ 330842 h 867509"/>
                  <a:gd name="connsiteX48" fmla="*/ 868092 w 868457"/>
                  <a:gd name="connsiteY48" fmla="*/ 253156 h 867509"/>
                  <a:gd name="connsiteX49" fmla="*/ 811183 w 868457"/>
                  <a:gd name="connsiteY49" fmla="*/ 163727 h 867509"/>
                  <a:gd name="connsiteX50" fmla="*/ 710010 w 868457"/>
                  <a:gd name="connsiteY50" fmla="*/ 197150 h 867509"/>
                  <a:gd name="connsiteX51" fmla="*/ 518506 w 868457"/>
                  <a:gd name="connsiteY51" fmla="*/ 109528 h 867509"/>
                  <a:gd name="connsiteX52" fmla="*/ 485083 w 868457"/>
                  <a:gd name="connsiteY52" fmla="*/ 15582 h 867509"/>
                  <a:gd name="connsiteX53" fmla="*/ 385718 w 868457"/>
                  <a:gd name="connsiteY53" fmla="*/ 15582 h 867509"/>
                  <a:gd name="connsiteX54" fmla="*/ 352295 w 868457"/>
                  <a:gd name="connsiteY54" fmla="*/ 109528 h 867509"/>
                  <a:gd name="connsiteX55" fmla="*/ 160791 w 868457"/>
                  <a:gd name="connsiteY55" fmla="*/ 197150 h 867509"/>
                  <a:gd name="connsiteX56" fmla="*/ 59619 w 868457"/>
                  <a:gd name="connsiteY56" fmla="*/ 163727 h 867509"/>
                  <a:gd name="connsiteX57" fmla="*/ 2710 w 868457"/>
                  <a:gd name="connsiteY57" fmla="*/ 253156 h 867509"/>
                  <a:gd name="connsiteX58" fmla="*/ 74976 w 868457"/>
                  <a:gd name="connsiteY58" fmla="*/ 330842 h 867509"/>
                  <a:gd name="connsiteX59" fmla="*/ 74976 w 868457"/>
                  <a:gd name="connsiteY59" fmla="*/ 535896 h 867509"/>
                  <a:gd name="connsiteX60" fmla="*/ 0 w 868457"/>
                  <a:gd name="connsiteY60" fmla="*/ 621711 h 867509"/>
                  <a:gd name="connsiteX61" fmla="*/ 780469 w 868457"/>
                  <a:gd name="connsiteY61" fmla="*/ 188117 h 867509"/>
                  <a:gd name="connsiteX62" fmla="*/ 838282 w 868457"/>
                  <a:gd name="connsiteY62" fmla="*/ 245929 h 867509"/>
                  <a:gd name="connsiteX63" fmla="*/ 780469 w 868457"/>
                  <a:gd name="connsiteY63" fmla="*/ 303742 h 867509"/>
                  <a:gd name="connsiteX64" fmla="*/ 722657 w 868457"/>
                  <a:gd name="connsiteY64" fmla="*/ 245929 h 867509"/>
                  <a:gd name="connsiteX65" fmla="*/ 780469 w 868457"/>
                  <a:gd name="connsiteY65" fmla="*/ 188117 h 867509"/>
                  <a:gd name="connsiteX66" fmla="*/ 433594 w 868457"/>
                  <a:gd name="connsiteY66" fmla="*/ 29132 h 867509"/>
                  <a:gd name="connsiteX67" fmla="*/ 491407 w 868457"/>
                  <a:gd name="connsiteY67" fmla="*/ 86945 h 867509"/>
                  <a:gd name="connsiteX68" fmla="*/ 433594 w 868457"/>
                  <a:gd name="connsiteY68" fmla="*/ 144757 h 867509"/>
                  <a:gd name="connsiteX69" fmla="*/ 375782 w 868457"/>
                  <a:gd name="connsiteY69" fmla="*/ 86945 h 867509"/>
                  <a:gd name="connsiteX70" fmla="*/ 433594 w 868457"/>
                  <a:gd name="connsiteY70" fmla="*/ 29132 h 867509"/>
                  <a:gd name="connsiteX71" fmla="*/ 144531 w 868457"/>
                  <a:gd name="connsiteY71" fmla="*/ 621711 h 867509"/>
                  <a:gd name="connsiteX72" fmla="*/ 86719 w 868457"/>
                  <a:gd name="connsiteY72" fmla="*/ 679524 h 867509"/>
                  <a:gd name="connsiteX73" fmla="*/ 28906 w 868457"/>
                  <a:gd name="connsiteY73" fmla="*/ 621711 h 867509"/>
                  <a:gd name="connsiteX74" fmla="*/ 86719 w 868457"/>
                  <a:gd name="connsiteY74" fmla="*/ 563898 h 867509"/>
                  <a:gd name="connsiteX75" fmla="*/ 144531 w 868457"/>
                  <a:gd name="connsiteY75" fmla="*/ 621711 h 867509"/>
                  <a:gd name="connsiteX76" fmla="*/ 28906 w 868457"/>
                  <a:gd name="connsiteY76" fmla="*/ 245929 h 867509"/>
                  <a:gd name="connsiteX77" fmla="*/ 86719 w 868457"/>
                  <a:gd name="connsiteY77" fmla="*/ 188117 h 867509"/>
                  <a:gd name="connsiteX78" fmla="*/ 144531 w 868457"/>
                  <a:gd name="connsiteY78" fmla="*/ 245929 h 867509"/>
                  <a:gd name="connsiteX79" fmla="*/ 86719 w 868457"/>
                  <a:gd name="connsiteY79" fmla="*/ 303742 h 867509"/>
                  <a:gd name="connsiteX80" fmla="*/ 28906 w 868457"/>
                  <a:gd name="connsiteY80" fmla="*/ 245929 h 86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68457" h="867509">
                    <a:moveTo>
                      <a:pt x="0" y="621711"/>
                    </a:moveTo>
                    <a:cubicBezTo>
                      <a:pt x="0" y="659650"/>
                      <a:pt x="25293" y="693073"/>
                      <a:pt x="61426" y="704816"/>
                    </a:cubicBezTo>
                    <a:cubicBezTo>
                      <a:pt x="97559" y="716560"/>
                      <a:pt x="137304" y="702107"/>
                      <a:pt x="158984" y="670490"/>
                    </a:cubicBezTo>
                    <a:lnTo>
                      <a:pt x="350489" y="758113"/>
                    </a:lnTo>
                    <a:cubicBezTo>
                      <a:pt x="348682" y="765339"/>
                      <a:pt x="347779" y="772566"/>
                      <a:pt x="347779" y="780696"/>
                    </a:cubicBezTo>
                    <a:cubicBezTo>
                      <a:pt x="347779" y="813215"/>
                      <a:pt x="366748" y="843928"/>
                      <a:pt x="395655" y="858381"/>
                    </a:cubicBezTo>
                    <a:cubicBezTo>
                      <a:pt x="425464" y="872835"/>
                      <a:pt x="459790" y="870125"/>
                      <a:pt x="485987" y="850251"/>
                    </a:cubicBezTo>
                    <a:lnTo>
                      <a:pt x="468824" y="826765"/>
                    </a:lnTo>
                    <a:cubicBezTo>
                      <a:pt x="458887" y="833992"/>
                      <a:pt x="446240" y="838508"/>
                      <a:pt x="434497" y="838508"/>
                    </a:cubicBezTo>
                    <a:cubicBezTo>
                      <a:pt x="415528" y="838508"/>
                      <a:pt x="396558" y="828572"/>
                      <a:pt x="386621" y="812312"/>
                    </a:cubicBezTo>
                    <a:cubicBezTo>
                      <a:pt x="375782" y="796052"/>
                      <a:pt x="373975" y="775276"/>
                      <a:pt x="382105" y="758113"/>
                    </a:cubicBezTo>
                    <a:cubicBezTo>
                      <a:pt x="383912" y="754499"/>
                      <a:pt x="384815" y="749982"/>
                      <a:pt x="383008" y="746370"/>
                    </a:cubicBezTo>
                    <a:cubicBezTo>
                      <a:pt x="382105" y="742756"/>
                      <a:pt x="378491" y="739143"/>
                      <a:pt x="374878" y="737336"/>
                    </a:cubicBezTo>
                    <a:lnTo>
                      <a:pt x="171631" y="644294"/>
                    </a:lnTo>
                    <a:cubicBezTo>
                      <a:pt x="176148" y="628034"/>
                      <a:pt x="175244" y="611774"/>
                      <a:pt x="170727" y="595515"/>
                    </a:cubicBezTo>
                    <a:lnTo>
                      <a:pt x="282740" y="534089"/>
                    </a:lnTo>
                    <a:lnTo>
                      <a:pt x="269190" y="508796"/>
                    </a:lnTo>
                    <a:lnTo>
                      <a:pt x="158081" y="569318"/>
                    </a:lnTo>
                    <a:cubicBezTo>
                      <a:pt x="144531" y="551252"/>
                      <a:pt x="124658" y="539509"/>
                      <a:pt x="102978" y="535896"/>
                    </a:cubicBezTo>
                    <a:lnTo>
                      <a:pt x="102978" y="330842"/>
                    </a:lnTo>
                    <a:cubicBezTo>
                      <a:pt x="121045" y="328132"/>
                      <a:pt x="137304" y="319099"/>
                      <a:pt x="149951" y="306452"/>
                    </a:cubicBezTo>
                    <a:lnTo>
                      <a:pt x="270093" y="366974"/>
                    </a:lnTo>
                    <a:lnTo>
                      <a:pt x="282740" y="340778"/>
                    </a:lnTo>
                    <a:lnTo>
                      <a:pt x="166211" y="282966"/>
                    </a:lnTo>
                    <a:cubicBezTo>
                      <a:pt x="175244" y="263996"/>
                      <a:pt x="177051" y="243219"/>
                      <a:pt x="171631" y="223346"/>
                    </a:cubicBezTo>
                    <a:lnTo>
                      <a:pt x="363135" y="135724"/>
                    </a:lnTo>
                    <a:cubicBezTo>
                      <a:pt x="376685" y="155597"/>
                      <a:pt x="397461" y="168244"/>
                      <a:pt x="420044" y="172760"/>
                    </a:cubicBezTo>
                    <a:lnTo>
                      <a:pt x="420044" y="245929"/>
                    </a:lnTo>
                    <a:lnTo>
                      <a:pt x="448950" y="245929"/>
                    </a:lnTo>
                    <a:lnTo>
                      <a:pt x="448950" y="172760"/>
                    </a:lnTo>
                    <a:cubicBezTo>
                      <a:pt x="472437" y="169147"/>
                      <a:pt x="493213" y="155597"/>
                      <a:pt x="505860" y="135724"/>
                    </a:cubicBezTo>
                    <a:lnTo>
                      <a:pt x="697364" y="223346"/>
                    </a:lnTo>
                    <a:cubicBezTo>
                      <a:pt x="692847" y="239606"/>
                      <a:pt x="693751" y="255866"/>
                      <a:pt x="698267" y="272126"/>
                    </a:cubicBezTo>
                    <a:lnTo>
                      <a:pt x="586255" y="333551"/>
                    </a:lnTo>
                    <a:lnTo>
                      <a:pt x="599805" y="358844"/>
                    </a:lnTo>
                    <a:lnTo>
                      <a:pt x="710914" y="298322"/>
                    </a:lnTo>
                    <a:cubicBezTo>
                      <a:pt x="724463" y="316388"/>
                      <a:pt x="744337" y="328132"/>
                      <a:pt x="766017" y="331745"/>
                    </a:cubicBezTo>
                    <a:lnTo>
                      <a:pt x="766017" y="536799"/>
                    </a:lnTo>
                    <a:cubicBezTo>
                      <a:pt x="744337" y="540412"/>
                      <a:pt x="724463" y="552155"/>
                      <a:pt x="710914" y="570222"/>
                    </a:cubicBezTo>
                    <a:lnTo>
                      <a:pt x="734400" y="587385"/>
                    </a:lnTo>
                    <a:cubicBezTo>
                      <a:pt x="751563" y="564802"/>
                      <a:pt x="783179" y="557575"/>
                      <a:pt x="808473" y="571125"/>
                    </a:cubicBezTo>
                    <a:cubicBezTo>
                      <a:pt x="833766" y="584675"/>
                      <a:pt x="845509" y="614484"/>
                      <a:pt x="835572" y="641584"/>
                    </a:cubicBezTo>
                    <a:cubicBezTo>
                      <a:pt x="825636" y="668684"/>
                      <a:pt x="797633" y="684040"/>
                      <a:pt x="769629" y="678620"/>
                    </a:cubicBezTo>
                    <a:lnTo>
                      <a:pt x="764210" y="706623"/>
                    </a:lnTo>
                    <a:cubicBezTo>
                      <a:pt x="769629" y="707527"/>
                      <a:pt x="775953" y="708430"/>
                      <a:pt x="781373" y="708430"/>
                    </a:cubicBezTo>
                    <a:cubicBezTo>
                      <a:pt x="826539" y="708430"/>
                      <a:pt x="863575" y="674104"/>
                      <a:pt x="867189" y="628938"/>
                    </a:cubicBezTo>
                    <a:cubicBezTo>
                      <a:pt x="870802" y="583772"/>
                      <a:pt x="840089" y="544025"/>
                      <a:pt x="795826" y="535896"/>
                    </a:cubicBezTo>
                    <a:lnTo>
                      <a:pt x="795826" y="330842"/>
                    </a:lnTo>
                    <a:cubicBezTo>
                      <a:pt x="834669" y="324518"/>
                      <a:pt x="864478" y="291999"/>
                      <a:pt x="868092" y="253156"/>
                    </a:cubicBezTo>
                    <a:cubicBezTo>
                      <a:pt x="871705" y="213410"/>
                      <a:pt x="848219" y="177277"/>
                      <a:pt x="811183" y="163727"/>
                    </a:cubicBezTo>
                    <a:cubicBezTo>
                      <a:pt x="774146" y="150177"/>
                      <a:pt x="732594" y="163727"/>
                      <a:pt x="710010" y="197150"/>
                    </a:cubicBezTo>
                    <a:lnTo>
                      <a:pt x="518506" y="109528"/>
                    </a:lnTo>
                    <a:cubicBezTo>
                      <a:pt x="528443" y="74298"/>
                      <a:pt x="514893" y="37262"/>
                      <a:pt x="485083" y="15582"/>
                    </a:cubicBezTo>
                    <a:cubicBezTo>
                      <a:pt x="455274" y="-5194"/>
                      <a:pt x="415528" y="-5194"/>
                      <a:pt x="385718" y="15582"/>
                    </a:cubicBezTo>
                    <a:cubicBezTo>
                      <a:pt x="355908" y="36359"/>
                      <a:pt x="342359" y="74298"/>
                      <a:pt x="352295" y="109528"/>
                    </a:cubicBezTo>
                    <a:lnTo>
                      <a:pt x="160791" y="197150"/>
                    </a:lnTo>
                    <a:cubicBezTo>
                      <a:pt x="138208" y="164630"/>
                      <a:pt x="97559" y="151080"/>
                      <a:pt x="59619" y="163727"/>
                    </a:cubicBezTo>
                    <a:cubicBezTo>
                      <a:pt x="22583" y="177277"/>
                      <a:pt x="-904" y="213410"/>
                      <a:pt x="2710" y="253156"/>
                    </a:cubicBezTo>
                    <a:cubicBezTo>
                      <a:pt x="6323" y="292902"/>
                      <a:pt x="36133" y="324518"/>
                      <a:pt x="74976" y="330842"/>
                    </a:cubicBezTo>
                    <a:lnTo>
                      <a:pt x="74976" y="535896"/>
                    </a:lnTo>
                    <a:cubicBezTo>
                      <a:pt x="30713" y="543122"/>
                      <a:pt x="0" y="579255"/>
                      <a:pt x="0" y="621711"/>
                    </a:cubicBezTo>
                    <a:close/>
                    <a:moveTo>
                      <a:pt x="780469" y="188117"/>
                    </a:moveTo>
                    <a:cubicBezTo>
                      <a:pt x="812086" y="188117"/>
                      <a:pt x="838282" y="214313"/>
                      <a:pt x="838282" y="245929"/>
                    </a:cubicBezTo>
                    <a:cubicBezTo>
                      <a:pt x="838282" y="277545"/>
                      <a:pt x="812086" y="303742"/>
                      <a:pt x="780469" y="303742"/>
                    </a:cubicBezTo>
                    <a:cubicBezTo>
                      <a:pt x="748853" y="303742"/>
                      <a:pt x="722657" y="277545"/>
                      <a:pt x="722657" y="245929"/>
                    </a:cubicBezTo>
                    <a:cubicBezTo>
                      <a:pt x="722657" y="213410"/>
                      <a:pt x="748853" y="188117"/>
                      <a:pt x="780469" y="188117"/>
                    </a:cubicBezTo>
                    <a:close/>
                    <a:moveTo>
                      <a:pt x="433594" y="29132"/>
                    </a:moveTo>
                    <a:cubicBezTo>
                      <a:pt x="465211" y="29132"/>
                      <a:pt x="491407" y="55329"/>
                      <a:pt x="491407" y="86945"/>
                    </a:cubicBezTo>
                    <a:cubicBezTo>
                      <a:pt x="491407" y="118561"/>
                      <a:pt x="465211" y="144757"/>
                      <a:pt x="433594" y="144757"/>
                    </a:cubicBezTo>
                    <a:cubicBezTo>
                      <a:pt x="401978" y="144757"/>
                      <a:pt x="375782" y="118561"/>
                      <a:pt x="375782" y="86945"/>
                    </a:cubicBezTo>
                    <a:cubicBezTo>
                      <a:pt x="375782" y="55329"/>
                      <a:pt x="401978" y="29132"/>
                      <a:pt x="433594" y="29132"/>
                    </a:cubicBezTo>
                    <a:close/>
                    <a:moveTo>
                      <a:pt x="144531" y="621711"/>
                    </a:moveTo>
                    <a:cubicBezTo>
                      <a:pt x="144531" y="653328"/>
                      <a:pt x="118335" y="679524"/>
                      <a:pt x="86719" y="679524"/>
                    </a:cubicBezTo>
                    <a:cubicBezTo>
                      <a:pt x="55102" y="679524"/>
                      <a:pt x="28906" y="653328"/>
                      <a:pt x="28906" y="621711"/>
                    </a:cubicBezTo>
                    <a:cubicBezTo>
                      <a:pt x="28906" y="590095"/>
                      <a:pt x="55102" y="563898"/>
                      <a:pt x="86719" y="563898"/>
                    </a:cubicBezTo>
                    <a:cubicBezTo>
                      <a:pt x="118335" y="563898"/>
                      <a:pt x="144531" y="589191"/>
                      <a:pt x="144531" y="621711"/>
                    </a:cubicBezTo>
                    <a:close/>
                    <a:moveTo>
                      <a:pt x="28906" y="245929"/>
                    </a:moveTo>
                    <a:cubicBezTo>
                      <a:pt x="28906" y="214313"/>
                      <a:pt x="55102" y="188117"/>
                      <a:pt x="86719" y="188117"/>
                    </a:cubicBezTo>
                    <a:cubicBezTo>
                      <a:pt x="118335" y="188117"/>
                      <a:pt x="144531" y="214313"/>
                      <a:pt x="144531" y="245929"/>
                    </a:cubicBezTo>
                    <a:cubicBezTo>
                      <a:pt x="144531" y="277545"/>
                      <a:pt x="118335" y="303742"/>
                      <a:pt x="86719" y="303742"/>
                    </a:cubicBezTo>
                    <a:cubicBezTo>
                      <a:pt x="55102" y="303742"/>
                      <a:pt x="28906" y="277545"/>
                      <a:pt x="28906" y="24592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2" name="Freeform 41">
                <a:extLst>
                  <a:ext uri="{FF2B5EF4-FFF2-40B4-BE49-F238E27FC236}">
                    <a16:creationId xmlns:a16="http://schemas.microsoft.com/office/drawing/2014/main" id="{63CB47A0-1310-73F4-1D7D-C19DF5039122}"/>
                  </a:ext>
                </a:extLst>
              </p:cNvPr>
              <p:cNvSpPr/>
              <p:nvPr/>
            </p:nvSpPr>
            <p:spPr>
              <a:xfrm>
                <a:off x="7618928" y="1129902"/>
                <a:ext cx="144531" cy="144531"/>
              </a:xfrm>
              <a:custGeom>
                <a:avLst/>
                <a:gdLst>
                  <a:gd name="connsiteX0" fmla="*/ 72266 w 144531"/>
                  <a:gd name="connsiteY0" fmla="*/ 0 h 144531"/>
                  <a:gd name="connsiteX1" fmla="*/ 0 w 144531"/>
                  <a:gd name="connsiteY1" fmla="*/ 72266 h 144531"/>
                  <a:gd name="connsiteX2" fmla="*/ 72266 w 144531"/>
                  <a:gd name="connsiteY2" fmla="*/ 144531 h 144531"/>
                  <a:gd name="connsiteX3" fmla="*/ 144531 w 144531"/>
                  <a:gd name="connsiteY3" fmla="*/ 72266 h 144531"/>
                  <a:gd name="connsiteX4" fmla="*/ 72266 w 144531"/>
                  <a:gd name="connsiteY4" fmla="*/ 0 h 144531"/>
                  <a:gd name="connsiteX5" fmla="*/ 72266 w 144531"/>
                  <a:gd name="connsiteY5" fmla="*/ 115626 h 144531"/>
                  <a:gd name="connsiteX6" fmla="*/ 28906 w 144531"/>
                  <a:gd name="connsiteY6" fmla="*/ 72266 h 144531"/>
                  <a:gd name="connsiteX7" fmla="*/ 72266 w 144531"/>
                  <a:gd name="connsiteY7" fmla="*/ 28906 h 144531"/>
                  <a:gd name="connsiteX8" fmla="*/ 115625 w 144531"/>
                  <a:gd name="connsiteY8" fmla="*/ 72266 h 144531"/>
                  <a:gd name="connsiteX9" fmla="*/ 72266 w 144531"/>
                  <a:gd name="connsiteY9" fmla="*/ 115626 h 14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531" h="144531">
                    <a:moveTo>
                      <a:pt x="72266" y="0"/>
                    </a:moveTo>
                    <a:cubicBezTo>
                      <a:pt x="32519" y="0"/>
                      <a:pt x="0" y="32520"/>
                      <a:pt x="0" y="72266"/>
                    </a:cubicBezTo>
                    <a:cubicBezTo>
                      <a:pt x="0" y="112012"/>
                      <a:pt x="32519" y="144531"/>
                      <a:pt x="72266" y="144531"/>
                    </a:cubicBezTo>
                    <a:cubicBezTo>
                      <a:pt x="112012" y="144531"/>
                      <a:pt x="144531" y="112012"/>
                      <a:pt x="144531" y="72266"/>
                    </a:cubicBezTo>
                    <a:cubicBezTo>
                      <a:pt x="144531" y="31616"/>
                      <a:pt x="112012" y="0"/>
                      <a:pt x="72266" y="0"/>
                    </a:cubicBezTo>
                    <a:close/>
                    <a:moveTo>
                      <a:pt x="72266" y="115626"/>
                    </a:moveTo>
                    <a:cubicBezTo>
                      <a:pt x="48779" y="115626"/>
                      <a:pt x="28906" y="96656"/>
                      <a:pt x="28906" y="72266"/>
                    </a:cubicBezTo>
                    <a:cubicBezTo>
                      <a:pt x="28906" y="48780"/>
                      <a:pt x="47876" y="28906"/>
                      <a:pt x="72266" y="28906"/>
                    </a:cubicBezTo>
                    <a:cubicBezTo>
                      <a:pt x="96655" y="28906"/>
                      <a:pt x="115625" y="47876"/>
                      <a:pt x="115625" y="72266"/>
                    </a:cubicBezTo>
                    <a:cubicBezTo>
                      <a:pt x="115625" y="95752"/>
                      <a:pt x="96655" y="115626"/>
                      <a:pt x="72266" y="11562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3" name="Freeform 42">
                <a:extLst>
                  <a:ext uri="{FF2B5EF4-FFF2-40B4-BE49-F238E27FC236}">
                    <a16:creationId xmlns:a16="http://schemas.microsoft.com/office/drawing/2014/main" id="{5766C682-DE1F-0500-821D-F7D8BAACE270}"/>
                  </a:ext>
                </a:extLst>
              </p:cNvPr>
              <p:cNvSpPr/>
              <p:nvPr/>
            </p:nvSpPr>
            <p:spPr>
              <a:xfrm>
                <a:off x="7531306" y="1043183"/>
                <a:ext cx="317969" cy="317065"/>
              </a:xfrm>
              <a:custGeom>
                <a:avLst/>
                <a:gdLst>
                  <a:gd name="connsiteX0" fmla="*/ 27100 w 317969"/>
                  <a:gd name="connsiteY0" fmla="*/ 250220 h 317065"/>
                  <a:gd name="connsiteX1" fmla="*/ 67749 w 317969"/>
                  <a:gd name="connsiteY1" fmla="*/ 290870 h 317065"/>
                  <a:gd name="connsiteX2" fmla="*/ 88525 w 317969"/>
                  <a:gd name="connsiteY2" fmla="*/ 290870 h 317065"/>
                  <a:gd name="connsiteX3" fmla="*/ 103882 w 317969"/>
                  <a:gd name="connsiteY3" fmla="*/ 275513 h 317065"/>
                  <a:gd name="connsiteX4" fmla="*/ 116528 w 317969"/>
                  <a:gd name="connsiteY4" fmla="*/ 280933 h 317065"/>
                  <a:gd name="connsiteX5" fmla="*/ 116528 w 317969"/>
                  <a:gd name="connsiteY5" fmla="*/ 302613 h 317065"/>
                  <a:gd name="connsiteX6" fmla="*/ 130982 w 317969"/>
                  <a:gd name="connsiteY6" fmla="*/ 317066 h 317065"/>
                  <a:gd name="connsiteX7" fmla="*/ 174341 w 317969"/>
                  <a:gd name="connsiteY7" fmla="*/ 317066 h 317065"/>
                  <a:gd name="connsiteX8" fmla="*/ 174341 w 317969"/>
                  <a:gd name="connsiteY8" fmla="*/ 289063 h 317065"/>
                  <a:gd name="connsiteX9" fmla="*/ 145435 w 317969"/>
                  <a:gd name="connsiteY9" fmla="*/ 289063 h 317065"/>
                  <a:gd name="connsiteX10" fmla="*/ 145435 w 317969"/>
                  <a:gd name="connsiteY10" fmla="*/ 270996 h 317065"/>
                  <a:gd name="connsiteX11" fmla="*/ 134595 w 317969"/>
                  <a:gd name="connsiteY11" fmla="*/ 257447 h 317065"/>
                  <a:gd name="connsiteX12" fmla="*/ 108399 w 317969"/>
                  <a:gd name="connsiteY12" fmla="*/ 246607 h 317065"/>
                  <a:gd name="connsiteX13" fmla="*/ 91235 w 317969"/>
                  <a:gd name="connsiteY13" fmla="*/ 249317 h 317065"/>
                  <a:gd name="connsiteX14" fmla="*/ 78589 w 317969"/>
                  <a:gd name="connsiteY14" fmla="*/ 261963 h 317065"/>
                  <a:gd name="connsiteX15" fmla="*/ 57812 w 317969"/>
                  <a:gd name="connsiteY15" fmla="*/ 241187 h 317065"/>
                  <a:gd name="connsiteX16" fmla="*/ 70459 w 317969"/>
                  <a:gd name="connsiteY16" fmla="*/ 228540 h 317065"/>
                  <a:gd name="connsiteX17" fmla="*/ 73169 w 317969"/>
                  <a:gd name="connsiteY17" fmla="*/ 211377 h 317065"/>
                  <a:gd name="connsiteX18" fmla="*/ 62329 w 317969"/>
                  <a:gd name="connsiteY18" fmla="*/ 185181 h 317065"/>
                  <a:gd name="connsiteX19" fmla="*/ 48779 w 317969"/>
                  <a:gd name="connsiteY19" fmla="*/ 174341 h 317065"/>
                  <a:gd name="connsiteX20" fmla="*/ 30713 w 317969"/>
                  <a:gd name="connsiteY20" fmla="*/ 174341 h 317065"/>
                  <a:gd name="connsiteX21" fmla="*/ 30713 w 317969"/>
                  <a:gd name="connsiteY21" fmla="*/ 144531 h 317065"/>
                  <a:gd name="connsiteX22" fmla="*/ 48779 w 317969"/>
                  <a:gd name="connsiteY22" fmla="*/ 144531 h 317065"/>
                  <a:gd name="connsiteX23" fmla="*/ 62329 w 317969"/>
                  <a:gd name="connsiteY23" fmla="*/ 133691 h 317065"/>
                  <a:gd name="connsiteX24" fmla="*/ 73169 w 317969"/>
                  <a:gd name="connsiteY24" fmla="*/ 107495 h 317065"/>
                  <a:gd name="connsiteX25" fmla="*/ 70459 w 317969"/>
                  <a:gd name="connsiteY25" fmla="*/ 90332 h 317065"/>
                  <a:gd name="connsiteX26" fmla="*/ 57812 w 317969"/>
                  <a:gd name="connsiteY26" fmla="*/ 77685 h 317065"/>
                  <a:gd name="connsiteX27" fmla="*/ 78589 w 317969"/>
                  <a:gd name="connsiteY27" fmla="*/ 56909 h 317065"/>
                  <a:gd name="connsiteX28" fmla="*/ 91235 w 317969"/>
                  <a:gd name="connsiteY28" fmla="*/ 69556 h 317065"/>
                  <a:gd name="connsiteX29" fmla="*/ 108399 w 317969"/>
                  <a:gd name="connsiteY29" fmla="*/ 72266 h 317065"/>
                  <a:gd name="connsiteX30" fmla="*/ 134595 w 317969"/>
                  <a:gd name="connsiteY30" fmla="*/ 61426 h 317065"/>
                  <a:gd name="connsiteX31" fmla="*/ 145435 w 317969"/>
                  <a:gd name="connsiteY31" fmla="*/ 47876 h 317065"/>
                  <a:gd name="connsiteX32" fmla="*/ 145435 w 317969"/>
                  <a:gd name="connsiteY32" fmla="*/ 29809 h 317065"/>
                  <a:gd name="connsiteX33" fmla="*/ 174341 w 317969"/>
                  <a:gd name="connsiteY33" fmla="*/ 29809 h 317065"/>
                  <a:gd name="connsiteX34" fmla="*/ 174341 w 317969"/>
                  <a:gd name="connsiteY34" fmla="*/ 47876 h 317065"/>
                  <a:gd name="connsiteX35" fmla="*/ 185181 w 317969"/>
                  <a:gd name="connsiteY35" fmla="*/ 61426 h 317065"/>
                  <a:gd name="connsiteX36" fmla="*/ 211377 w 317969"/>
                  <a:gd name="connsiteY36" fmla="*/ 72266 h 317065"/>
                  <a:gd name="connsiteX37" fmla="*/ 228540 w 317969"/>
                  <a:gd name="connsiteY37" fmla="*/ 69556 h 317065"/>
                  <a:gd name="connsiteX38" fmla="*/ 241187 w 317969"/>
                  <a:gd name="connsiteY38" fmla="*/ 56909 h 317065"/>
                  <a:gd name="connsiteX39" fmla="*/ 261963 w 317969"/>
                  <a:gd name="connsiteY39" fmla="*/ 77685 h 317065"/>
                  <a:gd name="connsiteX40" fmla="*/ 249317 w 317969"/>
                  <a:gd name="connsiteY40" fmla="*/ 90332 h 317065"/>
                  <a:gd name="connsiteX41" fmla="*/ 246607 w 317969"/>
                  <a:gd name="connsiteY41" fmla="*/ 107495 h 317065"/>
                  <a:gd name="connsiteX42" fmla="*/ 257447 w 317969"/>
                  <a:gd name="connsiteY42" fmla="*/ 133691 h 317065"/>
                  <a:gd name="connsiteX43" fmla="*/ 270996 w 317969"/>
                  <a:gd name="connsiteY43" fmla="*/ 144531 h 317065"/>
                  <a:gd name="connsiteX44" fmla="*/ 289063 w 317969"/>
                  <a:gd name="connsiteY44" fmla="*/ 144531 h 317065"/>
                  <a:gd name="connsiteX45" fmla="*/ 289063 w 317969"/>
                  <a:gd name="connsiteY45" fmla="*/ 187891 h 317065"/>
                  <a:gd name="connsiteX46" fmla="*/ 317969 w 317969"/>
                  <a:gd name="connsiteY46" fmla="*/ 187891 h 317065"/>
                  <a:gd name="connsiteX47" fmla="*/ 317969 w 317969"/>
                  <a:gd name="connsiteY47" fmla="*/ 130079 h 317065"/>
                  <a:gd name="connsiteX48" fmla="*/ 303516 w 317969"/>
                  <a:gd name="connsiteY48" fmla="*/ 115625 h 317065"/>
                  <a:gd name="connsiteX49" fmla="*/ 281836 w 317969"/>
                  <a:gd name="connsiteY49" fmla="*/ 115625 h 317065"/>
                  <a:gd name="connsiteX50" fmla="*/ 276416 w 317969"/>
                  <a:gd name="connsiteY50" fmla="*/ 102979 h 317065"/>
                  <a:gd name="connsiteX51" fmla="*/ 291773 w 317969"/>
                  <a:gd name="connsiteY51" fmla="*/ 87622 h 317065"/>
                  <a:gd name="connsiteX52" fmla="*/ 291773 w 317969"/>
                  <a:gd name="connsiteY52" fmla="*/ 66846 h 317065"/>
                  <a:gd name="connsiteX53" fmla="*/ 251123 w 317969"/>
                  <a:gd name="connsiteY53" fmla="*/ 26197 h 317065"/>
                  <a:gd name="connsiteX54" fmla="*/ 230347 w 317969"/>
                  <a:gd name="connsiteY54" fmla="*/ 26197 h 317065"/>
                  <a:gd name="connsiteX55" fmla="*/ 214990 w 317969"/>
                  <a:gd name="connsiteY55" fmla="*/ 41553 h 317065"/>
                  <a:gd name="connsiteX56" fmla="*/ 202344 w 317969"/>
                  <a:gd name="connsiteY56" fmla="*/ 36133 h 317065"/>
                  <a:gd name="connsiteX57" fmla="*/ 202344 w 317969"/>
                  <a:gd name="connsiteY57" fmla="*/ 14453 h 317065"/>
                  <a:gd name="connsiteX58" fmla="*/ 187891 w 317969"/>
                  <a:gd name="connsiteY58" fmla="*/ 0 h 317065"/>
                  <a:gd name="connsiteX59" fmla="*/ 130078 w 317969"/>
                  <a:gd name="connsiteY59" fmla="*/ 0 h 317065"/>
                  <a:gd name="connsiteX60" fmla="*/ 115625 w 317969"/>
                  <a:gd name="connsiteY60" fmla="*/ 14453 h 317065"/>
                  <a:gd name="connsiteX61" fmla="*/ 115625 w 317969"/>
                  <a:gd name="connsiteY61" fmla="*/ 36133 h 317065"/>
                  <a:gd name="connsiteX62" fmla="*/ 102978 w 317969"/>
                  <a:gd name="connsiteY62" fmla="*/ 41553 h 317065"/>
                  <a:gd name="connsiteX63" fmla="*/ 87622 w 317969"/>
                  <a:gd name="connsiteY63" fmla="*/ 26197 h 317065"/>
                  <a:gd name="connsiteX64" fmla="*/ 66845 w 317969"/>
                  <a:gd name="connsiteY64" fmla="*/ 26197 h 317065"/>
                  <a:gd name="connsiteX65" fmla="*/ 26196 w 317969"/>
                  <a:gd name="connsiteY65" fmla="*/ 66846 h 317065"/>
                  <a:gd name="connsiteX66" fmla="*/ 26196 w 317969"/>
                  <a:gd name="connsiteY66" fmla="*/ 87622 h 317065"/>
                  <a:gd name="connsiteX67" fmla="*/ 41553 w 317969"/>
                  <a:gd name="connsiteY67" fmla="*/ 102979 h 317065"/>
                  <a:gd name="connsiteX68" fmla="*/ 36133 w 317969"/>
                  <a:gd name="connsiteY68" fmla="*/ 115625 h 317065"/>
                  <a:gd name="connsiteX69" fmla="*/ 14453 w 317969"/>
                  <a:gd name="connsiteY69" fmla="*/ 115625 h 317065"/>
                  <a:gd name="connsiteX70" fmla="*/ 0 w 317969"/>
                  <a:gd name="connsiteY70" fmla="*/ 130079 h 317065"/>
                  <a:gd name="connsiteX71" fmla="*/ 0 w 317969"/>
                  <a:gd name="connsiteY71" fmla="*/ 187891 h 317065"/>
                  <a:gd name="connsiteX72" fmla="*/ 14453 w 317969"/>
                  <a:gd name="connsiteY72" fmla="*/ 202344 h 317065"/>
                  <a:gd name="connsiteX73" fmla="*/ 36133 w 317969"/>
                  <a:gd name="connsiteY73" fmla="*/ 202344 h 317065"/>
                  <a:gd name="connsiteX74" fmla="*/ 41553 w 317969"/>
                  <a:gd name="connsiteY74" fmla="*/ 214990 h 317065"/>
                  <a:gd name="connsiteX75" fmla="*/ 26196 w 317969"/>
                  <a:gd name="connsiteY75" fmla="*/ 230347 h 317065"/>
                  <a:gd name="connsiteX76" fmla="*/ 27100 w 317969"/>
                  <a:gd name="connsiteY76" fmla="*/ 250220 h 31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17969" h="317065">
                    <a:moveTo>
                      <a:pt x="27100" y="250220"/>
                    </a:moveTo>
                    <a:lnTo>
                      <a:pt x="67749" y="290870"/>
                    </a:lnTo>
                    <a:cubicBezTo>
                      <a:pt x="73169" y="296289"/>
                      <a:pt x="82202" y="296289"/>
                      <a:pt x="88525" y="290870"/>
                    </a:cubicBezTo>
                    <a:lnTo>
                      <a:pt x="103882" y="275513"/>
                    </a:lnTo>
                    <a:cubicBezTo>
                      <a:pt x="108399" y="277320"/>
                      <a:pt x="112012" y="279127"/>
                      <a:pt x="116528" y="280933"/>
                    </a:cubicBezTo>
                    <a:lnTo>
                      <a:pt x="116528" y="302613"/>
                    </a:lnTo>
                    <a:cubicBezTo>
                      <a:pt x="116528" y="310743"/>
                      <a:pt x="122852" y="317066"/>
                      <a:pt x="130982" y="317066"/>
                    </a:cubicBezTo>
                    <a:lnTo>
                      <a:pt x="174341" y="317066"/>
                    </a:lnTo>
                    <a:lnTo>
                      <a:pt x="174341" y="289063"/>
                    </a:lnTo>
                    <a:lnTo>
                      <a:pt x="145435" y="289063"/>
                    </a:lnTo>
                    <a:lnTo>
                      <a:pt x="145435" y="270996"/>
                    </a:lnTo>
                    <a:cubicBezTo>
                      <a:pt x="145435" y="264673"/>
                      <a:pt x="140918" y="258350"/>
                      <a:pt x="134595" y="257447"/>
                    </a:cubicBezTo>
                    <a:cubicBezTo>
                      <a:pt x="125561" y="254737"/>
                      <a:pt x="116528" y="251123"/>
                      <a:pt x="108399" y="246607"/>
                    </a:cubicBezTo>
                    <a:cubicBezTo>
                      <a:pt x="102978" y="242994"/>
                      <a:pt x="95752" y="243897"/>
                      <a:pt x="91235" y="249317"/>
                    </a:cubicBezTo>
                    <a:lnTo>
                      <a:pt x="78589" y="261963"/>
                    </a:lnTo>
                    <a:lnTo>
                      <a:pt x="57812" y="241187"/>
                    </a:lnTo>
                    <a:lnTo>
                      <a:pt x="70459" y="228540"/>
                    </a:lnTo>
                    <a:cubicBezTo>
                      <a:pt x="74976" y="224024"/>
                      <a:pt x="75879" y="216797"/>
                      <a:pt x="73169" y="211377"/>
                    </a:cubicBezTo>
                    <a:cubicBezTo>
                      <a:pt x="68652" y="203247"/>
                      <a:pt x="65039" y="194214"/>
                      <a:pt x="62329" y="185181"/>
                    </a:cubicBezTo>
                    <a:cubicBezTo>
                      <a:pt x="60523" y="178858"/>
                      <a:pt x="55102" y="174341"/>
                      <a:pt x="48779" y="174341"/>
                    </a:cubicBezTo>
                    <a:lnTo>
                      <a:pt x="30713" y="174341"/>
                    </a:lnTo>
                    <a:lnTo>
                      <a:pt x="30713" y="144531"/>
                    </a:lnTo>
                    <a:lnTo>
                      <a:pt x="48779" y="144531"/>
                    </a:lnTo>
                    <a:cubicBezTo>
                      <a:pt x="55102" y="144531"/>
                      <a:pt x="61426" y="140015"/>
                      <a:pt x="62329" y="133691"/>
                    </a:cubicBezTo>
                    <a:cubicBezTo>
                      <a:pt x="65039" y="124658"/>
                      <a:pt x="68652" y="115625"/>
                      <a:pt x="73169" y="107495"/>
                    </a:cubicBezTo>
                    <a:cubicBezTo>
                      <a:pt x="76782" y="102075"/>
                      <a:pt x="75879" y="94849"/>
                      <a:pt x="70459" y="90332"/>
                    </a:cubicBezTo>
                    <a:lnTo>
                      <a:pt x="57812" y="77685"/>
                    </a:lnTo>
                    <a:lnTo>
                      <a:pt x="78589" y="56909"/>
                    </a:lnTo>
                    <a:lnTo>
                      <a:pt x="91235" y="69556"/>
                    </a:lnTo>
                    <a:cubicBezTo>
                      <a:pt x="95752" y="74072"/>
                      <a:pt x="102978" y="74976"/>
                      <a:pt x="108399" y="72266"/>
                    </a:cubicBezTo>
                    <a:cubicBezTo>
                      <a:pt x="116528" y="67749"/>
                      <a:pt x="125561" y="64136"/>
                      <a:pt x="134595" y="61426"/>
                    </a:cubicBezTo>
                    <a:cubicBezTo>
                      <a:pt x="140918" y="59619"/>
                      <a:pt x="145435" y="54199"/>
                      <a:pt x="145435" y="47876"/>
                    </a:cubicBezTo>
                    <a:lnTo>
                      <a:pt x="145435" y="29809"/>
                    </a:lnTo>
                    <a:lnTo>
                      <a:pt x="174341" y="29809"/>
                    </a:lnTo>
                    <a:lnTo>
                      <a:pt x="174341" y="47876"/>
                    </a:lnTo>
                    <a:cubicBezTo>
                      <a:pt x="174341" y="54199"/>
                      <a:pt x="178858" y="60523"/>
                      <a:pt x="185181" y="61426"/>
                    </a:cubicBezTo>
                    <a:cubicBezTo>
                      <a:pt x="194214" y="64136"/>
                      <a:pt x="203247" y="67749"/>
                      <a:pt x="211377" y="72266"/>
                    </a:cubicBezTo>
                    <a:cubicBezTo>
                      <a:pt x="216797" y="75879"/>
                      <a:pt x="224024" y="74976"/>
                      <a:pt x="228540" y="69556"/>
                    </a:cubicBezTo>
                    <a:lnTo>
                      <a:pt x="241187" y="56909"/>
                    </a:lnTo>
                    <a:lnTo>
                      <a:pt x="261963" y="77685"/>
                    </a:lnTo>
                    <a:lnTo>
                      <a:pt x="249317" y="90332"/>
                    </a:lnTo>
                    <a:cubicBezTo>
                      <a:pt x="244800" y="94849"/>
                      <a:pt x="243897" y="102075"/>
                      <a:pt x="246607" y="107495"/>
                    </a:cubicBezTo>
                    <a:cubicBezTo>
                      <a:pt x="251123" y="115625"/>
                      <a:pt x="254737" y="124658"/>
                      <a:pt x="257447" y="133691"/>
                    </a:cubicBezTo>
                    <a:cubicBezTo>
                      <a:pt x="259253" y="140015"/>
                      <a:pt x="264673" y="144531"/>
                      <a:pt x="270996" y="144531"/>
                    </a:cubicBezTo>
                    <a:lnTo>
                      <a:pt x="289063" y="144531"/>
                    </a:lnTo>
                    <a:lnTo>
                      <a:pt x="289063" y="187891"/>
                    </a:lnTo>
                    <a:lnTo>
                      <a:pt x="317969" y="187891"/>
                    </a:lnTo>
                    <a:lnTo>
                      <a:pt x="317969" y="130079"/>
                    </a:lnTo>
                    <a:cubicBezTo>
                      <a:pt x="317969" y="121948"/>
                      <a:pt x="311646" y="115625"/>
                      <a:pt x="303516" y="115625"/>
                    </a:cubicBezTo>
                    <a:lnTo>
                      <a:pt x="281836" y="115625"/>
                    </a:lnTo>
                    <a:cubicBezTo>
                      <a:pt x="280030" y="111108"/>
                      <a:pt x="278223" y="107495"/>
                      <a:pt x="276416" y="102979"/>
                    </a:cubicBezTo>
                    <a:lnTo>
                      <a:pt x="291773" y="87622"/>
                    </a:lnTo>
                    <a:cubicBezTo>
                      <a:pt x="297192" y="82202"/>
                      <a:pt x="297192" y="73169"/>
                      <a:pt x="291773" y="66846"/>
                    </a:cubicBezTo>
                    <a:lnTo>
                      <a:pt x="251123" y="26197"/>
                    </a:lnTo>
                    <a:cubicBezTo>
                      <a:pt x="245704" y="20776"/>
                      <a:pt x="236670" y="20776"/>
                      <a:pt x="230347" y="26197"/>
                    </a:cubicBezTo>
                    <a:lnTo>
                      <a:pt x="214990" y="41553"/>
                    </a:lnTo>
                    <a:cubicBezTo>
                      <a:pt x="210474" y="39746"/>
                      <a:pt x="206860" y="37940"/>
                      <a:pt x="202344" y="36133"/>
                    </a:cubicBezTo>
                    <a:lnTo>
                      <a:pt x="202344" y="14453"/>
                    </a:lnTo>
                    <a:cubicBezTo>
                      <a:pt x="202344" y="6323"/>
                      <a:pt x="196021" y="0"/>
                      <a:pt x="187891" y="0"/>
                    </a:cubicBezTo>
                    <a:lnTo>
                      <a:pt x="130078" y="0"/>
                    </a:lnTo>
                    <a:cubicBezTo>
                      <a:pt x="121948" y="0"/>
                      <a:pt x="115625" y="6323"/>
                      <a:pt x="115625" y="14453"/>
                    </a:cubicBezTo>
                    <a:lnTo>
                      <a:pt x="115625" y="36133"/>
                    </a:lnTo>
                    <a:cubicBezTo>
                      <a:pt x="111108" y="37940"/>
                      <a:pt x="107495" y="39746"/>
                      <a:pt x="102978" y="41553"/>
                    </a:cubicBezTo>
                    <a:lnTo>
                      <a:pt x="87622" y="26197"/>
                    </a:lnTo>
                    <a:cubicBezTo>
                      <a:pt x="82202" y="20776"/>
                      <a:pt x="73169" y="20776"/>
                      <a:pt x="66845" y="26197"/>
                    </a:cubicBezTo>
                    <a:lnTo>
                      <a:pt x="26196" y="66846"/>
                    </a:lnTo>
                    <a:cubicBezTo>
                      <a:pt x="20776" y="72266"/>
                      <a:pt x="20776" y="81299"/>
                      <a:pt x="26196" y="87622"/>
                    </a:cubicBezTo>
                    <a:lnTo>
                      <a:pt x="41553" y="102979"/>
                    </a:lnTo>
                    <a:cubicBezTo>
                      <a:pt x="39746" y="107495"/>
                      <a:pt x="37940" y="111108"/>
                      <a:pt x="36133" y="115625"/>
                    </a:cubicBezTo>
                    <a:lnTo>
                      <a:pt x="14453" y="115625"/>
                    </a:lnTo>
                    <a:cubicBezTo>
                      <a:pt x="6323" y="115625"/>
                      <a:pt x="0" y="121948"/>
                      <a:pt x="0" y="130079"/>
                    </a:cubicBezTo>
                    <a:lnTo>
                      <a:pt x="0" y="187891"/>
                    </a:lnTo>
                    <a:cubicBezTo>
                      <a:pt x="0" y="196021"/>
                      <a:pt x="6323" y="202344"/>
                      <a:pt x="14453" y="202344"/>
                    </a:cubicBezTo>
                    <a:lnTo>
                      <a:pt x="36133" y="202344"/>
                    </a:lnTo>
                    <a:cubicBezTo>
                      <a:pt x="37940" y="206861"/>
                      <a:pt x="39746" y="210474"/>
                      <a:pt x="41553" y="214990"/>
                    </a:cubicBezTo>
                    <a:lnTo>
                      <a:pt x="26196" y="230347"/>
                    </a:lnTo>
                    <a:cubicBezTo>
                      <a:pt x="21679" y="235767"/>
                      <a:pt x="21679" y="244800"/>
                      <a:pt x="27100" y="25022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4" name="Freeform 43">
                <a:extLst>
                  <a:ext uri="{FF2B5EF4-FFF2-40B4-BE49-F238E27FC236}">
                    <a16:creationId xmlns:a16="http://schemas.microsoft.com/office/drawing/2014/main" id="{10962DDA-3162-0B55-0B59-B9A2CF780F43}"/>
                  </a:ext>
                </a:extLst>
              </p:cNvPr>
              <p:cNvSpPr/>
              <p:nvPr/>
            </p:nvSpPr>
            <p:spPr>
              <a:xfrm>
                <a:off x="7843855" y="1268111"/>
                <a:ext cx="113818" cy="76782"/>
              </a:xfrm>
              <a:custGeom>
                <a:avLst/>
                <a:gdLst>
                  <a:gd name="connsiteX0" fmla="*/ 0 w 113818"/>
                  <a:gd name="connsiteY0" fmla="*/ 26196 h 76782"/>
                  <a:gd name="connsiteX1" fmla="*/ 12647 w 113818"/>
                  <a:gd name="connsiteY1" fmla="*/ 0 h 76782"/>
                  <a:gd name="connsiteX2" fmla="*/ 113819 w 113818"/>
                  <a:gd name="connsiteY2" fmla="*/ 50586 h 76782"/>
                  <a:gd name="connsiteX3" fmla="*/ 101172 w 113818"/>
                  <a:gd name="connsiteY3" fmla="*/ 76782 h 76782"/>
                  <a:gd name="connsiteX4" fmla="*/ 0 w 113818"/>
                  <a:gd name="connsiteY4" fmla="*/ 26196 h 76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18" h="76782">
                    <a:moveTo>
                      <a:pt x="0" y="26196"/>
                    </a:moveTo>
                    <a:lnTo>
                      <a:pt x="12647" y="0"/>
                    </a:lnTo>
                    <a:lnTo>
                      <a:pt x="113819" y="50586"/>
                    </a:lnTo>
                    <a:lnTo>
                      <a:pt x="101172" y="76782"/>
                    </a:lnTo>
                    <a:lnTo>
                      <a:pt x="0" y="26196"/>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5" name="Freeform 44">
                <a:extLst>
                  <a:ext uri="{FF2B5EF4-FFF2-40B4-BE49-F238E27FC236}">
                    <a16:creationId xmlns:a16="http://schemas.microsoft.com/office/drawing/2014/main" id="{7F36AA8A-A10F-9E0C-E5E9-ADF5936E37A5}"/>
                  </a:ext>
                </a:extLst>
              </p:cNvPr>
              <p:cNvSpPr/>
              <p:nvPr/>
            </p:nvSpPr>
            <p:spPr>
              <a:xfrm>
                <a:off x="7633296" y="1245528"/>
                <a:ext cx="361413" cy="332422"/>
              </a:xfrm>
              <a:custGeom>
                <a:avLst/>
                <a:gdLst>
                  <a:gd name="connsiteX0" fmla="*/ 17248 w 361413"/>
                  <a:gd name="connsiteY0" fmla="*/ 264673 h 332422"/>
                  <a:gd name="connsiteX1" fmla="*/ 107581 w 361413"/>
                  <a:gd name="connsiteY1" fmla="*/ 329712 h 332422"/>
                  <a:gd name="connsiteX2" fmla="*/ 115710 w 361413"/>
                  <a:gd name="connsiteY2" fmla="*/ 332422 h 332422"/>
                  <a:gd name="connsiteX3" fmla="*/ 346961 w 361413"/>
                  <a:gd name="connsiteY3" fmla="*/ 332422 h 332422"/>
                  <a:gd name="connsiteX4" fmla="*/ 361414 w 361413"/>
                  <a:gd name="connsiteY4" fmla="*/ 317969 h 332422"/>
                  <a:gd name="connsiteX5" fmla="*/ 361414 w 361413"/>
                  <a:gd name="connsiteY5" fmla="*/ 160791 h 332422"/>
                  <a:gd name="connsiteX6" fmla="*/ 325281 w 361413"/>
                  <a:gd name="connsiteY6" fmla="*/ 116528 h 332422"/>
                  <a:gd name="connsiteX7" fmla="*/ 290051 w 361413"/>
                  <a:gd name="connsiteY7" fmla="*/ 126465 h 332422"/>
                  <a:gd name="connsiteX8" fmla="*/ 289148 w 361413"/>
                  <a:gd name="connsiteY8" fmla="*/ 127368 h 332422"/>
                  <a:gd name="connsiteX9" fmla="*/ 231335 w 361413"/>
                  <a:gd name="connsiteY9" fmla="*/ 127368 h 332422"/>
                  <a:gd name="connsiteX10" fmla="*/ 187976 w 361413"/>
                  <a:gd name="connsiteY10" fmla="*/ 118335 h 332422"/>
                  <a:gd name="connsiteX11" fmla="*/ 187976 w 361413"/>
                  <a:gd name="connsiteY11" fmla="*/ 43359 h 332422"/>
                  <a:gd name="connsiteX12" fmla="*/ 144617 w 361413"/>
                  <a:gd name="connsiteY12" fmla="*/ 0 h 332422"/>
                  <a:gd name="connsiteX13" fmla="*/ 101257 w 361413"/>
                  <a:gd name="connsiteY13" fmla="*/ 43359 h 332422"/>
                  <a:gd name="connsiteX14" fmla="*/ 101257 w 361413"/>
                  <a:gd name="connsiteY14" fmla="*/ 220410 h 332422"/>
                  <a:gd name="connsiteX15" fmla="*/ 63318 w 361413"/>
                  <a:gd name="connsiteY15" fmla="*/ 197827 h 332422"/>
                  <a:gd name="connsiteX16" fmla="*/ 24475 w 361413"/>
                  <a:gd name="connsiteY16" fmla="*/ 196020 h 332422"/>
                  <a:gd name="connsiteX17" fmla="*/ 21765 w 361413"/>
                  <a:gd name="connsiteY17" fmla="*/ 196924 h 332422"/>
                  <a:gd name="connsiteX18" fmla="*/ 85 w 361413"/>
                  <a:gd name="connsiteY18" fmla="*/ 229443 h 332422"/>
                  <a:gd name="connsiteX19" fmla="*/ 17248 w 361413"/>
                  <a:gd name="connsiteY19" fmla="*/ 264673 h 332422"/>
                  <a:gd name="connsiteX20" fmla="*/ 17248 w 361413"/>
                  <a:gd name="connsiteY20" fmla="*/ 264673 h 332422"/>
                  <a:gd name="connsiteX21" fmla="*/ 35315 w 361413"/>
                  <a:gd name="connsiteY21" fmla="*/ 222217 h 332422"/>
                  <a:gd name="connsiteX22" fmla="*/ 38025 w 361413"/>
                  <a:gd name="connsiteY22" fmla="*/ 221314 h 332422"/>
                  <a:gd name="connsiteX23" fmla="*/ 48865 w 361413"/>
                  <a:gd name="connsiteY23" fmla="*/ 221314 h 332422"/>
                  <a:gd name="connsiteX24" fmla="*/ 109387 w 361413"/>
                  <a:gd name="connsiteY24" fmla="*/ 257447 h 332422"/>
                  <a:gd name="connsiteX25" fmla="*/ 123840 w 361413"/>
                  <a:gd name="connsiteY25" fmla="*/ 257447 h 332422"/>
                  <a:gd name="connsiteX26" fmla="*/ 131067 w 361413"/>
                  <a:gd name="connsiteY26" fmla="*/ 244800 h 332422"/>
                  <a:gd name="connsiteX27" fmla="*/ 131067 w 361413"/>
                  <a:gd name="connsiteY27" fmla="*/ 42456 h 332422"/>
                  <a:gd name="connsiteX28" fmla="*/ 145520 w 361413"/>
                  <a:gd name="connsiteY28" fmla="*/ 28003 h 332422"/>
                  <a:gd name="connsiteX29" fmla="*/ 159973 w 361413"/>
                  <a:gd name="connsiteY29" fmla="*/ 42456 h 332422"/>
                  <a:gd name="connsiteX30" fmla="*/ 159973 w 361413"/>
                  <a:gd name="connsiteY30" fmla="*/ 158984 h 332422"/>
                  <a:gd name="connsiteX31" fmla="*/ 174426 w 361413"/>
                  <a:gd name="connsiteY31" fmla="*/ 173437 h 332422"/>
                  <a:gd name="connsiteX32" fmla="*/ 188880 w 361413"/>
                  <a:gd name="connsiteY32" fmla="*/ 158984 h 332422"/>
                  <a:gd name="connsiteX33" fmla="*/ 203332 w 361413"/>
                  <a:gd name="connsiteY33" fmla="*/ 144531 h 332422"/>
                  <a:gd name="connsiteX34" fmla="*/ 217785 w 361413"/>
                  <a:gd name="connsiteY34" fmla="*/ 158984 h 332422"/>
                  <a:gd name="connsiteX35" fmla="*/ 232239 w 361413"/>
                  <a:gd name="connsiteY35" fmla="*/ 173437 h 332422"/>
                  <a:gd name="connsiteX36" fmla="*/ 246692 w 361413"/>
                  <a:gd name="connsiteY36" fmla="*/ 158984 h 332422"/>
                  <a:gd name="connsiteX37" fmla="*/ 261145 w 361413"/>
                  <a:gd name="connsiteY37" fmla="*/ 144531 h 332422"/>
                  <a:gd name="connsiteX38" fmla="*/ 275598 w 361413"/>
                  <a:gd name="connsiteY38" fmla="*/ 158984 h 332422"/>
                  <a:gd name="connsiteX39" fmla="*/ 290051 w 361413"/>
                  <a:gd name="connsiteY39" fmla="*/ 173437 h 332422"/>
                  <a:gd name="connsiteX40" fmla="*/ 304505 w 361413"/>
                  <a:gd name="connsiteY40" fmla="*/ 158984 h 332422"/>
                  <a:gd name="connsiteX41" fmla="*/ 309924 w 361413"/>
                  <a:gd name="connsiteY41" fmla="*/ 148144 h 332422"/>
                  <a:gd name="connsiteX42" fmla="*/ 321667 w 361413"/>
                  <a:gd name="connsiteY42" fmla="*/ 145435 h 332422"/>
                  <a:gd name="connsiteX43" fmla="*/ 333411 w 361413"/>
                  <a:gd name="connsiteY43" fmla="*/ 160791 h 332422"/>
                  <a:gd name="connsiteX44" fmla="*/ 333411 w 361413"/>
                  <a:gd name="connsiteY44" fmla="*/ 303516 h 332422"/>
                  <a:gd name="connsiteX45" fmla="*/ 121130 w 361413"/>
                  <a:gd name="connsiteY45" fmla="*/ 303516 h 332422"/>
                  <a:gd name="connsiteX46" fmla="*/ 34411 w 361413"/>
                  <a:gd name="connsiteY46" fmla="*/ 241186 h 332422"/>
                  <a:gd name="connsiteX47" fmla="*/ 29895 w 361413"/>
                  <a:gd name="connsiteY47" fmla="*/ 231250 h 332422"/>
                  <a:gd name="connsiteX48" fmla="*/ 35315 w 361413"/>
                  <a:gd name="connsiteY48" fmla="*/ 222217 h 332422"/>
                  <a:gd name="connsiteX49" fmla="*/ 35315 w 361413"/>
                  <a:gd name="connsiteY49" fmla="*/ 222217 h 33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1413" h="332422">
                    <a:moveTo>
                      <a:pt x="17248" y="264673"/>
                    </a:moveTo>
                    <a:lnTo>
                      <a:pt x="107581" y="329712"/>
                    </a:lnTo>
                    <a:cubicBezTo>
                      <a:pt x="110290" y="331519"/>
                      <a:pt x="113000" y="332422"/>
                      <a:pt x="115710" y="332422"/>
                    </a:cubicBezTo>
                    <a:lnTo>
                      <a:pt x="346961" y="332422"/>
                    </a:lnTo>
                    <a:cubicBezTo>
                      <a:pt x="355090" y="332422"/>
                      <a:pt x="361414" y="326099"/>
                      <a:pt x="361414" y="317969"/>
                    </a:cubicBezTo>
                    <a:lnTo>
                      <a:pt x="361414" y="160791"/>
                    </a:lnTo>
                    <a:cubicBezTo>
                      <a:pt x="361414" y="139111"/>
                      <a:pt x="346057" y="120142"/>
                      <a:pt x="325281" y="116528"/>
                    </a:cubicBezTo>
                    <a:cubicBezTo>
                      <a:pt x="312634" y="114721"/>
                      <a:pt x="299988" y="118335"/>
                      <a:pt x="290051" y="126465"/>
                    </a:cubicBezTo>
                    <a:cubicBezTo>
                      <a:pt x="290051" y="126465"/>
                      <a:pt x="289148" y="127368"/>
                      <a:pt x="289148" y="127368"/>
                    </a:cubicBezTo>
                    <a:cubicBezTo>
                      <a:pt x="272888" y="112915"/>
                      <a:pt x="247595" y="112915"/>
                      <a:pt x="231335" y="127368"/>
                    </a:cubicBezTo>
                    <a:cubicBezTo>
                      <a:pt x="219592" y="117432"/>
                      <a:pt x="203332" y="113818"/>
                      <a:pt x="187976" y="118335"/>
                    </a:cubicBezTo>
                    <a:lnTo>
                      <a:pt x="187976" y="43359"/>
                    </a:lnTo>
                    <a:cubicBezTo>
                      <a:pt x="187976" y="19873"/>
                      <a:pt x="169006" y="0"/>
                      <a:pt x="144617" y="0"/>
                    </a:cubicBezTo>
                    <a:cubicBezTo>
                      <a:pt x="121130" y="0"/>
                      <a:pt x="101257" y="18970"/>
                      <a:pt x="101257" y="43359"/>
                    </a:cubicBezTo>
                    <a:lnTo>
                      <a:pt x="101257" y="220410"/>
                    </a:lnTo>
                    <a:lnTo>
                      <a:pt x="63318" y="197827"/>
                    </a:lnTo>
                    <a:cubicBezTo>
                      <a:pt x="51575" y="190601"/>
                      <a:pt x="37121" y="190601"/>
                      <a:pt x="24475" y="196020"/>
                    </a:cubicBezTo>
                    <a:lnTo>
                      <a:pt x="21765" y="196924"/>
                    </a:lnTo>
                    <a:cubicBezTo>
                      <a:pt x="9118" y="203247"/>
                      <a:pt x="988" y="215894"/>
                      <a:pt x="85" y="229443"/>
                    </a:cubicBezTo>
                    <a:cubicBezTo>
                      <a:pt x="-818" y="242993"/>
                      <a:pt x="5505" y="256543"/>
                      <a:pt x="17248" y="264673"/>
                    </a:cubicBezTo>
                    <a:lnTo>
                      <a:pt x="17248" y="264673"/>
                    </a:lnTo>
                    <a:close/>
                    <a:moveTo>
                      <a:pt x="35315" y="222217"/>
                    </a:moveTo>
                    <a:lnTo>
                      <a:pt x="38025" y="221314"/>
                    </a:lnTo>
                    <a:cubicBezTo>
                      <a:pt x="41638" y="219507"/>
                      <a:pt x="45251" y="219507"/>
                      <a:pt x="48865" y="221314"/>
                    </a:cubicBezTo>
                    <a:lnTo>
                      <a:pt x="109387" y="257447"/>
                    </a:lnTo>
                    <a:cubicBezTo>
                      <a:pt x="113903" y="260156"/>
                      <a:pt x="119324" y="260156"/>
                      <a:pt x="123840" y="257447"/>
                    </a:cubicBezTo>
                    <a:cubicBezTo>
                      <a:pt x="128357" y="254736"/>
                      <a:pt x="131067" y="250220"/>
                      <a:pt x="131067" y="244800"/>
                    </a:cubicBezTo>
                    <a:lnTo>
                      <a:pt x="131067" y="42456"/>
                    </a:lnTo>
                    <a:cubicBezTo>
                      <a:pt x="131067" y="34326"/>
                      <a:pt x="137390" y="28003"/>
                      <a:pt x="145520" y="28003"/>
                    </a:cubicBezTo>
                    <a:cubicBezTo>
                      <a:pt x="153650" y="28003"/>
                      <a:pt x="159973" y="34326"/>
                      <a:pt x="159973" y="42456"/>
                    </a:cubicBezTo>
                    <a:lnTo>
                      <a:pt x="159973" y="158984"/>
                    </a:lnTo>
                    <a:cubicBezTo>
                      <a:pt x="159973" y="167114"/>
                      <a:pt x="166296" y="173437"/>
                      <a:pt x="174426" y="173437"/>
                    </a:cubicBezTo>
                    <a:cubicBezTo>
                      <a:pt x="182556" y="173437"/>
                      <a:pt x="188880" y="167114"/>
                      <a:pt x="188880" y="158984"/>
                    </a:cubicBezTo>
                    <a:cubicBezTo>
                      <a:pt x="188880" y="150854"/>
                      <a:pt x="195202" y="144531"/>
                      <a:pt x="203332" y="144531"/>
                    </a:cubicBezTo>
                    <a:cubicBezTo>
                      <a:pt x="211463" y="144531"/>
                      <a:pt x="217785" y="150854"/>
                      <a:pt x="217785" y="158984"/>
                    </a:cubicBezTo>
                    <a:cubicBezTo>
                      <a:pt x="217785" y="167114"/>
                      <a:pt x="224109" y="173437"/>
                      <a:pt x="232239" y="173437"/>
                    </a:cubicBezTo>
                    <a:cubicBezTo>
                      <a:pt x="240368" y="173437"/>
                      <a:pt x="246692" y="167114"/>
                      <a:pt x="246692" y="158984"/>
                    </a:cubicBezTo>
                    <a:cubicBezTo>
                      <a:pt x="246692" y="150854"/>
                      <a:pt x="253015" y="144531"/>
                      <a:pt x="261145" y="144531"/>
                    </a:cubicBezTo>
                    <a:cubicBezTo>
                      <a:pt x="269275" y="144531"/>
                      <a:pt x="275598" y="150854"/>
                      <a:pt x="275598" y="158984"/>
                    </a:cubicBezTo>
                    <a:cubicBezTo>
                      <a:pt x="275598" y="167114"/>
                      <a:pt x="281922" y="173437"/>
                      <a:pt x="290051" y="173437"/>
                    </a:cubicBezTo>
                    <a:cubicBezTo>
                      <a:pt x="298181" y="173437"/>
                      <a:pt x="304505" y="167114"/>
                      <a:pt x="304505" y="158984"/>
                    </a:cubicBezTo>
                    <a:cubicBezTo>
                      <a:pt x="304505" y="154468"/>
                      <a:pt x="306311" y="150854"/>
                      <a:pt x="309924" y="148144"/>
                    </a:cubicBezTo>
                    <a:cubicBezTo>
                      <a:pt x="313538" y="145435"/>
                      <a:pt x="317151" y="144531"/>
                      <a:pt x="321667" y="145435"/>
                    </a:cubicBezTo>
                    <a:cubicBezTo>
                      <a:pt x="328894" y="147241"/>
                      <a:pt x="334314" y="153565"/>
                      <a:pt x="333411" y="160791"/>
                    </a:cubicBezTo>
                    <a:lnTo>
                      <a:pt x="333411" y="303516"/>
                    </a:lnTo>
                    <a:lnTo>
                      <a:pt x="121130" y="303516"/>
                    </a:lnTo>
                    <a:lnTo>
                      <a:pt x="34411" y="241186"/>
                    </a:lnTo>
                    <a:cubicBezTo>
                      <a:pt x="31701" y="239380"/>
                      <a:pt x="29895" y="234864"/>
                      <a:pt x="29895" y="231250"/>
                    </a:cubicBezTo>
                    <a:cubicBezTo>
                      <a:pt x="29895" y="227637"/>
                      <a:pt x="31701" y="224024"/>
                      <a:pt x="35315" y="222217"/>
                    </a:cubicBezTo>
                    <a:lnTo>
                      <a:pt x="35315" y="222217"/>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cxnSp>
        <p:nvCxnSpPr>
          <p:cNvPr id="46" name="Straight Connector 45">
            <a:extLst>
              <a:ext uri="{FF2B5EF4-FFF2-40B4-BE49-F238E27FC236}">
                <a16:creationId xmlns:a16="http://schemas.microsoft.com/office/drawing/2014/main" id="{16C92E9C-EE6C-8FBA-DC1E-094C9CD5A274}"/>
              </a:ext>
            </a:extLst>
          </p:cNvPr>
          <p:cNvCxnSpPr/>
          <p:nvPr/>
        </p:nvCxnSpPr>
        <p:spPr>
          <a:xfrm>
            <a:off x="4201097" y="1928661"/>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96EBBC0-F6AA-755D-0C02-D21D3B310FF0}"/>
              </a:ext>
            </a:extLst>
          </p:cNvPr>
          <p:cNvCxnSpPr/>
          <p:nvPr/>
        </p:nvCxnSpPr>
        <p:spPr>
          <a:xfrm>
            <a:off x="4201098" y="3414010"/>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3A610D0E-3C4A-9323-BCDD-CF05F64DEE1C}"/>
              </a:ext>
            </a:extLst>
          </p:cNvPr>
          <p:cNvCxnSpPr/>
          <p:nvPr/>
        </p:nvCxnSpPr>
        <p:spPr>
          <a:xfrm>
            <a:off x="4201098" y="4990674"/>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1778760"/>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344234"/>
            <a:ext cx="11530904"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193800" algn="l"/>
              </a:tabLst>
            </a:pPr>
            <a:r>
              <a:rPr lang="en-US" sz="4000">
                <a:solidFill>
                  <a:schemeClr val="bg1"/>
                </a:solidFill>
              </a:rPr>
              <a:t>01 </a:t>
            </a:r>
            <a:r>
              <a:rPr lang="en-IE">
                <a:solidFill>
                  <a:schemeClr val="bg1"/>
                </a:solidFill>
              </a:rPr>
              <a:t>Temas del sector - Fuentes para identificar las tendencias del sector</a:t>
            </a:r>
            <a:endParaRPr lang="en-US">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806814" y="1938533"/>
            <a:ext cx="3122771" cy="4235476"/>
          </a:xfrm>
        </p:spPr>
        <p:txBody>
          <a:bodyPr>
            <a:normAutofit lnSpcReduction="10000"/>
          </a:bodyPr>
          <a:lstStyle/>
          <a:p>
            <a:pPr marL="12700" indent="-12700">
              <a:lnSpc>
                <a:spcPct val="100000"/>
              </a:lnSpc>
            </a:pPr>
            <a:r>
              <a:rPr lang="en-GB" sz="2200">
                <a:latin typeface="Calibri" panose="020F0502020204030204" pitchFamily="34" charset="0"/>
                <a:ea typeface="Lato Light" panose="020F0502020204030203" pitchFamily="34" charset="0"/>
                <a:cs typeface="Calibri" panose="020F0502020204030204" pitchFamily="34" charset="0"/>
              </a:rPr>
              <a:t>La información del sector sobre las tendencias que influyen puede encontrarse en publicaciones específicas del sector y en fuentes web. Es esencial que busque y procese constantemente información importante del sector, la comparta con las personas pertinentes de la empresa (y los asesores) y la discuta sistemáticamente. </a:t>
            </a:r>
          </a:p>
          <a:p>
            <a:pPr marL="12700" indent="-12700" algn="just"/>
            <a:endParaRPr lang="en-GB">
              <a:latin typeface="Calibri" panose="020F0502020204030204" pitchFamily="34" charset="0"/>
              <a:ea typeface="Lato Light" panose="020F0502020204030203" pitchFamily="34" charset="0"/>
              <a:cs typeface="Calibri" panose="020F0502020204030204" pitchFamily="34" charset="0"/>
            </a:endParaRPr>
          </a:p>
        </p:txBody>
      </p:sp>
      <p:grpSp>
        <p:nvGrpSpPr>
          <p:cNvPr id="28" name="Graphic 2">
            <a:extLst>
              <a:ext uri="{FF2B5EF4-FFF2-40B4-BE49-F238E27FC236}">
                <a16:creationId xmlns:a16="http://schemas.microsoft.com/office/drawing/2014/main" id="{7B0153CD-FCC9-50CB-E1C5-6CB7E1998D8A}"/>
              </a:ext>
            </a:extLst>
          </p:cNvPr>
          <p:cNvGrpSpPr/>
          <p:nvPr/>
        </p:nvGrpSpPr>
        <p:grpSpPr>
          <a:xfrm>
            <a:off x="581647" y="1769777"/>
            <a:ext cx="911305" cy="970368"/>
            <a:chOff x="3918554" y="774528"/>
            <a:chExt cx="868197" cy="924466"/>
          </a:xfrm>
          <a:solidFill>
            <a:srgbClr val="595959"/>
          </a:solidFill>
        </p:grpSpPr>
        <p:grpSp>
          <p:nvGrpSpPr>
            <p:cNvPr id="29" name="Graphic 2">
              <a:extLst>
                <a:ext uri="{FF2B5EF4-FFF2-40B4-BE49-F238E27FC236}">
                  <a16:creationId xmlns:a16="http://schemas.microsoft.com/office/drawing/2014/main" id="{0F9D2982-59E1-D03F-BF77-BACAC6FC968F}"/>
                </a:ext>
              </a:extLst>
            </p:cNvPr>
            <p:cNvGrpSpPr/>
            <p:nvPr/>
          </p:nvGrpSpPr>
          <p:grpSpPr>
            <a:xfrm>
              <a:off x="3918554" y="774528"/>
              <a:ext cx="868197" cy="924466"/>
              <a:chOff x="3918554" y="774528"/>
              <a:chExt cx="868197" cy="924466"/>
            </a:xfrm>
            <a:grpFill/>
          </p:grpSpPr>
          <p:sp>
            <p:nvSpPr>
              <p:cNvPr id="33" name="Freeform 32">
                <a:extLst>
                  <a:ext uri="{FF2B5EF4-FFF2-40B4-BE49-F238E27FC236}">
                    <a16:creationId xmlns:a16="http://schemas.microsoft.com/office/drawing/2014/main" id="{8A019923-9056-42CE-6793-2A0AD642EB38}"/>
                  </a:ext>
                </a:extLst>
              </p:cNvPr>
              <p:cNvSpPr/>
              <p:nvPr/>
            </p:nvSpPr>
            <p:spPr>
              <a:xfrm>
                <a:off x="3918554" y="774528"/>
                <a:ext cx="868197" cy="924466"/>
              </a:xfrm>
              <a:custGeom>
                <a:avLst/>
                <a:gdLst>
                  <a:gd name="connsiteX0" fmla="*/ 859428 w 868197"/>
                  <a:gd name="connsiteY0" fmla="*/ 489969 h 924466"/>
                  <a:gd name="connsiteX1" fmla="*/ 762772 w 868197"/>
                  <a:gd name="connsiteY1" fmla="*/ 322855 h 924466"/>
                  <a:gd name="connsiteX2" fmla="*/ 770902 w 868197"/>
                  <a:gd name="connsiteY2" fmla="*/ 318338 h 924466"/>
                  <a:gd name="connsiteX3" fmla="*/ 805228 w 868197"/>
                  <a:gd name="connsiteY3" fmla="*/ 274075 h 924466"/>
                  <a:gd name="connsiteX4" fmla="*/ 798002 w 868197"/>
                  <a:gd name="connsiteY4" fmla="*/ 218973 h 924466"/>
                  <a:gd name="connsiteX5" fmla="*/ 698636 w 868197"/>
                  <a:gd name="connsiteY5" fmla="*/ 192776 h 924466"/>
                  <a:gd name="connsiteX6" fmla="*/ 690507 w 868197"/>
                  <a:gd name="connsiteY6" fmla="*/ 197293 h 924466"/>
                  <a:gd name="connsiteX7" fmla="*/ 593851 w 868197"/>
                  <a:gd name="connsiteY7" fmla="*/ 29275 h 924466"/>
                  <a:gd name="connsiteX8" fmla="*/ 557718 w 868197"/>
                  <a:gd name="connsiteY8" fmla="*/ 2176 h 924466"/>
                  <a:gd name="connsiteX9" fmla="*/ 512552 w 868197"/>
                  <a:gd name="connsiteY9" fmla="*/ 8499 h 924466"/>
                  <a:gd name="connsiteX10" fmla="*/ 485452 w 868197"/>
                  <a:gd name="connsiteY10" fmla="*/ 44632 h 924466"/>
                  <a:gd name="connsiteX11" fmla="*/ 485452 w 868197"/>
                  <a:gd name="connsiteY11" fmla="*/ 76248 h 924466"/>
                  <a:gd name="connsiteX12" fmla="*/ 393314 w 868197"/>
                  <a:gd name="connsiteY12" fmla="*/ 178324 h 924466"/>
                  <a:gd name="connsiteX13" fmla="*/ 395120 w 868197"/>
                  <a:gd name="connsiteY13" fmla="*/ 203616 h 924466"/>
                  <a:gd name="connsiteX14" fmla="*/ 420413 w 868197"/>
                  <a:gd name="connsiteY14" fmla="*/ 201810 h 924466"/>
                  <a:gd name="connsiteX15" fmla="*/ 503519 w 868197"/>
                  <a:gd name="connsiteY15" fmla="*/ 107865 h 924466"/>
                  <a:gd name="connsiteX16" fmla="*/ 745609 w 868197"/>
                  <a:gd name="connsiteY16" fmla="*/ 527005 h 924466"/>
                  <a:gd name="connsiteX17" fmla="*/ 340921 w 868197"/>
                  <a:gd name="connsiteY17" fmla="*/ 613725 h 924466"/>
                  <a:gd name="connsiteX18" fmla="*/ 228006 w 868197"/>
                  <a:gd name="connsiteY18" fmla="*/ 417704 h 924466"/>
                  <a:gd name="connsiteX19" fmla="*/ 312015 w 868197"/>
                  <a:gd name="connsiteY19" fmla="*/ 322855 h 924466"/>
                  <a:gd name="connsiteX20" fmla="*/ 310208 w 868197"/>
                  <a:gd name="connsiteY20" fmla="*/ 297562 h 924466"/>
                  <a:gd name="connsiteX21" fmla="*/ 284915 w 868197"/>
                  <a:gd name="connsiteY21" fmla="*/ 299369 h 924466"/>
                  <a:gd name="connsiteX22" fmla="*/ 193680 w 868197"/>
                  <a:gd name="connsiteY22" fmla="*/ 401444 h 924466"/>
                  <a:gd name="connsiteX23" fmla="*/ 42825 w 868197"/>
                  <a:gd name="connsiteY23" fmla="*/ 489066 h 924466"/>
                  <a:gd name="connsiteX24" fmla="*/ 3079 w 868197"/>
                  <a:gd name="connsiteY24" fmla="*/ 541459 h 924466"/>
                  <a:gd name="connsiteX25" fmla="*/ 12112 w 868197"/>
                  <a:gd name="connsiteY25" fmla="*/ 606498 h 924466"/>
                  <a:gd name="connsiteX26" fmla="*/ 69925 w 868197"/>
                  <a:gd name="connsiteY26" fmla="*/ 706767 h 924466"/>
                  <a:gd name="connsiteX27" fmla="*/ 144900 w 868197"/>
                  <a:gd name="connsiteY27" fmla="*/ 750126 h 924466"/>
                  <a:gd name="connsiteX28" fmla="*/ 188260 w 868197"/>
                  <a:gd name="connsiteY28" fmla="*/ 738383 h 924466"/>
                  <a:gd name="connsiteX29" fmla="*/ 231619 w 868197"/>
                  <a:gd name="connsiteY29" fmla="*/ 713993 h 924466"/>
                  <a:gd name="connsiteX30" fmla="*/ 420413 w 868197"/>
                  <a:gd name="connsiteY30" fmla="*/ 902787 h 924466"/>
                  <a:gd name="connsiteX31" fmla="*/ 471903 w 868197"/>
                  <a:gd name="connsiteY31" fmla="*/ 924467 h 924466"/>
                  <a:gd name="connsiteX32" fmla="*/ 508036 w 868197"/>
                  <a:gd name="connsiteY32" fmla="*/ 914531 h 924466"/>
                  <a:gd name="connsiteX33" fmla="*/ 544168 w 868197"/>
                  <a:gd name="connsiteY33" fmla="*/ 860331 h 924466"/>
                  <a:gd name="connsiteX34" fmla="*/ 523392 w 868197"/>
                  <a:gd name="connsiteY34" fmla="*/ 798905 h 924466"/>
                  <a:gd name="connsiteX35" fmla="*/ 458353 w 868197"/>
                  <a:gd name="connsiteY35" fmla="*/ 733866 h 924466"/>
                  <a:gd name="connsiteX36" fmla="*/ 476419 w 868197"/>
                  <a:gd name="connsiteY36" fmla="*/ 723930 h 924466"/>
                  <a:gd name="connsiteX37" fmla="*/ 500809 w 868197"/>
                  <a:gd name="connsiteY37" fmla="*/ 686893 h 924466"/>
                  <a:gd name="connsiteX38" fmla="*/ 485452 w 868197"/>
                  <a:gd name="connsiteY38" fmla="*/ 645341 h 924466"/>
                  <a:gd name="connsiteX39" fmla="*/ 463773 w 868197"/>
                  <a:gd name="connsiteY39" fmla="*/ 625468 h 924466"/>
                  <a:gd name="connsiteX40" fmla="*/ 768192 w 868197"/>
                  <a:gd name="connsiteY40" fmla="*/ 560428 h 924466"/>
                  <a:gd name="connsiteX41" fmla="*/ 795292 w 868197"/>
                  <a:gd name="connsiteY41" fmla="*/ 575785 h 924466"/>
                  <a:gd name="connsiteX42" fmla="*/ 810648 w 868197"/>
                  <a:gd name="connsiteY42" fmla="*/ 577592 h 924466"/>
                  <a:gd name="connsiteX43" fmla="*/ 840458 w 868197"/>
                  <a:gd name="connsiteY43" fmla="*/ 569462 h 924466"/>
                  <a:gd name="connsiteX44" fmla="*/ 867557 w 868197"/>
                  <a:gd name="connsiteY44" fmla="*/ 533329 h 924466"/>
                  <a:gd name="connsiteX45" fmla="*/ 859428 w 868197"/>
                  <a:gd name="connsiteY45" fmla="*/ 489969 h 924466"/>
                  <a:gd name="connsiteX46" fmla="*/ 859428 w 868197"/>
                  <a:gd name="connsiteY46" fmla="*/ 489969 h 924466"/>
                  <a:gd name="connsiteX47" fmla="*/ 707670 w 868197"/>
                  <a:gd name="connsiteY47" fmla="*/ 228006 h 924466"/>
                  <a:gd name="connsiteX48" fmla="*/ 715799 w 868197"/>
                  <a:gd name="connsiteY48" fmla="*/ 223490 h 924466"/>
                  <a:gd name="connsiteX49" fmla="*/ 765482 w 868197"/>
                  <a:gd name="connsiteY49" fmla="*/ 237039 h 924466"/>
                  <a:gd name="connsiteX50" fmla="*/ 751932 w 868197"/>
                  <a:gd name="connsiteY50" fmla="*/ 286722 h 924466"/>
                  <a:gd name="connsiteX51" fmla="*/ 743802 w 868197"/>
                  <a:gd name="connsiteY51" fmla="*/ 291239 h 924466"/>
                  <a:gd name="connsiteX52" fmla="*/ 707670 w 868197"/>
                  <a:gd name="connsiteY52" fmla="*/ 228909 h 924466"/>
                  <a:gd name="connsiteX53" fmla="*/ 707670 w 868197"/>
                  <a:gd name="connsiteY53" fmla="*/ 228006 h 924466"/>
                  <a:gd name="connsiteX54" fmla="*/ 169290 w 868197"/>
                  <a:gd name="connsiteY54" fmla="*/ 708573 h 924466"/>
                  <a:gd name="connsiteX55" fmla="*/ 100637 w 868197"/>
                  <a:gd name="connsiteY55" fmla="*/ 690507 h 924466"/>
                  <a:gd name="connsiteX56" fmla="*/ 42825 w 868197"/>
                  <a:gd name="connsiteY56" fmla="*/ 590238 h 924466"/>
                  <a:gd name="connsiteX57" fmla="*/ 37405 w 868197"/>
                  <a:gd name="connsiteY57" fmla="*/ 552299 h 924466"/>
                  <a:gd name="connsiteX58" fmla="*/ 60891 w 868197"/>
                  <a:gd name="connsiteY58" fmla="*/ 521586 h 924466"/>
                  <a:gd name="connsiteX59" fmla="*/ 199100 w 868197"/>
                  <a:gd name="connsiteY59" fmla="*/ 442093 h 924466"/>
                  <a:gd name="connsiteX60" fmla="*/ 307498 w 868197"/>
                  <a:gd name="connsiteY60" fmla="*/ 629081 h 924466"/>
                  <a:gd name="connsiteX61" fmla="*/ 169290 w 868197"/>
                  <a:gd name="connsiteY61" fmla="*/ 708573 h 924466"/>
                  <a:gd name="connsiteX62" fmla="*/ 507132 w 868197"/>
                  <a:gd name="connsiteY62" fmla="*/ 856718 h 924466"/>
                  <a:gd name="connsiteX63" fmla="*/ 489066 w 868197"/>
                  <a:gd name="connsiteY63" fmla="*/ 883817 h 924466"/>
                  <a:gd name="connsiteX64" fmla="*/ 444803 w 868197"/>
                  <a:gd name="connsiteY64" fmla="*/ 877495 h 924466"/>
                  <a:gd name="connsiteX65" fmla="*/ 263235 w 868197"/>
                  <a:gd name="connsiteY65" fmla="*/ 695927 h 924466"/>
                  <a:gd name="connsiteX66" fmla="*/ 329178 w 868197"/>
                  <a:gd name="connsiteY66" fmla="*/ 657987 h 924466"/>
                  <a:gd name="connsiteX67" fmla="*/ 497196 w 868197"/>
                  <a:gd name="connsiteY67" fmla="*/ 826005 h 924466"/>
                  <a:gd name="connsiteX68" fmla="*/ 507132 w 868197"/>
                  <a:gd name="connsiteY68" fmla="*/ 856718 h 924466"/>
                  <a:gd name="connsiteX69" fmla="*/ 507132 w 868197"/>
                  <a:gd name="connsiteY69" fmla="*/ 856718 h 924466"/>
                  <a:gd name="connsiteX70" fmla="*/ 459256 w 868197"/>
                  <a:gd name="connsiteY70" fmla="*/ 672440 h 924466"/>
                  <a:gd name="connsiteX71" fmla="*/ 462869 w 868197"/>
                  <a:gd name="connsiteY71" fmla="*/ 683280 h 924466"/>
                  <a:gd name="connsiteX72" fmla="*/ 456546 w 868197"/>
                  <a:gd name="connsiteY72" fmla="*/ 693217 h 924466"/>
                  <a:gd name="connsiteX73" fmla="*/ 430350 w 868197"/>
                  <a:gd name="connsiteY73" fmla="*/ 708573 h 924466"/>
                  <a:gd name="connsiteX74" fmla="*/ 368021 w 868197"/>
                  <a:gd name="connsiteY74" fmla="*/ 646244 h 924466"/>
                  <a:gd name="connsiteX75" fmla="*/ 418607 w 868197"/>
                  <a:gd name="connsiteY75" fmla="*/ 635404 h 924466"/>
                  <a:gd name="connsiteX76" fmla="*/ 459256 w 868197"/>
                  <a:gd name="connsiteY76" fmla="*/ 672440 h 924466"/>
                  <a:gd name="connsiteX77" fmla="*/ 830521 w 868197"/>
                  <a:gd name="connsiteY77" fmla="*/ 525199 h 924466"/>
                  <a:gd name="connsiteX78" fmla="*/ 819681 w 868197"/>
                  <a:gd name="connsiteY78" fmla="*/ 538749 h 924466"/>
                  <a:gd name="connsiteX79" fmla="*/ 802518 w 868197"/>
                  <a:gd name="connsiteY79" fmla="*/ 541459 h 924466"/>
                  <a:gd name="connsiteX80" fmla="*/ 788969 w 868197"/>
                  <a:gd name="connsiteY80" fmla="*/ 530619 h 924466"/>
                  <a:gd name="connsiteX81" fmla="*/ 523392 w 868197"/>
                  <a:gd name="connsiteY81" fmla="*/ 69925 h 924466"/>
                  <a:gd name="connsiteX82" fmla="*/ 520682 w 868197"/>
                  <a:gd name="connsiteY82" fmla="*/ 52762 h 924466"/>
                  <a:gd name="connsiteX83" fmla="*/ 531522 w 868197"/>
                  <a:gd name="connsiteY83" fmla="*/ 39212 h 924466"/>
                  <a:gd name="connsiteX84" fmla="*/ 543265 w 868197"/>
                  <a:gd name="connsiteY84" fmla="*/ 36502 h 924466"/>
                  <a:gd name="connsiteX85" fmla="*/ 549588 w 868197"/>
                  <a:gd name="connsiteY85" fmla="*/ 37405 h 924466"/>
                  <a:gd name="connsiteX86" fmla="*/ 563138 w 868197"/>
                  <a:gd name="connsiteY86" fmla="*/ 48245 h 924466"/>
                  <a:gd name="connsiteX87" fmla="*/ 828715 w 868197"/>
                  <a:gd name="connsiteY87" fmla="*/ 508939 h 924466"/>
                  <a:gd name="connsiteX88" fmla="*/ 830521 w 868197"/>
                  <a:gd name="connsiteY88" fmla="*/ 525199 h 9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68197" h="924466">
                    <a:moveTo>
                      <a:pt x="859428" y="489969"/>
                    </a:moveTo>
                    <a:lnTo>
                      <a:pt x="762772" y="322855"/>
                    </a:lnTo>
                    <a:lnTo>
                      <a:pt x="770902" y="318338"/>
                    </a:lnTo>
                    <a:cubicBezTo>
                      <a:pt x="788065" y="308402"/>
                      <a:pt x="799808" y="293045"/>
                      <a:pt x="805228" y="274075"/>
                    </a:cubicBezTo>
                    <a:cubicBezTo>
                      <a:pt x="810648" y="255106"/>
                      <a:pt x="807938" y="236136"/>
                      <a:pt x="798002" y="218973"/>
                    </a:cubicBezTo>
                    <a:cubicBezTo>
                      <a:pt x="778129" y="184647"/>
                      <a:pt x="732963" y="172000"/>
                      <a:pt x="698636" y="192776"/>
                    </a:cubicBezTo>
                    <a:lnTo>
                      <a:pt x="690507" y="197293"/>
                    </a:lnTo>
                    <a:lnTo>
                      <a:pt x="593851" y="29275"/>
                    </a:lnTo>
                    <a:cubicBezTo>
                      <a:pt x="585721" y="15726"/>
                      <a:pt x="573075" y="5789"/>
                      <a:pt x="557718" y="2176"/>
                    </a:cubicBezTo>
                    <a:cubicBezTo>
                      <a:pt x="542362" y="-2341"/>
                      <a:pt x="527005" y="369"/>
                      <a:pt x="512552" y="8499"/>
                    </a:cubicBezTo>
                    <a:cubicBezTo>
                      <a:pt x="498099" y="16629"/>
                      <a:pt x="489066" y="29275"/>
                      <a:pt x="485452" y="44632"/>
                    </a:cubicBezTo>
                    <a:cubicBezTo>
                      <a:pt x="482742" y="55472"/>
                      <a:pt x="482742" y="65408"/>
                      <a:pt x="485452" y="76248"/>
                    </a:cubicBezTo>
                    <a:lnTo>
                      <a:pt x="393314" y="178324"/>
                    </a:lnTo>
                    <a:cubicBezTo>
                      <a:pt x="386990" y="185550"/>
                      <a:pt x="386990" y="197293"/>
                      <a:pt x="395120" y="203616"/>
                    </a:cubicBezTo>
                    <a:cubicBezTo>
                      <a:pt x="402347" y="209940"/>
                      <a:pt x="414090" y="209940"/>
                      <a:pt x="420413" y="201810"/>
                    </a:cubicBezTo>
                    <a:lnTo>
                      <a:pt x="503519" y="107865"/>
                    </a:lnTo>
                    <a:lnTo>
                      <a:pt x="745609" y="527005"/>
                    </a:lnTo>
                    <a:lnTo>
                      <a:pt x="340921" y="613725"/>
                    </a:lnTo>
                    <a:lnTo>
                      <a:pt x="228006" y="417704"/>
                    </a:lnTo>
                    <a:lnTo>
                      <a:pt x="312015" y="322855"/>
                    </a:lnTo>
                    <a:cubicBezTo>
                      <a:pt x="318338" y="315628"/>
                      <a:pt x="318338" y="303885"/>
                      <a:pt x="310208" y="297562"/>
                    </a:cubicBezTo>
                    <a:cubicBezTo>
                      <a:pt x="302982" y="291239"/>
                      <a:pt x="291238" y="291239"/>
                      <a:pt x="284915" y="299369"/>
                    </a:cubicBezTo>
                    <a:lnTo>
                      <a:pt x="193680" y="401444"/>
                    </a:lnTo>
                    <a:lnTo>
                      <a:pt x="42825" y="489066"/>
                    </a:lnTo>
                    <a:cubicBezTo>
                      <a:pt x="22952" y="500809"/>
                      <a:pt x="8499" y="518876"/>
                      <a:pt x="3079" y="541459"/>
                    </a:cubicBezTo>
                    <a:cubicBezTo>
                      <a:pt x="-3245" y="564042"/>
                      <a:pt x="369" y="586625"/>
                      <a:pt x="12112" y="606498"/>
                    </a:cubicBezTo>
                    <a:lnTo>
                      <a:pt x="69925" y="706767"/>
                    </a:lnTo>
                    <a:cubicBezTo>
                      <a:pt x="86184" y="734769"/>
                      <a:pt x="115091" y="750126"/>
                      <a:pt x="144900" y="750126"/>
                    </a:cubicBezTo>
                    <a:cubicBezTo>
                      <a:pt x="159353" y="750126"/>
                      <a:pt x="174710" y="746513"/>
                      <a:pt x="188260" y="738383"/>
                    </a:cubicBezTo>
                    <a:lnTo>
                      <a:pt x="231619" y="713993"/>
                    </a:lnTo>
                    <a:lnTo>
                      <a:pt x="420413" y="902787"/>
                    </a:lnTo>
                    <a:cubicBezTo>
                      <a:pt x="434866" y="917240"/>
                      <a:pt x="452933" y="924467"/>
                      <a:pt x="471903" y="924467"/>
                    </a:cubicBezTo>
                    <a:cubicBezTo>
                      <a:pt x="484549" y="924467"/>
                      <a:pt x="497196" y="920854"/>
                      <a:pt x="508036" y="914531"/>
                    </a:cubicBezTo>
                    <a:cubicBezTo>
                      <a:pt x="527909" y="902787"/>
                      <a:pt x="540555" y="883817"/>
                      <a:pt x="544168" y="860331"/>
                    </a:cubicBezTo>
                    <a:cubicBezTo>
                      <a:pt x="546878" y="837748"/>
                      <a:pt x="539652" y="815165"/>
                      <a:pt x="523392" y="798905"/>
                    </a:cubicBezTo>
                    <a:lnTo>
                      <a:pt x="458353" y="733866"/>
                    </a:lnTo>
                    <a:lnTo>
                      <a:pt x="476419" y="723930"/>
                    </a:lnTo>
                    <a:cubicBezTo>
                      <a:pt x="489969" y="715800"/>
                      <a:pt x="499002" y="702250"/>
                      <a:pt x="500809" y="686893"/>
                    </a:cubicBezTo>
                    <a:cubicBezTo>
                      <a:pt x="502616" y="671537"/>
                      <a:pt x="497196" y="656181"/>
                      <a:pt x="485452" y="645341"/>
                    </a:cubicBezTo>
                    <a:lnTo>
                      <a:pt x="463773" y="625468"/>
                    </a:lnTo>
                    <a:lnTo>
                      <a:pt x="768192" y="560428"/>
                    </a:lnTo>
                    <a:cubicBezTo>
                      <a:pt x="775419" y="567655"/>
                      <a:pt x="784452" y="573075"/>
                      <a:pt x="795292" y="575785"/>
                    </a:cubicBezTo>
                    <a:cubicBezTo>
                      <a:pt x="800712" y="577592"/>
                      <a:pt x="805228" y="577592"/>
                      <a:pt x="810648" y="577592"/>
                    </a:cubicBezTo>
                    <a:cubicBezTo>
                      <a:pt x="820585" y="577592"/>
                      <a:pt x="830521" y="574882"/>
                      <a:pt x="840458" y="569462"/>
                    </a:cubicBezTo>
                    <a:cubicBezTo>
                      <a:pt x="854008" y="561332"/>
                      <a:pt x="863944" y="548685"/>
                      <a:pt x="867557" y="533329"/>
                    </a:cubicBezTo>
                    <a:cubicBezTo>
                      <a:pt x="869364" y="518876"/>
                      <a:pt x="867557" y="503519"/>
                      <a:pt x="859428" y="489969"/>
                    </a:cubicBezTo>
                    <a:lnTo>
                      <a:pt x="859428" y="489969"/>
                    </a:lnTo>
                    <a:close/>
                    <a:moveTo>
                      <a:pt x="707670" y="228006"/>
                    </a:moveTo>
                    <a:lnTo>
                      <a:pt x="715799" y="223490"/>
                    </a:lnTo>
                    <a:cubicBezTo>
                      <a:pt x="732963" y="213553"/>
                      <a:pt x="755546" y="218973"/>
                      <a:pt x="765482" y="237039"/>
                    </a:cubicBezTo>
                    <a:cubicBezTo>
                      <a:pt x="775419" y="254203"/>
                      <a:pt x="769999" y="276786"/>
                      <a:pt x="751932" y="286722"/>
                    </a:cubicBezTo>
                    <a:lnTo>
                      <a:pt x="743802" y="291239"/>
                    </a:lnTo>
                    <a:lnTo>
                      <a:pt x="707670" y="228909"/>
                    </a:lnTo>
                    <a:lnTo>
                      <a:pt x="707670" y="228006"/>
                    </a:lnTo>
                    <a:close/>
                    <a:moveTo>
                      <a:pt x="169290" y="708573"/>
                    </a:moveTo>
                    <a:cubicBezTo>
                      <a:pt x="145804" y="722123"/>
                      <a:pt x="115091" y="713993"/>
                      <a:pt x="100637" y="690507"/>
                    </a:cubicBezTo>
                    <a:lnTo>
                      <a:pt x="42825" y="590238"/>
                    </a:lnTo>
                    <a:cubicBezTo>
                      <a:pt x="36502" y="578495"/>
                      <a:pt x="34695" y="564945"/>
                      <a:pt x="37405" y="552299"/>
                    </a:cubicBezTo>
                    <a:cubicBezTo>
                      <a:pt x="40115" y="539652"/>
                      <a:pt x="49148" y="528812"/>
                      <a:pt x="60891" y="521586"/>
                    </a:cubicBezTo>
                    <a:lnTo>
                      <a:pt x="199100" y="442093"/>
                    </a:lnTo>
                    <a:lnTo>
                      <a:pt x="307498" y="629081"/>
                    </a:lnTo>
                    <a:lnTo>
                      <a:pt x="169290" y="708573"/>
                    </a:lnTo>
                    <a:close/>
                    <a:moveTo>
                      <a:pt x="507132" y="856718"/>
                    </a:moveTo>
                    <a:cubicBezTo>
                      <a:pt x="505326" y="868461"/>
                      <a:pt x="499002" y="878398"/>
                      <a:pt x="489066" y="883817"/>
                    </a:cubicBezTo>
                    <a:cubicBezTo>
                      <a:pt x="474613" y="891947"/>
                      <a:pt x="456546" y="890141"/>
                      <a:pt x="444803" y="877495"/>
                    </a:cubicBezTo>
                    <a:lnTo>
                      <a:pt x="263235" y="695927"/>
                    </a:lnTo>
                    <a:lnTo>
                      <a:pt x="329178" y="657987"/>
                    </a:lnTo>
                    <a:lnTo>
                      <a:pt x="497196" y="826005"/>
                    </a:lnTo>
                    <a:cubicBezTo>
                      <a:pt x="504422" y="833232"/>
                      <a:pt x="508939" y="844975"/>
                      <a:pt x="507132" y="856718"/>
                    </a:cubicBezTo>
                    <a:lnTo>
                      <a:pt x="507132" y="856718"/>
                    </a:lnTo>
                    <a:close/>
                    <a:moveTo>
                      <a:pt x="459256" y="672440"/>
                    </a:moveTo>
                    <a:cubicBezTo>
                      <a:pt x="461966" y="675150"/>
                      <a:pt x="463773" y="678764"/>
                      <a:pt x="462869" y="683280"/>
                    </a:cubicBezTo>
                    <a:cubicBezTo>
                      <a:pt x="461966" y="687797"/>
                      <a:pt x="460159" y="690507"/>
                      <a:pt x="456546" y="693217"/>
                    </a:cubicBezTo>
                    <a:lnTo>
                      <a:pt x="430350" y="708573"/>
                    </a:lnTo>
                    <a:lnTo>
                      <a:pt x="368021" y="646244"/>
                    </a:lnTo>
                    <a:lnTo>
                      <a:pt x="418607" y="635404"/>
                    </a:lnTo>
                    <a:lnTo>
                      <a:pt x="459256" y="672440"/>
                    </a:lnTo>
                    <a:close/>
                    <a:moveTo>
                      <a:pt x="830521" y="525199"/>
                    </a:moveTo>
                    <a:cubicBezTo>
                      <a:pt x="828715" y="531522"/>
                      <a:pt x="825101" y="536039"/>
                      <a:pt x="819681" y="538749"/>
                    </a:cubicBezTo>
                    <a:cubicBezTo>
                      <a:pt x="814261" y="541459"/>
                      <a:pt x="807938" y="542362"/>
                      <a:pt x="802518" y="541459"/>
                    </a:cubicBezTo>
                    <a:cubicBezTo>
                      <a:pt x="796195" y="539652"/>
                      <a:pt x="791678" y="536039"/>
                      <a:pt x="788969" y="530619"/>
                    </a:cubicBezTo>
                    <a:lnTo>
                      <a:pt x="523392" y="69925"/>
                    </a:lnTo>
                    <a:cubicBezTo>
                      <a:pt x="520682" y="64505"/>
                      <a:pt x="519779" y="58182"/>
                      <a:pt x="520682" y="52762"/>
                    </a:cubicBezTo>
                    <a:cubicBezTo>
                      <a:pt x="522489" y="46439"/>
                      <a:pt x="526102" y="41922"/>
                      <a:pt x="531522" y="39212"/>
                    </a:cubicBezTo>
                    <a:cubicBezTo>
                      <a:pt x="535135" y="37405"/>
                      <a:pt x="538748" y="36502"/>
                      <a:pt x="543265" y="36502"/>
                    </a:cubicBezTo>
                    <a:cubicBezTo>
                      <a:pt x="545072" y="36502"/>
                      <a:pt x="546878" y="36502"/>
                      <a:pt x="549588" y="37405"/>
                    </a:cubicBezTo>
                    <a:cubicBezTo>
                      <a:pt x="555912" y="39212"/>
                      <a:pt x="560428" y="42825"/>
                      <a:pt x="563138" y="48245"/>
                    </a:cubicBezTo>
                    <a:lnTo>
                      <a:pt x="828715" y="508939"/>
                    </a:lnTo>
                    <a:cubicBezTo>
                      <a:pt x="831424" y="513456"/>
                      <a:pt x="832328" y="518876"/>
                      <a:pt x="830521" y="5251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4B53E064-BFFD-3A04-7F6B-DD49369B7914}"/>
                  </a:ext>
                </a:extLst>
              </p:cNvPr>
              <p:cNvSpPr/>
              <p:nvPr/>
            </p:nvSpPr>
            <p:spPr>
              <a:xfrm>
                <a:off x="4253152" y="1007954"/>
                <a:ext cx="36132" cy="36132"/>
              </a:xfrm>
              <a:custGeom>
                <a:avLst/>
                <a:gdLst>
                  <a:gd name="connsiteX0" fmla="*/ 18066 w 36132"/>
                  <a:gd name="connsiteY0" fmla="*/ 36133 h 36132"/>
                  <a:gd name="connsiteX1" fmla="*/ 30713 w 36132"/>
                  <a:gd name="connsiteY1" fmla="*/ 30713 h 36132"/>
                  <a:gd name="connsiteX2" fmla="*/ 36133 w 36132"/>
                  <a:gd name="connsiteY2" fmla="*/ 18066 h 36132"/>
                  <a:gd name="connsiteX3" fmla="*/ 30713 w 36132"/>
                  <a:gd name="connsiteY3" fmla="*/ 5420 h 36132"/>
                  <a:gd name="connsiteX4" fmla="*/ 18066 w 36132"/>
                  <a:gd name="connsiteY4" fmla="*/ 0 h 36132"/>
                  <a:gd name="connsiteX5" fmla="*/ 5420 w 36132"/>
                  <a:gd name="connsiteY5" fmla="*/ 5420 h 36132"/>
                  <a:gd name="connsiteX6" fmla="*/ 0 w 36132"/>
                  <a:gd name="connsiteY6" fmla="*/ 18066 h 36132"/>
                  <a:gd name="connsiteX7" fmla="*/ 5420 w 36132"/>
                  <a:gd name="connsiteY7" fmla="*/ 30713 h 36132"/>
                  <a:gd name="connsiteX8" fmla="*/ 18066 w 36132"/>
                  <a:gd name="connsiteY8" fmla="*/ 36133 h 3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 h="36132">
                    <a:moveTo>
                      <a:pt x="18066" y="36133"/>
                    </a:moveTo>
                    <a:cubicBezTo>
                      <a:pt x="22583" y="36133"/>
                      <a:pt x="27100" y="34327"/>
                      <a:pt x="30713" y="30713"/>
                    </a:cubicBezTo>
                    <a:cubicBezTo>
                      <a:pt x="34326" y="27100"/>
                      <a:pt x="36133" y="22583"/>
                      <a:pt x="36133" y="18066"/>
                    </a:cubicBezTo>
                    <a:cubicBezTo>
                      <a:pt x="36133" y="13550"/>
                      <a:pt x="34326" y="9033"/>
                      <a:pt x="30713" y="5420"/>
                    </a:cubicBezTo>
                    <a:cubicBezTo>
                      <a:pt x="27100" y="1807"/>
                      <a:pt x="22583" y="0"/>
                      <a:pt x="18066" y="0"/>
                    </a:cubicBezTo>
                    <a:cubicBezTo>
                      <a:pt x="13550" y="0"/>
                      <a:pt x="9033" y="1807"/>
                      <a:pt x="5420" y="5420"/>
                    </a:cubicBezTo>
                    <a:cubicBezTo>
                      <a:pt x="1807" y="9033"/>
                      <a:pt x="0" y="13550"/>
                      <a:pt x="0" y="18066"/>
                    </a:cubicBezTo>
                    <a:cubicBezTo>
                      <a:pt x="0" y="22583"/>
                      <a:pt x="1807" y="27100"/>
                      <a:pt x="5420" y="30713"/>
                    </a:cubicBezTo>
                    <a:cubicBezTo>
                      <a:pt x="8130" y="34327"/>
                      <a:pt x="13550" y="36133"/>
                      <a:pt x="18066" y="3613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30" name="Graphic 2">
              <a:extLst>
                <a:ext uri="{FF2B5EF4-FFF2-40B4-BE49-F238E27FC236}">
                  <a16:creationId xmlns:a16="http://schemas.microsoft.com/office/drawing/2014/main" id="{8FBA9B87-8920-A2EB-0899-9F08EA2DF207}"/>
                </a:ext>
              </a:extLst>
            </p:cNvPr>
            <p:cNvGrpSpPr/>
            <p:nvPr/>
          </p:nvGrpSpPr>
          <p:grpSpPr>
            <a:xfrm>
              <a:off x="3958353" y="890522"/>
              <a:ext cx="708520" cy="605461"/>
              <a:chOff x="3958353" y="890522"/>
              <a:chExt cx="708520" cy="605461"/>
            </a:xfrm>
            <a:grpFill/>
          </p:grpSpPr>
          <p:sp>
            <p:nvSpPr>
              <p:cNvPr id="31" name="Freeform 30">
                <a:extLst>
                  <a:ext uri="{FF2B5EF4-FFF2-40B4-BE49-F238E27FC236}">
                    <a16:creationId xmlns:a16="http://schemas.microsoft.com/office/drawing/2014/main" id="{FF71527C-3D3B-45BB-42C6-1D8E50A49C3B}"/>
                  </a:ext>
                </a:extLst>
              </p:cNvPr>
              <p:cNvSpPr/>
              <p:nvPr/>
            </p:nvSpPr>
            <p:spPr>
              <a:xfrm>
                <a:off x="4150173" y="890522"/>
                <a:ext cx="516699" cy="505860"/>
              </a:xfrm>
              <a:custGeom>
                <a:avLst/>
                <a:gdLst>
                  <a:gd name="connsiteX0" fmla="*/ 274610 w 516699"/>
                  <a:gd name="connsiteY0" fmla="*/ 0 h 505860"/>
                  <a:gd name="connsiteX1" fmla="*/ 516700 w 516699"/>
                  <a:gd name="connsiteY1" fmla="*/ 419141 h 505860"/>
                  <a:gd name="connsiteX2" fmla="*/ 112915 w 516699"/>
                  <a:gd name="connsiteY2" fmla="*/ 505860 h 505860"/>
                  <a:gd name="connsiteX3" fmla="*/ 0 w 516699"/>
                  <a:gd name="connsiteY3" fmla="*/ 309840 h 505860"/>
                </a:gdLst>
                <a:ahLst/>
                <a:cxnLst>
                  <a:cxn ang="0">
                    <a:pos x="connsiteX0" y="connsiteY0"/>
                  </a:cxn>
                  <a:cxn ang="0">
                    <a:pos x="connsiteX1" y="connsiteY1"/>
                  </a:cxn>
                  <a:cxn ang="0">
                    <a:pos x="connsiteX2" y="connsiteY2"/>
                  </a:cxn>
                  <a:cxn ang="0">
                    <a:pos x="connsiteX3" y="connsiteY3"/>
                  </a:cxn>
                </a:cxnLst>
                <a:rect l="l" t="t" r="r" b="b"/>
                <a:pathLst>
                  <a:path w="516698" h="505859">
                    <a:moveTo>
                      <a:pt x="274610" y="0"/>
                    </a:moveTo>
                    <a:lnTo>
                      <a:pt x="516700" y="419141"/>
                    </a:lnTo>
                    <a:lnTo>
                      <a:pt x="112915" y="505860"/>
                    </a:lnTo>
                    <a:lnTo>
                      <a:pt x="0" y="309840"/>
                    </a:lnTo>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2" name="Freeform 31">
                <a:extLst>
                  <a:ext uri="{FF2B5EF4-FFF2-40B4-BE49-F238E27FC236}">
                    <a16:creationId xmlns:a16="http://schemas.microsoft.com/office/drawing/2014/main" id="{A80934B7-3D76-F50F-55EE-00DEF1DF599B}"/>
                  </a:ext>
                </a:extLst>
              </p:cNvPr>
              <p:cNvSpPr/>
              <p:nvPr/>
            </p:nvSpPr>
            <p:spPr>
              <a:xfrm>
                <a:off x="3958353" y="1222945"/>
                <a:ext cx="271312" cy="273038"/>
              </a:xfrm>
              <a:custGeom>
                <a:avLst/>
                <a:gdLst>
                  <a:gd name="connsiteX0" fmla="*/ 133104 w 271312"/>
                  <a:gd name="connsiteY0" fmla="*/ 266480 h 273038"/>
                  <a:gd name="connsiteX1" fmla="*/ 64452 w 271312"/>
                  <a:gd name="connsiteY1" fmla="*/ 248413 h 273038"/>
                  <a:gd name="connsiteX2" fmla="*/ 6639 w 271312"/>
                  <a:gd name="connsiteY2" fmla="*/ 148144 h 273038"/>
                  <a:gd name="connsiteX3" fmla="*/ 1220 w 271312"/>
                  <a:gd name="connsiteY3" fmla="*/ 110205 h 273038"/>
                  <a:gd name="connsiteX4" fmla="*/ 24706 w 271312"/>
                  <a:gd name="connsiteY4" fmla="*/ 79492 h 273038"/>
                  <a:gd name="connsiteX5" fmla="*/ 162914 w 271312"/>
                  <a:gd name="connsiteY5" fmla="*/ 0 h 273038"/>
                  <a:gd name="connsiteX6" fmla="*/ 271313 w 271312"/>
                  <a:gd name="connsiteY6" fmla="*/ 186987 h 273038"/>
                  <a:gd name="connsiteX7" fmla="*/ 133104 w 271312"/>
                  <a:gd name="connsiteY7" fmla="*/ 266480 h 27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312" h="273038">
                    <a:moveTo>
                      <a:pt x="133104" y="266480"/>
                    </a:moveTo>
                    <a:cubicBezTo>
                      <a:pt x="109618" y="280030"/>
                      <a:pt x="78905" y="271900"/>
                      <a:pt x="64452" y="248413"/>
                    </a:cubicBezTo>
                    <a:lnTo>
                      <a:pt x="6639" y="148144"/>
                    </a:lnTo>
                    <a:cubicBezTo>
                      <a:pt x="316" y="136401"/>
                      <a:pt x="-1490" y="122852"/>
                      <a:pt x="1220" y="110205"/>
                    </a:cubicBezTo>
                    <a:cubicBezTo>
                      <a:pt x="4833" y="97559"/>
                      <a:pt x="12963" y="86719"/>
                      <a:pt x="24706" y="79492"/>
                    </a:cubicBezTo>
                    <a:lnTo>
                      <a:pt x="162914" y="0"/>
                    </a:lnTo>
                    <a:lnTo>
                      <a:pt x="271313" y="186987"/>
                    </a:lnTo>
                    <a:lnTo>
                      <a:pt x="133104" y="266480"/>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
        <p:nvSpPr>
          <p:cNvPr id="35" name="Rectangle 174">
            <a:extLst>
              <a:ext uri="{FF2B5EF4-FFF2-40B4-BE49-F238E27FC236}">
                <a16:creationId xmlns:a16="http://schemas.microsoft.com/office/drawing/2014/main" id="{FA860F30-B488-5905-C680-5462A9476653}"/>
              </a:ext>
            </a:extLst>
          </p:cNvPr>
          <p:cNvSpPr>
            <a:spLocks noChangeArrowheads="1"/>
          </p:cNvSpPr>
          <p:nvPr/>
        </p:nvSpPr>
        <p:spPr bwMode="auto">
          <a:xfrm>
            <a:off x="5371751" y="3095966"/>
            <a:ext cx="4043832" cy="540346"/>
          </a:xfrm>
          <a:prstGeom prst="rect">
            <a:avLst/>
          </a:prstGeom>
          <a:solidFill>
            <a:srgbClr val="B41F7A"/>
          </a:solidFill>
          <a:ln>
            <a:noFill/>
          </a:ln>
        </p:spPr>
        <p:txBody>
          <a:bodyPr vert="horz" wrap="square" lIns="45708" tIns="22854" rIns="45708" bIns="22854" numCol="1" anchor="t" anchorCtr="0" compatLnSpc="1">
            <a:prstTxWarp prst="textNoShape">
              <a:avLst/>
            </a:prstTxWarp>
          </a:bodyPr>
          <a:lstStyle/>
          <a:p>
            <a:endParaRPr lang="en-GB" b="1">
              <a:latin typeface="+mj-lt"/>
            </a:endParaRPr>
          </a:p>
        </p:txBody>
      </p:sp>
      <p:sp>
        <p:nvSpPr>
          <p:cNvPr id="36" name="Rectangle 178">
            <a:extLst>
              <a:ext uri="{FF2B5EF4-FFF2-40B4-BE49-F238E27FC236}">
                <a16:creationId xmlns:a16="http://schemas.microsoft.com/office/drawing/2014/main" id="{B0907C90-701B-534E-A034-01199D699794}"/>
              </a:ext>
            </a:extLst>
          </p:cNvPr>
          <p:cNvSpPr>
            <a:spLocks noChangeArrowheads="1"/>
          </p:cNvSpPr>
          <p:nvPr/>
        </p:nvSpPr>
        <p:spPr bwMode="auto">
          <a:xfrm>
            <a:off x="5371749" y="4717004"/>
            <a:ext cx="3954653" cy="540828"/>
          </a:xfrm>
          <a:prstGeom prst="rect">
            <a:avLst/>
          </a:prstGeom>
          <a:solidFill>
            <a:srgbClr val="245473"/>
          </a:solidFill>
          <a:ln>
            <a:noFill/>
          </a:ln>
        </p:spPr>
        <p:txBody>
          <a:bodyPr vert="horz" wrap="square" lIns="45708" tIns="22854" rIns="45708" bIns="22854" numCol="1" anchor="t" anchorCtr="0" compatLnSpc="1">
            <a:prstTxWarp prst="textNoShape">
              <a:avLst/>
            </a:prstTxWarp>
          </a:bodyPr>
          <a:lstStyle/>
          <a:p>
            <a:endParaRPr lang="en-GB" b="1">
              <a:latin typeface="+mj-lt"/>
            </a:endParaRPr>
          </a:p>
        </p:txBody>
      </p:sp>
      <p:sp>
        <p:nvSpPr>
          <p:cNvPr id="37" name="Freeform 182">
            <a:extLst>
              <a:ext uri="{FF2B5EF4-FFF2-40B4-BE49-F238E27FC236}">
                <a16:creationId xmlns:a16="http://schemas.microsoft.com/office/drawing/2014/main" id="{2B3AF8B8-8390-F85E-DC11-09FCFB3B46E7}"/>
              </a:ext>
            </a:extLst>
          </p:cNvPr>
          <p:cNvSpPr/>
          <p:nvPr/>
        </p:nvSpPr>
        <p:spPr bwMode="auto">
          <a:xfrm>
            <a:off x="8859707" y="4520821"/>
            <a:ext cx="887087" cy="934157"/>
          </a:xfrm>
          <a:custGeom>
            <a:avLst/>
            <a:gdLst>
              <a:gd name="T0" fmla="*/ 1694 w 1743"/>
              <a:gd name="T1" fmla="*/ 782 h 1743"/>
              <a:gd name="T2" fmla="*/ 1694 w 1743"/>
              <a:gd name="T3" fmla="*/ 960 h 1743"/>
              <a:gd name="T4" fmla="*/ 961 w 1743"/>
              <a:gd name="T5" fmla="*/ 1694 h 1743"/>
              <a:gd name="T6" fmla="*/ 783 w 1743"/>
              <a:gd name="T7" fmla="*/ 1694 h 1743"/>
              <a:gd name="T8" fmla="*/ 49 w 1743"/>
              <a:gd name="T9" fmla="*/ 960 h 1743"/>
              <a:gd name="T10" fmla="*/ 49 w 1743"/>
              <a:gd name="T11" fmla="*/ 782 h 1743"/>
              <a:gd name="T12" fmla="*/ 783 w 1743"/>
              <a:gd name="T13" fmla="*/ 49 h 1743"/>
              <a:gd name="T14" fmla="*/ 961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2"/>
                  <a:pt x="1743" y="911"/>
                  <a:pt x="1694" y="960"/>
                </a:cubicBezTo>
                <a:cubicBezTo>
                  <a:pt x="961" y="1694"/>
                  <a:pt x="961" y="1694"/>
                  <a:pt x="961" y="1694"/>
                </a:cubicBezTo>
                <a:cubicBezTo>
                  <a:pt x="911" y="1743"/>
                  <a:pt x="832" y="1743"/>
                  <a:pt x="783" y="1694"/>
                </a:cubicBezTo>
                <a:cubicBezTo>
                  <a:pt x="49" y="960"/>
                  <a:pt x="49" y="960"/>
                  <a:pt x="49" y="960"/>
                </a:cubicBezTo>
                <a:cubicBezTo>
                  <a:pt x="0" y="911"/>
                  <a:pt x="0" y="832"/>
                  <a:pt x="49" y="782"/>
                </a:cubicBezTo>
                <a:cubicBezTo>
                  <a:pt x="783" y="49"/>
                  <a:pt x="783" y="49"/>
                  <a:pt x="783" y="49"/>
                </a:cubicBezTo>
                <a:cubicBezTo>
                  <a:pt x="832" y="0"/>
                  <a:pt x="911" y="0"/>
                  <a:pt x="961" y="49"/>
                </a:cubicBezTo>
                <a:lnTo>
                  <a:pt x="1694" y="782"/>
                </a:lnTo>
                <a:close/>
              </a:path>
            </a:pathLst>
          </a:custGeom>
          <a:solidFill>
            <a:srgbClr val="245473"/>
          </a:solidFill>
          <a:ln>
            <a:noFill/>
          </a:ln>
        </p:spPr>
        <p:txBody>
          <a:bodyPr vert="horz" wrap="square" lIns="45708" tIns="22854" rIns="45708" bIns="22854" numCol="1" anchor="t" anchorCtr="0" compatLnSpc="1">
            <a:prstTxWarp prst="textNoShape">
              <a:avLst/>
            </a:prstTxWarp>
          </a:bodyPr>
          <a:lstStyle/>
          <a:p>
            <a:endParaRPr lang="en-GB" b="1">
              <a:latin typeface="+mj-lt"/>
            </a:endParaRPr>
          </a:p>
        </p:txBody>
      </p:sp>
      <p:sp>
        <p:nvSpPr>
          <p:cNvPr id="38" name="Rectangle 188">
            <a:extLst>
              <a:ext uri="{FF2B5EF4-FFF2-40B4-BE49-F238E27FC236}">
                <a16:creationId xmlns:a16="http://schemas.microsoft.com/office/drawing/2014/main" id="{84414922-FD22-B707-22B4-4EC1200E47A8}"/>
              </a:ext>
            </a:extLst>
          </p:cNvPr>
          <p:cNvSpPr>
            <a:spLocks noChangeArrowheads="1"/>
          </p:cNvSpPr>
          <p:nvPr/>
        </p:nvSpPr>
        <p:spPr bwMode="auto">
          <a:xfrm>
            <a:off x="5371752" y="2555138"/>
            <a:ext cx="3270194" cy="540828"/>
          </a:xfrm>
          <a:prstGeom prst="rect">
            <a:avLst/>
          </a:prstGeom>
          <a:solidFill>
            <a:srgbClr val="7F1C58"/>
          </a:solidFill>
          <a:ln>
            <a:noFill/>
          </a:ln>
        </p:spPr>
        <p:txBody>
          <a:bodyPr vert="horz" wrap="square" lIns="45708" tIns="22854" rIns="45708" bIns="22854" numCol="1" anchor="t" anchorCtr="0" compatLnSpc="1">
            <a:prstTxWarp prst="textNoShape">
              <a:avLst/>
            </a:prstTxWarp>
          </a:bodyPr>
          <a:lstStyle/>
          <a:p>
            <a:endParaRPr lang="en-GB" b="1">
              <a:latin typeface="+mj-lt"/>
            </a:endParaRPr>
          </a:p>
        </p:txBody>
      </p:sp>
      <p:sp>
        <p:nvSpPr>
          <p:cNvPr id="39" name="Freeform 191">
            <a:extLst>
              <a:ext uri="{FF2B5EF4-FFF2-40B4-BE49-F238E27FC236}">
                <a16:creationId xmlns:a16="http://schemas.microsoft.com/office/drawing/2014/main" id="{D315182C-F944-9059-9482-A1410BDC9760}"/>
              </a:ext>
            </a:extLst>
          </p:cNvPr>
          <p:cNvSpPr/>
          <p:nvPr/>
        </p:nvSpPr>
        <p:spPr bwMode="auto">
          <a:xfrm>
            <a:off x="8166999" y="2358474"/>
            <a:ext cx="887087" cy="934157"/>
          </a:xfrm>
          <a:custGeom>
            <a:avLst/>
            <a:gdLst>
              <a:gd name="T0" fmla="*/ 1694 w 1743"/>
              <a:gd name="T1" fmla="*/ 782 h 1743"/>
              <a:gd name="T2" fmla="*/ 1694 w 1743"/>
              <a:gd name="T3" fmla="*/ 960 h 1743"/>
              <a:gd name="T4" fmla="*/ 960 w 1743"/>
              <a:gd name="T5" fmla="*/ 1694 h 1743"/>
              <a:gd name="T6" fmla="*/ 783 w 1743"/>
              <a:gd name="T7" fmla="*/ 1694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4"/>
                  <a:pt x="960" y="1694"/>
                  <a:pt x="960" y="1694"/>
                </a:cubicBezTo>
                <a:cubicBezTo>
                  <a:pt x="911" y="1743"/>
                  <a:pt x="832" y="1743"/>
                  <a:pt x="783" y="1694"/>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7F1C58"/>
          </a:solidFill>
          <a:ln>
            <a:noFill/>
          </a:ln>
        </p:spPr>
        <p:txBody>
          <a:bodyPr vert="horz" wrap="square" lIns="45708" tIns="22854" rIns="45708" bIns="22854" numCol="1" anchor="t" anchorCtr="0" compatLnSpc="1">
            <a:prstTxWarp prst="textNoShape">
              <a:avLst/>
            </a:prstTxWarp>
          </a:bodyPr>
          <a:lstStyle/>
          <a:p>
            <a:endParaRPr lang="en-GB" b="1">
              <a:latin typeface="+mj-lt"/>
            </a:endParaRPr>
          </a:p>
        </p:txBody>
      </p:sp>
      <p:sp>
        <p:nvSpPr>
          <p:cNvPr id="40" name="Rectangle 194">
            <a:extLst>
              <a:ext uri="{FF2B5EF4-FFF2-40B4-BE49-F238E27FC236}">
                <a16:creationId xmlns:a16="http://schemas.microsoft.com/office/drawing/2014/main" id="{419F0F11-6F31-937C-0915-2B9D9C78F0B2}"/>
              </a:ext>
            </a:extLst>
          </p:cNvPr>
          <p:cNvSpPr>
            <a:spLocks noChangeArrowheads="1"/>
          </p:cNvSpPr>
          <p:nvPr/>
        </p:nvSpPr>
        <p:spPr bwMode="auto">
          <a:xfrm>
            <a:off x="5371749" y="3635830"/>
            <a:ext cx="3487957" cy="540828"/>
          </a:xfrm>
          <a:prstGeom prst="rect">
            <a:avLst/>
          </a:prstGeom>
          <a:solidFill>
            <a:srgbClr val="F16924"/>
          </a:solidFill>
          <a:ln>
            <a:noFill/>
          </a:ln>
        </p:spPr>
        <p:txBody>
          <a:bodyPr vert="horz" wrap="square" lIns="45708" tIns="22854" rIns="45708" bIns="22854" numCol="1" anchor="t" anchorCtr="0" compatLnSpc="1">
            <a:prstTxWarp prst="textNoShape">
              <a:avLst/>
            </a:prstTxWarp>
          </a:bodyPr>
          <a:lstStyle/>
          <a:p>
            <a:endParaRPr lang="en-GB" b="1">
              <a:latin typeface="+mj-lt"/>
            </a:endParaRPr>
          </a:p>
        </p:txBody>
      </p:sp>
      <p:sp>
        <p:nvSpPr>
          <p:cNvPr id="41" name="Freeform 198">
            <a:extLst>
              <a:ext uri="{FF2B5EF4-FFF2-40B4-BE49-F238E27FC236}">
                <a16:creationId xmlns:a16="http://schemas.microsoft.com/office/drawing/2014/main" id="{B6B67C67-8693-0988-5CB6-8E5630BA125E}"/>
              </a:ext>
            </a:extLst>
          </p:cNvPr>
          <p:cNvSpPr/>
          <p:nvPr/>
        </p:nvSpPr>
        <p:spPr bwMode="auto">
          <a:xfrm>
            <a:off x="8364130" y="3439647"/>
            <a:ext cx="887087" cy="934157"/>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F16924"/>
          </a:solidFill>
          <a:ln>
            <a:noFill/>
          </a:ln>
        </p:spPr>
        <p:txBody>
          <a:bodyPr vert="horz" wrap="square" lIns="45708" tIns="22854" rIns="45708" bIns="22854" numCol="1" anchor="t" anchorCtr="0" compatLnSpc="1">
            <a:prstTxWarp prst="textNoShape">
              <a:avLst/>
            </a:prstTxWarp>
          </a:bodyPr>
          <a:lstStyle/>
          <a:p>
            <a:endParaRPr lang="en-GB" b="1">
              <a:latin typeface="+mj-lt"/>
            </a:endParaRPr>
          </a:p>
        </p:txBody>
      </p:sp>
      <p:sp>
        <p:nvSpPr>
          <p:cNvPr id="42" name="Rectangle 200">
            <a:extLst>
              <a:ext uri="{FF2B5EF4-FFF2-40B4-BE49-F238E27FC236}">
                <a16:creationId xmlns:a16="http://schemas.microsoft.com/office/drawing/2014/main" id="{F828A1BE-4209-66F5-760E-926FAADE7BF9}"/>
              </a:ext>
            </a:extLst>
          </p:cNvPr>
          <p:cNvSpPr>
            <a:spLocks noChangeArrowheads="1"/>
          </p:cNvSpPr>
          <p:nvPr/>
        </p:nvSpPr>
        <p:spPr bwMode="auto">
          <a:xfrm>
            <a:off x="5371749" y="4176657"/>
            <a:ext cx="2850667" cy="540346"/>
          </a:xfrm>
          <a:prstGeom prst="rect">
            <a:avLst/>
          </a:prstGeom>
          <a:solidFill>
            <a:srgbClr val="EDA13E"/>
          </a:solidFill>
          <a:ln>
            <a:noFill/>
          </a:ln>
        </p:spPr>
        <p:txBody>
          <a:bodyPr vert="horz" wrap="square" lIns="45708" tIns="22854" rIns="45708" bIns="22854" numCol="1" anchor="t" anchorCtr="0" compatLnSpc="1">
            <a:prstTxWarp prst="textNoShape">
              <a:avLst/>
            </a:prstTxWarp>
          </a:bodyPr>
          <a:lstStyle/>
          <a:p>
            <a:endParaRPr lang="en-GB" b="1">
              <a:latin typeface="+mj-lt"/>
            </a:endParaRPr>
          </a:p>
        </p:txBody>
      </p:sp>
      <p:sp>
        <p:nvSpPr>
          <p:cNvPr id="43" name="Freeform 204">
            <a:extLst>
              <a:ext uri="{FF2B5EF4-FFF2-40B4-BE49-F238E27FC236}">
                <a16:creationId xmlns:a16="http://schemas.microsoft.com/office/drawing/2014/main" id="{0BA95A38-DB15-DDF5-C705-77F362118B35}"/>
              </a:ext>
            </a:extLst>
          </p:cNvPr>
          <p:cNvSpPr/>
          <p:nvPr/>
        </p:nvSpPr>
        <p:spPr bwMode="auto">
          <a:xfrm>
            <a:off x="7615493" y="3980475"/>
            <a:ext cx="887087" cy="933675"/>
          </a:xfrm>
          <a:custGeom>
            <a:avLst/>
            <a:gdLst>
              <a:gd name="T0" fmla="*/ 1694 w 1743"/>
              <a:gd name="T1" fmla="*/ 783 h 1743"/>
              <a:gd name="T2" fmla="*/ 1694 w 1743"/>
              <a:gd name="T3" fmla="*/ 961 h 1743"/>
              <a:gd name="T4" fmla="*/ 961 w 1743"/>
              <a:gd name="T5" fmla="*/ 1694 h 1743"/>
              <a:gd name="T6" fmla="*/ 783 w 1743"/>
              <a:gd name="T7" fmla="*/ 1694 h 1743"/>
              <a:gd name="T8" fmla="*/ 50 w 1743"/>
              <a:gd name="T9" fmla="*/ 961 h 1743"/>
              <a:gd name="T10" fmla="*/ 50 w 1743"/>
              <a:gd name="T11" fmla="*/ 783 h 1743"/>
              <a:gd name="T12" fmla="*/ 783 w 1743"/>
              <a:gd name="T13" fmla="*/ 49 h 1743"/>
              <a:gd name="T14" fmla="*/ 961 w 1743"/>
              <a:gd name="T15" fmla="*/ 49 h 1743"/>
              <a:gd name="T16" fmla="*/ 1694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3"/>
                </a:moveTo>
                <a:cubicBezTo>
                  <a:pt x="1743" y="832"/>
                  <a:pt x="1743" y="912"/>
                  <a:pt x="1694" y="961"/>
                </a:cubicBezTo>
                <a:cubicBezTo>
                  <a:pt x="961" y="1694"/>
                  <a:pt x="961" y="1694"/>
                  <a:pt x="961" y="1694"/>
                </a:cubicBezTo>
                <a:cubicBezTo>
                  <a:pt x="912" y="1743"/>
                  <a:pt x="832" y="1743"/>
                  <a:pt x="783" y="1694"/>
                </a:cubicBezTo>
                <a:cubicBezTo>
                  <a:pt x="50" y="961"/>
                  <a:pt x="50" y="961"/>
                  <a:pt x="50" y="961"/>
                </a:cubicBezTo>
                <a:cubicBezTo>
                  <a:pt x="0" y="912"/>
                  <a:pt x="0" y="832"/>
                  <a:pt x="50" y="783"/>
                </a:cubicBezTo>
                <a:cubicBezTo>
                  <a:pt x="783" y="49"/>
                  <a:pt x="783" y="49"/>
                  <a:pt x="783" y="49"/>
                </a:cubicBezTo>
                <a:cubicBezTo>
                  <a:pt x="832" y="0"/>
                  <a:pt x="912" y="0"/>
                  <a:pt x="961" y="49"/>
                </a:cubicBezTo>
                <a:lnTo>
                  <a:pt x="1694" y="783"/>
                </a:lnTo>
                <a:close/>
              </a:path>
            </a:pathLst>
          </a:custGeom>
          <a:solidFill>
            <a:srgbClr val="EDA13E"/>
          </a:solidFill>
          <a:ln>
            <a:noFill/>
          </a:ln>
        </p:spPr>
        <p:txBody>
          <a:bodyPr vert="horz" wrap="square" lIns="45708" tIns="22854" rIns="45708" bIns="22854" numCol="1" anchor="t" anchorCtr="0" compatLnSpc="1">
            <a:prstTxWarp prst="textNoShape">
              <a:avLst/>
            </a:prstTxWarp>
          </a:bodyPr>
          <a:lstStyle/>
          <a:p>
            <a:endParaRPr lang="en-GB" b="1">
              <a:latin typeface="+mj-lt"/>
            </a:endParaRPr>
          </a:p>
        </p:txBody>
      </p:sp>
      <p:sp>
        <p:nvSpPr>
          <p:cNvPr id="44" name="Rectangle 206">
            <a:extLst>
              <a:ext uri="{FF2B5EF4-FFF2-40B4-BE49-F238E27FC236}">
                <a16:creationId xmlns:a16="http://schemas.microsoft.com/office/drawing/2014/main" id="{E28EA32A-83CE-AFB4-F080-9920D2D870BC}"/>
              </a:ext>
            </a:extLst>
          </p:cNvPr>
          <p:cNvSpPr>
            <a:spLocks noChangeArrowheads="1"/>
          </p:cNvSpPr>
          <p:nvPr/>
        </p:nvSpPr>
        <p:spPr bwMode="auto">
          <a:xfrm>
            <a:off x="5371751" y="2014793"/>
            <a:ext cx="2458514" cy="540346"/>
          </a:xfrm>
          <a:prstGeom prst="rect">
            <a:avLst/>
          </a:prstGeom>
          <a:solidFill>
            <a:srgbClr val="245473"/>
          </a:solidFill>
          <a:ln>
            <a:noFill/>
          </a:ln>
        </p:spPr>
        <p:txBody>
          <a:bodyPr vert="horz" wrap="square" lIns="45708" tIns="22854" rIns="45708" bIns="22854" numCol="1" anchor="t" anchorCtr="0" compatLnSpc="1">
            <a:prstTxWarp prst="textNoShape">
              <a:avLst/>
            </a:prstTxWarp>
          </a:bodyPr>
          <a:lstStyle/>
          <a:p>
            <a:endParaRPr lang="en-GB" b="1">
              <a:latin typeface="+mj-lt"/>
            </a:endParaRPr>
          </a:p>
        </p:txBody>
      </p:sp>
      <p:sp>
        <p:nvSpPr>
          <p:cNvPr id="45" name="Freeform 210">
            <a:extLst>
              <a:ext uri="{FF2B5EF4-FFF2-40B4-BE49-F238E27FC236}">
                <a16:creationId xmlns:a16="http://schemas.microsoft.com/office/drawing/2014/main" id="{11411ACD-13E2-C23F-F67E-5AAC49F129B4}"/>
              </a:ext>
            </a:extLst>
          </p:cNvPr>
          <p:cNvSpPr/>
          <p:nvPr/>
        </p:nvSpPr>
        <p:spPr bwMode="auto">
          <a:xfrm>
            <a:off x="7359223" y="1818128"/>
            <a:ext cx="886629" cy="933675"/>
          </a:xfrm>
          <a:custGeom>
            <a:avLst/>
            <a:gdLst>
              <a:gd name="T0" fmla="*/ 1693 w 1742"/>
              <a:gd name="T1" fmla="*/ 782 h 1743"/>
              <a:gd name="T2" fmla="*/ 1693 w 1742"/>
              <a:gd name="T3" fmla="*/ 960 h 1743"/>
              <a:gd name="T4" fmla="*/ 960 w 1742"/>
              <a:gd name="T5" fmla="*/ 1694 h 1743"/>
              <a:gd name="T6" fmla="*/ 782 w 1742"/>
              <a:gd name="T7" fmla="*/ 1694 h 1743"/>
              <a:gd name="T8" fmla="*/ 49 w 1742"/>
              <a:gd name="T9" fmla="*/ 960 h 1743"/>
              <a:gd name="T10" fmla="*/ 49 w 1742"/>
              <a:gd name="T11" fmla="*/ 782 h 1743"/>
              <a:gd name="T12" fmla="*/ 782 w 1742"/>
              <a:gd name="T13" fmla="*/ 49 h 1743"/>
              <a:gd name="T14" fmla="*/ 960 w 1742"/>
              <a:gd name="T15" fmla="*/ 49 h 1743"/>
              <a:gd name="T16" fmla="*/ 1693 w 1742"/>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2" h="1743">
                <a:moveTo>
                  <a:pt x="1693" y="782"/>
                </a:moveTo>
                <a:cubicBezTo>
                  <a:pt x="1742" y="831"/>
                  <a:pt x="1742" y="911"/>
                  <a:pt x="1693" y="960"/>
                </a:cubicBezTo>
                <a:cubicBezTo>
                  <a:pt x="960" y="1694"/>
                  <a:pt x="960" y="1694"/>
                  <a:pt x="960" y="1694"/>
                </a:cubicBezTo>
                <a:cubicBezTo>
                  <a:pt x="911" y="1743"/>
                  <a:pt x="831" y="1743"/>
                  <a:pt x="782" y="1694"/>
                </a:cubicBezTo>
                <a:cubicBezTo>
                  <a:pt x="49" y="960"/>
                  <a:pt x="49" y="960"/>
                  <a:pt x="49" y="960"/>
                </a:cubicBezTo>
                <a:cubicBezTo>
                  <a:pt x="0" y="911"/>
                  <a:pt x="0" y="831"/>
                  <a:pt x="49" y="782"/>
                </a:cubicBezTo>
                <a:cubicBezTo>
                  <a:pt x="782" y="49"/>
                  <a:pt x="782" y="49"/>
                  <a:pt x="782" y="49"/>
                </a:cubicBezTo>
                <a:cubicBezTo>
                  <a:pt x="831" y="0"/>
                  <a:pt x="911" y="0"/>
                  <a:pt x="960" y="49"/>
                </a:cubicBezTo>
                <a:lnTo>
                  <a:pt x="1693" y="782"/>
                </a:lnTo>
                <a:close/>
              </a:path>
            </a:pathLst>
          </a:custGeom>
          <a:solidFill>
            <a:srgbClr val="245473"/>
          </a:solidFill>
          <a:ln>
            <a:noFill/>
          </a:ln>
        </p:spPr>
        <p:txBody>
          <a:bodyPr vert="horz" wrap="square" lIns="45708" tIns="22854" rIns="45708" bIns="22854" numCol="1" anchor="t" anchorCtr="0" compatLnSpc="1">
            <a:prstTxWarp prst="textNoShape">
              <a:avLst/>
            </a:prstTxWarp>
          </a:bodyPr>
          <a:lstStyle/>
          <a:p>
            <a:endParaRPr lang="en-GB" b="1">
              <a:latin typeface="+mj-lt"/>
            </a:endParaRPr>
          </a:p>
        </p:txBody>
      </p:sp>
      <p:sp>
        <p:nvSpPr>
          <p:cNvPr id="46" name="Rectangle 214">
            <a:extLst>
              <a:ext uri="{FF2B5EF4-FFF2-40B4-BE49-F238E27FC236}">
                <a16:creationId xmlns:a16="http://schemas.microsoft.com/office/drawing/2014/main" id="{88FC22C4-0238-DB08-3E8F-4E9F0689B35D}"/>
              </a:ext>
            </a:extLst>
          </p:cNvPr>
          <p:cNvSpPr>
            <a:spLocks noChangeArrowheads="1"/>
          </p:cNvSpPr>
          <p:nvPr/>
        </p:nvSpPr>
        <p:spPr bwMode="auto">
          <a:xfrm>
            <a:off x="5371751" y="5257831"/>
            <a:ext cx="2458514" cy="540346"/>
          </a:xfrm>
          <a:prstGeom prst="rect">
            <a:avLst/>
          </a:prstGeom>
          <a:solidFill>
            <a:srgbClr val="7F1C58"/>
          </a:solidFill>
          <a:ln>
            <a:noFill/>
          </a:ln>
        </p:spPr>
        <p:txBody>
          <a:bodyPr vert="horz" wrap="square" lIns="45708" tIns="22854" rIns="45708" bIns="22854" numCol="1" anchor="t" anchorCtr="0" compatLnSpc="1">
            <a:prstTxWarp prst="textNoShape">
              <a:avLst/>
            </a:prstTxWarp>
          </a:bodyPr>
          <a:lstStyle/>
          <a:p>
            <a:endParaRPr lang="en-GB" b="1">
              <a:latin typeface="+mj-lt"/>
            </a:endParaRPr>
          </a:p>
        </p:txBody>
      </p:sp>
      <p:sp>
        <p:nvSpPr>
          <p:cNvPr id="47" name="Freeform 217">
            <a:extLst>
              <a:ext uri="{FF2B5EF4-FFF2-40B4-BE49-F238E27FC236}">
                <a16:creationId xmlns:a16="http://schemas.microsoft.com/office/drawing/2014/main" id="{BCFD2F68-1D3F-6F74-C71C-A417388B344F}"/>
              </a:ext>
            </a:extLst>
          </p:cNvPr>
          <p:cNvSpPr/>
          <p:nvPr/>
        </p:nvSpPr>
        <p:spPr bwMode="auto">
          <a:xfrm>
            <a:off x="7358765" y="5061167"/>
            <a:ext cx="887087" cy="933675"/>
          </a:xfrm>
          <a:custGeom>
            <a:avLst/>
            <a:gdLst>
              <a:gd name="T0" fmla="*/ 1693 w 1743"/>
              <a:gd name="T1" fmla="*/ 783 h 1743"/>
              <a:gd name="T2" fmla="*/ 1693 w 1743"/>
              <a:gd name="T3" fmla="*/ 961 h 1743"/>
              <a:gd name="T4" fmla="*/ 960 w 1743"/>
              <a:gd name="T5" fmla="*/ 1694 h 1743"/>
              <a:gd name="T6" fmla="*/ 782 w 1743"/>
              <a:gd name="T7" fmla="*/ 1694 h 1743"/>
              <a:gd name="T8" fmla="*/ 49 w 1743"/>
              <a:gd name="T9" fmla="*/ 961 h 1743"/>
              <a:gd name="T10" fmla="*/ 49 w 1743"/>
              <a:gd name="T11" fmla="*/ 783 h 1743"/>
              <a:gd name="T12" fmla="*/ 782 w 1743"/>
              <a:gd name="T13" fmla="*/ 49 h 1743"/>
              <a:gd name="T14" fmla="*/ 960 w 1743"/>
              <a:gd name="T15" fmla="*/ 49 h 1743"/>
              <a:gd name="T16" fmla="*/ 1693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3" y="783"/>
                </a:moveTo>
                <a:cubicBezTo>
                  <a:pt x="1743" y="832"/>
                  <a:pt x="1742" y="911"/>
                  <a:pt x="1693" y="961"/>
                </a:cubicBezTo>
                <a:cubicBezTo>
                  <a:pt x="960" y="1694"/>
                  <a:pt x="960" y="1694"/>
                  <a:pt x="960" y="1694"/>
                </a:cubicBezTo>
                <a:cubicBezTo>
                  <a:pt x="911" y="1743"/>
                  <a:pt x="831" y="1743"/>
                  <a:pt x="782" y="1694"/>
                </a:cubicBezTo>
                <a:cubicBezTo>
                  <a:pt x="49" y="961"/>
                  <a:pt x="49" y="961"/>
                  <a:pt x="49" y="961"/>
                </a:cubicBezTo>
                <a:cubicBezTo>
                  <a:pt x="0" y="911"/>
                  <a:pt x="0" y="832"/>
                  <a:pt x="49" y="783"/>
                </a:cubicBezTo>
                <a:cubicBezTo>
                  <a:pt x="782" y="49"/>
                  <a:pt x="782" y="49"/>
                  <a:pt x="782" y="49"/>
                </a:cubicBezTo>
                <a:cubicBezTo>
                  <a:pt x="831" y="0"/>
                  <a:pt x="911" y="0"/>
                  <a:pt x="960" y="49"/>
                </a:cubicBezTo>
                <a:lnTo>
                  <a:pt x="1693" y="783"/>
                </a:lnTo>
                <a:close/>
              </a:path>
            </a:pathLst>
          </a:custGeom>
          <a:solidFill>
            <a:srgbClr val="7F1C58"/>
          </a:solidFill>
          <a:ln>
            <a:noFill/>
          </a:ln>
        </p:spPr>
        <p:txBody>
          <a:bodyPr vert="horz" wrap="square" lIns="45708" tIns="22854" rIns="45708" bIns="22854" numCol="1" anchor="t" anchorCtr="0" compatLnSpc="1">
            <a:prstTxWarp prst="textNoShape">
              <a:avLst/>
            </a:prstTxWarp>
          </a:bodyPr>
          <a:lstStyle/>
          <a:p>
            <a:endParaRPr lang="en-GB" b="1">
              <a:latin typeface="+mj-lt"/>
            </a:endParaRPr>
          </a:p>
        </p:txBody>
      </p:sp>
      <p:sp>
        <p:nvSpPr>
          <p:cNvPr id="48" name="Freeform 198">
            <a:extLst>
              <a:ext uri="{FF2B5EF4-FFF2-40B4-BE49-F238E27FC236}">
                <a16:creationId xmlns:a16="http://schemas.microsoft.com/office/drawing/2014/main" id="{FFC5796E-6AF9-F5A9-7513-EEEA1891C32F}"/>
              </a:ext>
            </a:extLst>
          </p:cNvPr>
          <p:cNvSpPr/>
          <p:nvPr/>
        </p:nvSpPr>
        <p:spPr bwMode="auto">
          <a:xfrm>
            <a:off x="9032044" y="2906708"/>
            <a:ext cx="887087" cy="934157"/>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B41F7A"/>
          </a:solidFill>
          <a:ln>
            <a:noFill/>
          </a:ln>
        </p:spPr>
        <p:txBody>
          <a:bodyPr vert="horz" wrap="square" lIns="45708" tIns="22854" rIns="45708" bIns="22854" numCol="1" anchor="t" anchorCtr="0" compatLnSpc="1">
            <a:prstTxWarp prst="textNoShape">
              <a:avLst/>
            </a:prstTxWarp>
          </a:bodyPr>
          <a:lstStyle/>
          <a:p>
            <a:endParaRPr lang="en-GB" b="1">
              <a:latin typeface="+mj-lt"/>
            </a:endParaRPr>
          </a:p>
        </p:txBody>
      </p:sp>
      <p:sp>
        <p:nvSpPr>
          <p:cNvPr id="49" name="TextBox 79">
            <a:extLst>
              <a:ext uri="{FF2B5EF4-FFF2-40B4-BE49-F238E27FC236}">
                <a16:creationId xmlns:a16="http://schemas.microsoft.com/office/drawing/2014/main" id="{71DDDCDB-F776-5BB5-8DFE-F149974BD8DF}"/>
              </a:ext>
            </a:extLst>
          </p:cNvPr>
          <p:cNvSpPr txBox="1"/>
          <p:nvPr/>
        </p:nvSpPr>
        <p:spPr>
          <a:xfrm>
            <a:off x="5532734" y="5316403"/>
            <a:ext cx="878767" cy="415498"/>
          </a:xfrm>
          <a:prstGeom prst="rect">
            <a:avLst/>
          </a:prstGeom>
          <a:noFill/>
        </p:spPr>
        <p:txBody>
          <a:bodyPr wrap="none" rtlCol="0">
            <a:spAutoFit/>
          </a:bodyPr>
          <a:lstStyle/>
          <a:p>
            <a:r>
              <a:rPr lang="en-GB" sz="2100" b="1">
                <a:solidFill>
                  <a:schemeClr val="bg1"/>
                </a:solidFill>
                <a:latin typeface="+mj-lt"/>
                <a:ea typeface="Roboto" charset="0"/>
                <a:cs typeface="Roboto" charset="0"/>
              </a:rPr>
              <a:t>En línea</a:t>
            </a:r>
          </a:p>
        </p:txBody>
      </p:sp>
      <p:sp>
        <p:nvSpPr>
          <p:cNvPr id="50" name="TextBox 80">
            <a:extLst>
              <a:ext uri="{FF2B5EF4-FFF2-40B4-BE49-F238E27FC236}">
                <a16:creationId xmlns:a16="http://schemas.microsoft.com/office/drawing/2014/main" id="{A3A5FE10-7B72-D631-C99E-78A44B400421}"/>
              </a:ext>
            </a:extLst>
          </p:cNvPr>
          <p:cNvSpPr txBox="1"/>
          <p:nvPr/>
        </p:nvSpPr>
        <p:spPr>
          <a:xfrm>
            <a:off x="5532734" y="4754002"/>
            <a:ext cx="1917513" cy="415498"/>
          </a:xfrm>
          <a:prstGeom prst="rect">
            <a:avLst/>
          </a:prstGeom>
          <a:noFill/>
        </p:spPr>
        <p:txBody>
          <a:bodyPr wrap="none" rtlCol="0">
            <a:spAutoFit/>
          </a:bodyPr>
          <a:lstStyle/>
          <a:p>
            <a:r>
              <a:rPr lang="en-GB" sz="2100" b="1">
                <a:solidFill>
                  <a:schemeClr val="bg1"/>
                </a:solidFill>
                <a:latin typeface="+mj-lt"/>
                <a:ea typeface="Roboto" charset="0"/>
                <a:cs typeface="Roboto" charset="0"/>
              </a:rPr>
              <a:t>Revistas científicas</a:t>
            </a:r>
          </a:p>
        </p:txBody>
      </p:sp>
      <p:sp>
        <p:nvSpPr>
          <p:cNvPr id="51" name="TextBox 81">
            <a:extLst>
              <a:ext uri="{FF2B5EF4-FFF2-40B4-BE49-F238E27FC236}">
                <a16:creationId xmlns:a16="http://schemas.microsoft.com/office/drawing/2014/main" id="{263EBE4D-6538-AEAB-ED46-7154A997964F}"/>
              </a:ext>
            </a:extLst>
          </p:cNvPr>
          <p:cNvSpPr txBox="1"/>
          <p:nvPr/>
        </p:nvSpPr>
        <p:spPr>
          <a:xfrm>
            <a:off x="5532734" y="4229875"/>
            <a:ext cx="2263248" cy="415498"/>
          </a:xfrm>
          <a:prstGeom prst="rect">
            <a:avLst/>
          </a:prstGeom>
          <a:noFill/>
        </p:spPr>
        <p:txBody>
          <a:bodyPr wrap="none" rtlCol="0">
            <a:spAutoFit/>
          </a:bodyPr>
          <a:lstStyle/>
          <a:p>
            <a:r>
              <a:rPr lang="en-GB" sz="2100" b="1">
                <a:solidFill>
                  <a:schemeClr val="bg1"/>
                </a:solidFill>
                <a:latin typeface="+mj-lt"/>
                <a:ea typeface="Roboto" charset="0"/>
                <a:cs typeface="Roboto" charset="0"/>
              </a:rPr>
              <a:t>Encuestas de opinión pública</a:t>
            </a:r>
          </a:p>
        </p:txBody>
      </p:sp>
      <p:sp>
        <p:nvSpPr>
          <p:cNvPr id="52" name="TextBox 82">
            <a:extLst>
              <a:ext uri="{FF2B5EF4-FFF2-40B4-BE49-F238E27FC236}">
                <a16:creationId xmlns:a16="http://schemas.microsoft.com/office/drawing/2014/main" id="{A83FD9C9-8C25-BDA2-A9B0-661876DDD9F9}"/>
              </a:ext>
            </a:extLst>
          </p:cNvPr>
          <p:cNvSpPr txBox="1"/>
          <p:nvPr/>
        </p:nvSpPr>
        <p:spPr>
          <a:xfrm>
            <a:off x="5532734" y="3674221"/>
            <a:ext cx="1706301" cy="415498"/>
          </a:xfrm>
          <a:prstGeom prst="rect">
            <a:avLst/>
          </a:prstGeom>
          <a:noFill/>
        </p:spPr>
        <p:txBody>
          <a:bodyPr wrap="none" rtlCol="0">
            <a:spAutoFit/>
          </a:bodyPr>
          <a:lstStyle/>
          <a:p>
            <a:r>
              <a:rPr lang="en-GB" sz="2100" b="1">
                <a:solidFill>
                  <a:schemeClr val="bg1"/>
                </a:solidFill>
                <a:latin typeface="+mj-lt"/>
                <a:ea typeface="Roboto" charset="0"/>
                <a:cs typeface="Roboto" charset="0"/>
              </a:rPr>
              <a:t>Revistas comerciales</a:t>
            </a:r>
          </a:p>
        </p:txBody>
      </p:sp>
      <p:sp>
        <p:nvSpPr>
          <p:cNvPr id="53" name="TextBox 83">
            <a:extLst>
              <a:ext uri="{FF2B5EF4-FFF2-40B4-BE49-F238E27FC236}">
                <a16:creationId xmlns:a16="http://schemas.microsoft.com/office/drawing/2014/main" id="{077A4EAB-1DA8-1D35-3A4C-6F814C56679E}"/>
              </a:ext>
            </a:extLst>
          </p:cNvPr>
          <p:cNvSpPr txBox="1"/>
          <p:nvPr/>
        </p:nvSpPr>
        <p:spPr>
          <a:xfrm>
            <a:off x="5532734" y="3150094"/>
            <a:ext cx="1099212" cy="415498"/>
          </a:xfrm>
          <a:prstGeom prst="rect">
            <a:avLst/>
          </a:prstGeom>
          <a:noFill/>
        </p:spPr>
        <p:txBody>
          <a:bodyPr wrap="none" rtlCol="0">
            <a:spAutoFit/>
          </a:bodyPr>
          <a:lstStyle/>
          <a:p>
            <a:r>
              <a:rPr lang="en-GB" sz="2100" b="1">
                <a:solidFill>
                  <a:schemeClr val="bg1"/>
                </a:solidFill>
                <a:latin typeface="+mj-lt"/>
                <a:ea typeface="Roboto" charset="0"/>
                <a:cs typeface="Roboto" charset="0"/>
              </a:rPr>
              <a:t>Noticias TV</a:t>
            </a:r>
          </a:p>
        </p:txBody>
      </p:sp>
      <p:sp>
        <p:nvSpPr>
          <p:cNvPr id="54" name="TextBox 84">
            <a:extLst>
              <a:ext uri="{FF2B5EF4-FFF2-40B4-BE49-F238E27FC236}">
                <a16:creationId xmlns:a16="http://schemas.microsoft.com/office/drawing/2014/main" id="{CFB6ACCB-9679-5B86-7550-52BF6223182E}"/>
              </a:ext>
            </a:extLst>
          </p:cNvPr>
          <p:cNvSpPr txBox="1"/>
          <p:nvPr/>
        </p:nvSpPr>
        <p:spPr>
          <a:xfrm>
            <a:off x="5532734" y="2587693"/>
            <a:ext cx="2279342" cy="415498"/>
          </a:xfrm>
          <a:prstGeom prst="rect">
            <a:avLst/>
          </a:prstGeom>
          <a:noFill/>
        </p:spPr>
        <p:txBody>
          <a:bodyPr wrap="none" rtlCol="0">
            <a:spAutoFit/>
          </a:bodyPr>
          <a:lstStyle/>
          <a:p>
            <a:r>
              <a:rPr lang="en-GB" sz="2100" b="1">
                <a:solidFill>
                  <a:schemeClr val="bg1"/>
                </a:solidFill>
                <a:latin typeface="+mj-lt"/>
                <a:ea typeface="Roboto" charset="0"/>
                <a:cs typeface="Roboto" charset="0"/>
              </a:rPr>
              <a:t>Revistas de negocios</a:t>
            </a:r>
          </a:p>
        </p:txBody>
      </p:sp>
      <p:sp>
        <p:nvSpPr>
          <p:cNvPr id="55" name="TextBox 85">
            <a:extLst>
              <a:ext uri="{FF2B5EF4-FFF2-40B4-BE49-F238E27FC236}">
                <a16:creationId xmlns:a16="http://schemas.microsoft.com/office/drawing/2014/main" id="{091FDAB6-04C9-83CC-1299-857386C66E0A}"/>
              </a:ext>
            </a:extLst>
          </p:cNvPr>
          <p:cNvSpPr txBox="1"/>
          <p:nvPr/>
        </p:nvSpPr>
        <p:spPr>
          <a:xfrm>
            <a:off x="5532734" y="2063566"/>
            <a:ext cx="1485087" cy="415498"/>
          </a:xfrm>
          <a:prstGeom prst="rect">
            <a:avLst/>
          </a:prstGeom>
          <a:noFill/>
        </p:spPr>
        <p:txBody>
          <a:bodyPr wrap="none" rtlCol="0">
            <a:spAutoFit/>
          </a:bodyPr>
          <a:lstStyle/>
          <a:p>
            <a:r>
              <a:rPr lang="en-GB" sz="2100" b="1">
                <a:solidFill>
                  <a:schemeClr val="bg1"/>
                </a:solidFill>
                <a:latin typeface="+mj-lt"/>
                <a:ea typeface="Roboto" charset="0"/>
                <a:cs typeface="Roboto" charset="0"/>
              </a:rPr>
              <a:t>Periódicos</a:t>
            </a:r>
          </a:p>
        </p:txBody>
      </p:sp>
      <p:sp>
        <p:nvSpPr>
          <p:cNvPr id="56" name="TextBox 91">
            <a:extLst>
              <a:ext uri="{FF2B5EF4-FFF2-40B4-BE49-F238E27FC236}">
                <a16:creationId xmlns:a16="http://schemas.microsoft.com/office/drawing/2014/main" id="{E9524268-F747-E5B1-CD76-B1F1C6D46891}"/>
              </a:ext>
            </a:extLst>
          </p:cNvPr>
          <p:cNvSpPr txBox="1"/>
          <p:nvPr/>
        </p:nvSpPr>
        <p:spPr>
          <a:xfrm>
            <a:off x="9991338" y="1825946"/>
            <a:ext cx="2032586" cy="1938992"/>
          </a:xfrm>
          <a:prstGeom prst="rect">
            <a:avLst/>
          </a:prstGeom>
          <a:solidFill>
            <a:srgbClr val="7F1C58"/>
          </a:solidFill>
        </p:spPr>
        <p:txBody>
          <a:bodyPr wrap="square" rtlCol="0">
            <a:spAutoFit/>
          </a:bodyPr>
          <a:lstStyle/>
          <a:p>
            <a:pPr algn="ctr"/>
            <a:r>
              <a:rPr lang="en-GB" sz="2000">
                <a:solidFill>
                  <a:schemeClr val="bg1"/>
                </a:solidFill>
                <a:ea typeface="Lato Light" charset="0"/>
                <a:cs typeface="Lato Light" charset="0"/>
              </a:rPr>
              <a:t>Guarde los datos importantes, compártalos con su equipo y discuta las implicaciones para su negocio</a:t>
            </a:r>
          </a:p>
        </p:txBody>
      </p:sp>
      <p:sp>
        <p:nvSpPr>
          <p:cNvPr id="57" name="TextBox 56">
            <a:extLst>
              <a:ext uri="{FF2B5EF4-FFF2-40B4-BE49-F238E27FC236}">
                <a16:creationId xmlns:a16="http://schemas.microsoft.com/office/drawing/2014/main" id="{2E671CFE-4385-D5BF-5980-2F48A68D4C9B}"/>
              </a:ext>
            </a:extLst>
          </p:cNvPr>
          <p:cNvSpPr txBox="1"/>
          <p:nvPr/>
        </p:nvSpPr>
        <p:spPr>
          <a:xfrm>
            <a:off x="9954600" y="4160541"/>
            <a:ext cx="2106062" cy="1938992"/>
          </a:xfrm>
          <a:prstGeom prst="rect">
            <a:avLst/>
          </a:prstGeom>
          <a:noFill/>
        </p:spPr>
        <p:txBody>
          <a:bodyPr wrap="square" rtlCol="0">
            <a:spAutoFit/>
          </a:bodyPr>
          <a:lstStyle/>
          <a:p>
            <a:r>
              <a:rPr lang="en-GB" sz="2000">
                <a:solidFill>
                  <a:srgbClr val="595959"/>
                </a:solidFill>
              </a:rPr>
              <a:t>Más adelante en este curso, conocerá el poder de la escucha social en el contexto de la alerta temprana de riesgos.</a:t>
            </a:r>
            <a:endParaRPr lang="en-IE" sz="2000">
              <a:solidFill>
                <a:srgbClr val="595959"/>
              </a:solidFill>
            </a:endParaRPr>
          </a:p>
        </p:txBody>
      </p:sp>
    </p:spTree>
    <p:extLst>
      <p:ext uri="{BB962C8B-B14F-4D97-AF65-F5344CB8AC3E}">
        <p14:creationId xmlns:p14="http://schemas.microsoft.com/office/powerpoint/2010/main" val="2168674425"/>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344234"/>
            <a:ext cx="11530904"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193800" algn="l"/>
              </a:tabLst>
            </a:pPr>
            <a:r>
              <a:rPr lang="en-US" sz="4000">
                <a:solidFill>
                  <a:schemeClr val="bg1"/>
                </a:solidFill>
              </a:rPr>
              <a:t>01 </a:t>
            </a:r>
            <a:r>
              <a:rPr lang="en-IE">
                <a:solidFill>
                  <a:schemeClr val="bg1"/>
                </a:solidFill>
              </a:rPr>
              <a:t>Temas del sector - Fuentes para identificar las tendencias del sector</a:t>
            </a:r>
            <a:endParaRPr lang="en-US">
              <a:solidFill>
                <a:schemeClr val="bg1"/>
              </a:solidFill>
            </a:endParaRP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694296" y="1687072"/>
            <a:ext cx="9803539" cy="4235476"/>
          </a:xfrm>
        </p:spPr>
        <p:txBody>
          <a:bodyPr>
            <a:normAutofit/>
          </a:bodyPr>
          <a:lstStyle/>
          <a:p>
            <a:pPr marL="12700" indent="-12700">
              <a:lnSpc>
                <a:spcPct val="100000"/>
              </a:lnSpc>
            </a:pPr>
            <a:r>
              <a:rPr lang="en-GB" sz="2200" b="1">
                <a:latin typeface="Calibri" panose="020F0502020204030204" pitchFamily="34" charset="0"/>
                <a:ea typeface="Lato Light" panose="020F0502020204030203" pitchFamily="34" charset="0"/>
                <a:cs typeface="Calibri" panose="020F0502020204030204" pitchFamily="34" charset="0"/>
              </a:rPr>
              <a:t>¿Sabías que puedes configurar una alerta de Google?</a:t>
            </a:r>
          </a:p>
          <a:p>
            <a:pPr marL="12700" indent="-12700">
              <a:lnSpc>
                <a:spcPct val="100000"/>
              </a:lnSpc>
            </a:pPr>
            <a:r>
              <a:rPr lang="en-GB" sz="2200">
                <a:latin typeface="Calibri" panose="020F0502020204030204" pitchFamily="34" charset="0"/>
                <a:ea typeface="Lato Light" panose="020F0502020204030203" pitchFamily="34" charset="0"/>
                <a:cs typeface="Calibri" panose="020F0502020204030204" pitchFamily="34" charset="0"/>
              </a:rPr>
              <a:t>Se trata de un servicio gratuito de detección y notificación de cambios de contenido, ofrecido por Google. El servicio envía correos electrónicos al usuario cuando encuentra nuevos resultados -como páginas web, artículos de periódicos, blogs o investigaciones científicas- que coinciden con su término de búsqueda, por ejemplo, </a:t>
            </a:r>
            <a:r>
              <a:rPr lang="en-GB" sz="2200" b="1">
                <a:solidFill>
                  <a:srgbClr val="F16924"/>
                </a:solidFill>
                <a:latin typeface="Calibri" panose="020F0502020204030204" pitchFamily="34" charset="0"/>
                <a:ea typeface="Lato Light" panose="020F0502020204030203" pitchFamily="34" charset="0"/>
                <a:cs typeface="Calibri" panose="020F0502020204030204" pitchFamily="34" charset="0"/>
              </a:rPr>
              <a:t>&lt;inserte su sector&gt; tendencias de la industria</a:t>
            </a:r>
            <a:r>
              <a:rPr lang="en-GB" sz="2200">
                <a:latin typeface="Calibri" panose="020F0502020204030204" pitchFamily="34" charset="0"/>
                <a:ea typeface="Lato Light" panose="020F0502020204030203" pitchFamily="34" charset="0"/>
                <a:cs typeface="Calibri" panose="020F0502020204030204" pitchFamily="34" charset="0"/>
              </a:rPr>
              <a:t>. Google escaneará Internet y le enviará un correo electrónico diario o semanal. </a:t>
            </a:r>
          </a:p>
          <a:p>
            <a:pPr marL="12700" indent="-12700">
              <a:lnSpc>
                <a:spcPct val="100000"/>
              </a:lnSpc>
            </a:pPr>
            <a:r>
              <a:rPr lang="en-GB" sz="2200" b="1">
                <a:latin typeface="Calibri" panose="020F0502020204030204" pitchFamily="34" charset="0"/>
                <a:ea typeface="Lato Light" panose="020F0502020204030203" pitchFamily="34" charset="0"/>
                <a:cs typeface="Calibri" panose="020F0502020204030204" pitchFamily="34" charset="0"/>
              </a:rPr>
              <a:t>Es muy fácil de configurar  </a:t>
            </a:r>
          </a:p>
          <a:p>
            <a:pPr marL="12700" indent="-12700">
              <a:lnSpc>
                <a:spcPct val="100000"/>
              </a:lnSpc>
            </a:pPr>
            <a:r>
              <a:rPr lang="en-GB" sz="2200">
                <a:latin typeface="Calibri" panose="020F0502020204030204" pitchFamily="34" charset="0"/>
                <a:ea typeface="Lato Light" panose="020F0502020204030203" pitchFamily="34" charset="0"/>
                <a:cs typeface="Calibri" panose="020F0502020204030204" pitchFamily="34" charset="0"/>
              </a:rPr>
              <a:t>- mira este vídeo haciendo clic en el play</a:t>
            </a:r>
            <a:endParaRPr lang="en-GB">
              <a:latin typeface="Calibri" panose="020F0502020204030204" pitchFamily="34" charset="0"/>
              <a:ea typeface="Lato Light" panose="020F0502020204030203" pitchFamily="34" charset="0"/>
              <a:cs typeface="Calibri" panose="020F0502020204030204" pitchFamily="34" charset="0"/>
            </a:endParaRPr>
          </a:p>
        </p:txBody>
      </p:sp>
      <p:grpSp>
        <p:nvGrpSpPr>
          <p:cNvPr id="28" name="Graphic 2">
            <a:extLst>
              <a:ext uri="{FF2B5EF4-FFF2-40B4-BE49-F238E27FC236}">
                <a16:creationId xmlns:a16="http://schemas.microsoft.com/office/drawing/2014/main" id="{7B0153CD-FCC9-50CB-E1C5-6CB7E1998D8A}"/>
              </a:ext>
            </a:extLst>
          </p:cNvPr>
          <p:cNvGrpSpPr/>
          <p:nvPr/>
        </p:nvGrpSpPr>
        <p:grpSpPr>
          <a:xfrm>
            <a:off x="581647" y="1769777"/>
            <a:ext cx="911305" cy="970368"/>
            <a:chOff x="3918554" y="774528"/>
            <a:chExt cx="868197" cy="924466"/>
          </a:xfrm>
          <a:solidFill>
            <a:srgbClr val="595959"/>
          </a:solidFill>
        </p:grpSpPr>
        <p:grpSp>
          <p:nvGrpSpPr>
            <p:cNvPr id="29" name="Graphic 2">
              <a:extLst>
                <a:ext uri="{FF2B5EF4-FFF2-40B4-BE49-F238E27FC236}">
                  <a16:creationId xmlns:a16="http://schemas.microsoft.com/office/drawing/2014/main" id="{0F9D2982-59E1-D03F-BF77-BACAC6FC968F}"/>
                </a:ext>
              </a:extLst>
            </p:cNvPr>
            <p:cNvGrpSpPr/>
            <p:nvPr/>
          </p:nvGrpSpPr>
          <p:grpSpPr>
            <a:xfrm>
              <a:off x="3918554" y="774528"/>
              <a:ext cx="868197" cy="924466"/>
              <a:chOff x="3918554" y="774528"/>
              <a:chExt cx="868197" cy="924466"/>
            </a:xfrm>
            <a:grpFill/>
          </p:grpSpPr>
          <p:sp>
            <p:nvSpPr>
              <p:cNvPr id="33" name="Freeform 32">
                <a:extLst>
                  <a:ext uri="{FF2B5EF4-FFF2-40B4-BE49-F238E27FC236}">
                    <a16:creationId xmlns:a16="http://schemas.microsoft.com/office/drawing/2014/main" id="{8A019923-9056-42CE-6793-2A0AD642EB38}"/>
                  </a:ext>
                </a:extLst>
              </p:cNvPr>
              <p:cNvSpPr/>
              <p:nvPr/>
            </p:nvSpPr>
            <p:spPr>
              <a:xfrm>
                <a:off x="3918554" y="774528"/>
                <a:ext cx="868197" cy="924466"/>
              </a:xfrm>
              <a:custGeom>
                <a:avLst/>
                <a:gdLst>
                  <a:gd name="connsiteX0" fmla="*/ 859428 w 868197"/>
                  <a:gd name="connsiteY0" fmla="*/ 489969 h 924466"/>
                  <a:gd name="connsiteX1" fmla="*/ 762772 w 868197"/>
                  <a:gd name="connsiteY1" fmla="*/ 322855 h 924466"/>
                  <a:gd name="connsiteX2" fmla="*/ 770902 w 868197"/>
                  <a:gd name="connsiteY2" fmla="*/ 318338 h 924466"/>
                  <a:gd name="connsiteX3" fmla="*/ 805228 w 868197"/>
                  <a:gd name="connsiteY3" fmla="*/ 274075 h 924466"/>
                  <a:gd name="connsiteX4" fmla="*/ 798002 w 868197"/>
                  <a:gd name="connsiteY4" fmla="*/ 218973 h 924466"/>
                  <a:gd name="connsiteX5" fmla="*/ 698636 w 868197"/>
                  <a:gd name="connsiteY5" fmla="*/ 192776 h 924466"/>
                  <a:gd name="connsiteX6" fmla="*/ 690507 w 868197"/>
                  <a:gd name="connsiteY6" fmla="*/ 197293 h 924466"/>
                  <a:gd name="connsiteX7" fmla="*/ 593851 w 868197"/>
                  <a:gd name="connsiteY7" fmla="*/ 29275 h 924466"/>
                  <a:gd name="connsiteX8" fmla="*/ 557718 w 868197"/>
                  <a:gd name="connsiteY8" fmla="*/ 2176 h 924466"/>
                  <a:gd name="connsiteX9" fmla="*/ 512552 w 868197"/>
                  <a:gd name="connsiteY9" fmla="*/ 8499 h 924466"/>
                  <a:gd name="connsiteX10" fmla="*/ 485452 w 868197"/>
                  <a:gd name="connsiteY10" fmla="*/ 44632 h 924466"/>
                  <a:gd name="connsiteX11" fmla="*/ 485452 w 868197"/>
                  <a:gd name="connsiteY11" fmla="*/ 76248 h 924466"/>
                  <a:gd name="connsiteX12" fmla="*/ 393314 w 868197"/>
                  <a:gd name="connsiteY12" fmla="*/ 178324 h 924466"/>
                  <a:gd name="connsiteX13" fmla="*/ 395120 w 868197"/>
                  <a:gd name="connsiteY13" fmla="*/ 203616 h 924466"/>
                  <a:gd name="connsiteX14" fmla="*/ 420413 w 868197"/>
                  <a:gd name="connsiteY14" fmla="*/ 201810 h 924466"/>
                  <a:gd name="connsiteX15" fmla="*/ 503519 w 868197"/>
                  <a:gd name="connsiteY15" fmla="*/ 107865 h 924466"/>
                  <a:gd name="connsiteX16" fmla="*/ 745609 w 868197"/>
                  <a:gd name="connsiteY16" fmla="*/ 527005 h 924466"/>
                  <a:gd name="connsiteX17" fmla="*/ 340921 w 868197"/>
                  <a:gd name="connsiteY17" fmla="*/ 613725 h 924466"/>
                  <a:gd name="connsiteX18" fmla="*/ 228006 w 868197"/>
                  <a:gd name="connsiteY18" fmla="*/ 417704 h 924466"/>
                  <a:gd name="connsiteX19" fmla="*/ 312015 w 868197"/>
                  <a:gd name="connsiteY19" fmla="*/ 322855 h 924466"/>
                  <a:gd name="connsiteX20" fmla="*/ 310208 w 868197"/>
                  <a:gd name="connsiteY20" fmla="*/ 297562 h 924466"/>
                  <a:gd name="connsiteX21" fmla="*/ 284915 w 868197"/>
                  <a:gd name="connsiteY21" fmla="*/ 299369 h 924466"/>
                  <a:gd name="connsiteX22" fmla="*/ 193680 w 868197"/>
                  <a:gd name="connsiteY22" fmla="*/ 401444 h 924466"/>
                  <a:gd name="connsiteX23" fmla="*/ 42825 w 868197"/>
                  <a:gd name="connsiteY23" fmla="*/ 489066 h 924466"/>
                  <a:gd name="connsiteX24" fmla="*/ 3079 w 868197"/>
                  <a:gd name="connsiteY24" fmla="*/ 541459 h 924466"/>
                  <a:gd name="connsiteX25" fmla="*/ 12112 w 868197"/>
                  <a:gd name="connsiteY25" fmla="*/ 606498 h 924466"/>
                  <a:gd name="connsiteX26" fmla="*/ 69925 w 868197"/>
                  <a:gd name="connsiteY26" fmla="*/ 706767 h 924466"/>
                  <a:gd name="connsiteX27" fmla="*/ 144900 w 868197"/>
                  <a:gd name="connsiteY27" fmla="*/ 750126 h 924466"/>
                  <a:gd name="connsiteX28" fmla="*/ 188260 w 868197"/>
                  <a:gd name="connsiteY28" fmla="*/ 738383 h 924466"/>
                  <a:gd name="connsiteX29" fmla="*/ 231619 w 868197"/>
                  <a:gd name="connsiteY29" fmla="*/ 713993 h 924466"/>
                  <a:gd name="connsiteX30" fmla="*/ 420413 w 868197"/>
                  <a:gd name="connsiteY30" fmla="*/ 902787 h 924466"/>
                  <a:gd name="connsiteX31" fmla="*/ 471903 w 868197"/>
                  <a:gd name="connsiteY31" fmla="*/ 924467 h 924466"/>
                  <a:gd name="connsiteX32" fmla="*/ 508036 w 868197"/>
                  <a:gd name="connsiteY32" fmla="*/ 914531 h 924466"/>
                  <a:gd name="connsiteX33" fmla="*/ 544168 w 868197"/>
                  <a:gd name="connsiteY33" fmla="*/ 860331 h 924466"/>
                  <a:gd name="connsiteX34" fmla="*/ 523392 w 868197"/>
                  <a:gd name="connsiteY34" fmla="*/ 798905 h 924466"/>
                  <a:gd name="connsiteX35" fmla="*/ 458353 w 868197"/>
                  <a:gd name="connsiteY35" fmla="*/ 733866 h 924466"/>
                  <a:gd name="connsiteX36" fmla="*/ 476419 w 868197"/>
                  <a:gd name="connsiteY36" fmla="*/ 723930 h 924466"/>
                  <a:gd name="connsiteX37" fmla="*/ 500809 w 868197"/>
                  <a:gd name="connsiteY37" fmla="*/ 686893 h 924466"/>
                  <a:gd name="connsiteX38" fmla="*/ 485452 w 868197"/>
                  <a:gd name="connsiteY38" fmla="*/ 645341 h 924466"/>
                  <a:gd name="connsiteX39" fmla="*/ 463773 w 868197"/>
                  <a:gd name="connsiteY39" fmla="*/ 625468 h 924466"/>
                  <a:gd name="connsiteX40" fmla="*/ 768192 w 868197"/>
                  <a:gd name="connsiteY40" fmla="*/ 560428 h 924466"/>
                  <a:gd name="connsiteX41" fmla="*/ 795292 w 868197"/>
                  <a:gd name="connsiteY41" fmla="*/ 575785 h 924466"/>
                  <a:gd name="connsiteX42" fmla="*/ 810648 w 868197"/>
                  <a:gd name="connsiteY42" fmla="*/ 577592 h 924466"/>
                  <a:gd name="connsiteX43" fmla="*/ 840458 w 868197"/>
                  <a:gd name="connsiteY43" fmla="*/ 569462 h 924466"/>
                  <a:gd name="connsiteX44" fmla="*/ 867557 w 868197"/>
                  <a:gd name="connsiteY44" fmla="*/ 533329 h 924466"/>
                  <a:gd name="connsiteX45" fmla="*/ 859428 w 868197"/>
                  <a:gd name="connsiteY45" fmla="*/ 489969 h 924466"/>
                  <a:gd name="connsiteX46" fmla="*/ 859428 w 868197"/>
                  <a:gd name="connsiteY46" fmla="*/ 489969 h 924466"/>
                  <a:gd name="connsiteX47" fmla="*/ 707670 w 868197"/>
                  <a:gd name="connsiteY47" fmla="*/ 228006 h 924466"/>
                  <a:gd name="connsiteX48" fmla="*/ 715799 w 868197"/>
                  <a:gd name="connsiteY48" fmla="*/ 223490 h 924466"/>
                  <a:gd name="connsiteX49" fmla="*/ 765482 w 868197"/>
                  <a:gd name="connsiteY49" fmla="*/ 237039 h 924466"/>
                  <a:gd name="connsiteX50" fmla="*/ 751932 w 868197"/>
                  <a:gd name="connsiteY50" fmla="*/ 286722 h 924466"/>
                  <a:gd name="connsiteX51" fmla="*/ 743802 w 868197"/>
                  <a:gd name="connsiteY51" fmla="*/ 291239 h 924466"/>
                  <a:gd name="connsiteX52" fmla="*/ 707670 w 868197"/>
                  <a:gd name="connsiteY52" fmla="*/ 228909 h 924466"/>
                  <a:gd name="connsiteX53" fmla="*/ 707670 w 868197"/>
                  <a:gd name="connsiteY53" fmla="*/ 228006 h 924466"/>
                  <a:gd name="connsiteX54" fmla="*/ 169290 w 868197"/>
                  <a:gd name="connsiteY54" fmla="*/ 708573 h 924466"/>
                  <a:gd name="connsiteX55" fmla="*/ 100637 w 868197"/>
                  <a:gd name="connsiteY55" fmla="*/ 690507 h 924466"/>
                  <a:gd name="connsiteX56" fmla="*/ 42825 w 868197"/>
                  <a:gd name="connsiteY56" fmla="*/ 590238 h 924466"/>
                  <a:gd name="connsiteX57" fmla="*/ 37405 w 868197"/>
                  <a:gd name="connsiteY57" fmla="*/ 552299 h 924466"/>
                  <a:gd name="connsiteX58" fmla="*/ 60891 w 868197"/>
                  <a:gd name="connsiteY58" fmla="*/ 521586 h 924466"/>
                  <a:gd name="connsiteX59" fmla="*/ 199100 w 868197"/>
                  <a:gd name="connsiteY59" fmla="*/ 442093 h 924466"/>
                  <a:gd name="connsiteX60" fmla="*/ 307498 w 868197"/>
                  <a:gd name="connsiteY60" fmla="*/ 629081 h 924466"/>
                  <a:gd name="connsiteX61" fmla="*/ 169290 w 868197"/>
                  <a:gd name="connsiteY61" fmla="*/ 708573 h 924466"/>
                  <a:gd name="connsiteX62" fmla="*/ 507132 w 868197"/>
                  <a:gd name="connsiteY62" fmla="*/ 856718 h 924466"/>
                  <a:gd name="connsiteX63" fmla="*/ 489066 w 868197"/>
                  <a:gd name="connsiteY63" fmla="*/ 883817 h 924466"/>
                  <a:gd name="connsiteX64" fmla="*/ 444803 w 868197"/>
                  <a:gd name="connsiteY64" fmla="*/ 877495 h 924466"/>
                  <a:gd name="connsiteX65" fmla="*/ 263235 w 868197"/>
                  <a:gd name="connsiteY65" fmla="*/ 695927 h 924466"/>
                  <a:gd name="connsiteX66" fmla="*/ 329178 w 868197"/>
                  <a:gd name="connsiteY66" fmla="*/ 657987 h 924466"/>
                  <a:gd name="connsiteX67" fmla="*/ 497196 w 868197"/>
                  <a:gd name="connsiteY67" fmla="*/ 826005 h 924466"/>
                  <a:gd name="connsiteX68" fmla="*/ 507132 w 868197"/>
                  <a:gd name="connsiteY68" fmla="*/ 856718 h 924466"/>
                  <a:gd name="connsiteX69" fmla="*/ 507132 w 868197"/>
                  <a:gd name="connsiteY69" fmla="*/ 856718 h 924466"/>
                  <a:gd name="connsiteX70" fmla="*/ 459256 w 868197"/>
                  <a:gd name="connsiteY70" fmla="*/ 672440 h 924466"/>
                  <a:gd name="connsiteX71" fmla="*/ 462869 w 868197"/>
                  <a:gd name="connsiteY71" fmla="*/ 683280 h 924466"/>
                  <a:gd name="connsiteX72" fmla="*/ 456546 w 868197"/>
                  <a:gd name="connsiteY72" fmla="*/ 693217 h 924466"/>
                  <a:gd name="connsiteX73" fmla="*/ 430350 w 868197"/>
                  <a:gd name="connsiteY73" fmla="*/ 708573 h 924466"/>
                  <a:gd name="connsiteX74" fmla="*/ 368021 w 868197"/>
                  <a:gd name="connsiteY74" fmla="*/ 646244 h 924466"/>
                  <a:gd name="connsiteX75" fmla="*/ 418607 w 868197"/>
                  <a:gd name="connsiteY75" fmla="*/ 635404 h 924466"/>
                  <a:gd name="connsiteX76" fmla="*/ 459256 w 868197"/>
                  <a:gd name="connsiteY76" fmla="*/ 672440 h 924466"/>
                  <a:gd name="connsiteX77" fmla="*/ 830521 w 868197"/>
                  <a:gd name="connsiteY77" fmla="*/ 525199 h 924466"/>
                  <a:gd name="connsiteX78" fmla="*/ 819681 w 868197"/>
                  <a:gd name="connsiteY78" fmla="*/ 538749 h 924466"/>
                  <a:gd name="connsiteX79" fmla="*/ 802518 w 868197"/>
                  <a:gd name="connsiteY79" fmla="*/ 541459 h 924466"/>
                  <a:gd name="connsiteX80" fmla="*/ 788969 w 868197"/>
                  <a:gd name="connsiteY80" fmla="*/ 530619 h 924466"/>
                  <a:gd name="connsiteX81" fmla="*/ 523392 w 868197"/>
                  <a:gd name="connsiteY81" fmla="*/ 69925 h 924466"/>
                  <a:gd name="connsiteX82" fmla="*/ 520682 w 868197"/>
                  <a:gd name="connsiteY82" fmla="*/ 52762 h 924466"/>
                  <a:gd name="connsiteX83" fmla="*/ 531522 w 868197"/>
                  <a:gd name="connsiteY83" fmla="*/ 39212 h 924466"/>
                  <a:gd name="connsiteX84" fmla="*/ 543265 w 868197"/>
                  <a:gd name="connsiteY84" fmla="*/ 36502 h 924466"/>
                  <a:gd name="connsiteX85" fmla="*/ 549588 w 868197"/>
                  <a:gd name="connsiteY85" fmla="*/ 37405 h 924466"/>
                  <a:gd name="connsiteX86" fmla="*/ 563138 w 868197"/>
                  <a:gd name="connsiteY86" fmla="*/ 48245 h 924466"/>
                  <a:gd name="connsiteX87" fmla="*/ 828715 w 868197"/>
                  <a:gd name="connsiteY87" fmla="*/ 508939 h 924466"/>
                  <a:gd name="connsiteX88" fmla="*/ 830521 w 868197"/>
                  <a:gd name="connsiteY88" fmla="*/ 525199 h 9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868197" h="924466">
                    <a:moveTo>
                      <a:pt x="859428" y="489969"/>
                    </a:moveTo>
                    <a:lnTo>
                      <a:pt x="762772" y="322855"/>
                    </a:lnTo>
                    <a:lnTo>
                      <a:pt x="770902" y="318338"/>
                    </a:lnTo>
                    <a:cubicBezTo>
                      <a:pt x="788065" y="308402"/>
                      <a:pt x="799808" y="293045"/>
                      <a:pt x="805228" y="274075"/>
                    </a:cubicBezTo>
                    <a:cubicBezTo>
                      <a:pt x="810648" y="255106"/>
                      <a:pt x="807938" y="236136"/>
                      <a:pt x="798002" y="218973"/>
                    </a:cubicBezTo>
                    <a:cubicBezTo>
                      <a:pt x="778129" y="184647"/>
                      <a:pt x="732963" y="172000"/>
                      <a:pt x="698636" y="192776"/>
                    </a:cubicBezTo>
                    <a:lnTo>
                      <a:pt x="690507" y="197293"/>
                    </a:lnTo>
                    <a:lnTo>
                      <a:pt x="593851" y="29275"/>
                    </a:lnTo>
                    <a:cubicBezTo>
                      <a:pt x="585721" y="15726"/>
                      <a:pt x="573075" y="5789"/>
                      <a:pt x="557718" y="2176"/>
                    </a:cubicBezTo>
                    <a:cubicBezTo>
                      <a:pt x="542362" y="-2341"/>
                      <a:pt x="527005" y="369"/>
                      <a:pt x="512552" y="8499"/>
                    </a:cubicBezTo>
                    <a:cubicBezTo>
                      <a:pt x="498099" y="16629"/>
                      <a:pt x="489066" y="29275"/>
                      <a:pt x="485452" y="44632"/>
                    </a:cubicBezTo>
                    <a:cubicBezTo>
                      <a:pt x="482742" y="55472"/>
                      <a:pt x="482742" y="65408"/>
                      <a:pt x="485452" y="76248"/>
                    </a:cubicBezTo>
                    <a:lnTo>
                      <a:pt x="393314" y="178324"/>
                    </a:lnTo>
                    <a:cubicBezTo>
                      <a:pt x="386990" y="185550"/>
                      <a:pt x="386990" y="197293"/>
                      <a:pt x="395120" y="203616"/>
                    </a:cubicBezTo>
                    <a:cubicBezTo>
                      <a:pt x="402347" y="209940"/>
                      <a:pt x="414090" y="209940"/>
                      <a:pt x="420413" y="201810"/>
                    </a:cubicBezTo>
                    <a:lnTo>
                      <a:pt x="503519" y="107865"/>
                    </a:lnTo>
                    <a:lnTo>
                      <a:pt x="745609" y="527005"/>
                    </a:lnTo>
                    <a:lnTo>
                      <a:pt x="340921" y="613725"/>
                    </a:lnTo>
                    <a:lnTo>
                      <a:pt x="228006" y="417704"/>
                    </a:lnTo>
                    <a:lnTo>
                      <a:pt x="312015" y="322855"/>
                    </a:lnTo>
                    <a:cubicBezTo>
                      <a:pt x="318338" y="315628"/>
                      <a:pt x="318338" y="303885"/>
                      <a:pt x="310208" y="297562"/>
                    </a:cubicBezTo>
                    <a:cubicBezTo>
                      <a:pt x="302982" y="291239"/>
                      <a:pt x="291238" y="291239"/>
                      <a:pt x="284915" y="299369"/>
                    </a:cubicBezTo>
                    <a:lnTo>
                      <a:pt x="193680" y="401444"/>
                    </a:lnTo>
                    <a:lnTo>
                      <a:pt x="42825" y="489066"/>
                    </a:lnTo>
                    <a:cubicBezTo>
                      <a:pt x="22952" y="500809"/>
                      <a:pt x="8499" y="518876"/>
                      <a:pt x="3079" y="541459"/>
                    </a:cubicBezTo>
                    <a:cubicBezTo>
                      <a:pt x="-3245" y="564042"/>
                      <a:pt x="369" y="586625"/>
                      <a:pt x="12112" y="606498"/>
                    </a:cubicBezTo>
                    <a:lnTo>
                      <a:pt x="69925" y="706767"/>
                    </a:lnTo>
                    <a:cubicBezTo>
                      <a:pt x="86184" y="734769"/>
                      <a:pt x="115091" y="750126"/>
                      <a:pt x="144900" y="750126"/>
                    </a:cubicBezTo>
                    <a:cubicBezTo>
                      <a:pt x="159353" y="750126"/>
                      <a:pt x="174710" y="746513"/>
                      <a:pt x="188260" y="738383"/>
                    </a:cubicBezTo>
                    <a:lnTo>
                      <a:pt x="231619" y="713993"/>
                    </a:lnTo>
                    <a:lnTo>
                      <a:pt x="420413" y="902787"/>
                    </a:lnTo>
                    <a:cubicBezTo>
                      <a:pt x="434866" y="917240"/>
                      <a:pt x="452933" y="924467"/>
                      <a:pt x="471903" y="924467"/>
                    </a:cubicBezTo>
                    <a:cubicBezTo>
                      <a:pt x="484549" y="924467"/>
                      <a:pt x="497196" y="920854"/>
                      <a:pt x="508036" y="914531"/>
                    </a:cubicBezTo>
                    <a:cubicBezTo>
                      <a:pt x="527909" y="902787"/>
                      <a:pt x="540555" y="883817"/>
                      <a:pt x="544168" y="860331"/>
                    </a:cubicBezTo>
                    <a:cubicBezTo>
                      <a:pt x="546878" y="837748"/>
                      <a:pt x="539652" y="815165"/>
                      <a:pt x="523392" y="798905"/>
                    </a:cubicBezTo>
                    <a:lnTo>
                      <a:pt x="458353" y="733866"/>
                    </a:lnTo>
                    <a:lnTo>
                      <a:pt x="476419" y="723930"/>
                    </a:lnTo>
                    <a:cubicBezTo>
                      <a:pt x="489969" y="715800"/>
                      <a:pt x="499002" y="702250"/>
                      <a:pt x="500809" y="686893"/>
                    </a:cubicBezTo>
                    <a:cubicBezTo>
                      <a:pt x="502616" y="671537"/>
                      <a:pt x="497196" y="656181"/>
                      <a:pt x="485452" y="645341"/>
                    </a:cubicBezTo>
                    <a:lnTo>
                      <a:pt x="463773" y="625468"/>
                    </a:lnTo>
                    <a:lnTo>
                      <a:pt x="768192" y="560428"/>
                    </a:lnTo>
                    <a:cubicBezTo>
                      <a:pt x="775419" y="567655"/>
                      <a:pt x="784452" y="573075"/>
                      <a:pt x="795292" y="575785"/>
                    </a:cubicBezTo>
                    <a:cubicBezTo>
                      <a:pt x="800712" y="577592"/>
                      <a:pt x="805228" y="577592"/>
                      <a:pt x="810648" y="577592"/>
                    </a:cubicBezTo>
                    <a:cubicBezTo>
                      <a:pt x="820585" y="577592"/>
                      <a:pt x="830521" y="574882"/>
                      <a:pt x="840458" y="569462"/>
                    </a:cubicBezTo>
                    <a:cubicBezTo>
                      <a:pt x="854008" y="561332"/>
                      <a:pt x="863944" y="548685"/>
                      <a:pt x="867557" y="533329"/>
                    </a:cubicBezTo>
                    <a:cubicBezTo>
                      <a:pt x="869364" y="518876"/>
                      <a:pt x="867557" y="503519"/>
                      <a:pt x="859428" y="489969"/>
                    </a:cubicBezTo>
                    <a:lnTo>
                      <a:pt x="859428" y="489969"/>
                    </a:lnTo>
                    <a:close/>
                    <a:moveTo>
                      <a:pt x="707670" y="228006"/>
                    </a:moveTo>
                    <a:lnTo>
                      <a:pt x="715799" y="223490"/>
                    </a:lnTo>
                    <a:cubicBezTo>
                      <a:pt x="732963" y="213553"/>
                      <a:pt x="755546" y="218973"/>
                      <a:pt x="765482" y="237039"/>
                    </a:cubicBezTo>
                    <a:cubicBezTo>
                      <a:pt x="775419" y="254203"/>
                      <a:pt x="769999" y="276786"/>
                      <a:pt x="751932" y="286722"/>
                    </a:cubicBezTo>
                    <a:lnTo>
                      <a:pt x="743802" y="291239"/>
                    </a:lnTo>
                    <a:lnTo>
                      <a:pt x="707670" y="228909"/>
                    </a:lnTo>
                    <a:lnTo>
                      <a:pt x="707670" y="228006"/>
                    </a:lnTo>
                    <a:close/>
                    <a:moveTo>
                      <a:pt x="169290" y="708573"/>
                    </a:moveTo>
                    <a:cubicBezTo>
                      <a:pt x="145804" y="722123"/>
                      <a:pt x="115091" y="713993"/>
                      <a:pt x="100637" y="690507"/>
                    </a:cubicBezTo>
                    <a:lnTo>
                      <a:pt x="42825" y="590238"/>
                    </a:lnTo>
                    <a:cubicBezTo>
                      <a:pt x="36502" y="578495"/>
                      <a:pt x="34695" y="564945"/>
                      <a:pt x="37405" y="552299"/>
                    </a:cubicBezTo>
                    <a:cubicBezTo>
                      <a:pt x="40115" y="539652"/>
                      <a:pt x="49148" y="528812"/>
                      <a:pt x="60891" y="521586"/>
                    </a:cubicBezTo>
                    <a:lnTo>
                      <a:pt x="199100" y="442093"/>
                    </a:lnTo>
                    <a:lnTo>
                      <a:pt x="307498" y="629081"/>
                    </a:lnTo>
                    <a:lnTo>
                      <a:pt x="169290" y="708573"/>
                    </a:lnTo>
                    <a:close/>
                    <a:moveTo>
                      <a:pt x="507132" y="856718"/>
                    </a:moveTo>
                    <a:cubicBezTo>
                      <a:pt x="505326" y="868461"/>
                      <a:pt x="499002" y="878398"/>
                      <a:pt x="489066" y="883817"/>
                    </a:cubicBezTo>
                    <a:cubicBezTo>
                      <a:pt x="474613" y="891947"/>
                      <a:pt x="456546" y="890141"/>
                      <a:pt x="444803" y="877495"/>
                    </a:cubicBezTo>
                    <a:lnTo>
                      <a:pt x="263235" y="695927"/>
                    </a:lnTo>
                    <a:lnTo>
                      <a:pt x="329178" y="657987"/>
                    </a:lnTo>
                    <a:lnTo>
                      <a:pt x="497196" y="826005"/>
                    </a:lnTo>
                    <a:cubicBezTo>
                      <a:pt x="504422" y="833232"/>
                      <a:pt x="508939" y="844975"/>
                      <a:pt x="507132" y="856718"/>
                    </a:cubicBezTo>
                    <a:lnTo>
                      <a:pt x="507132" y="856718"/>
                    </a:lnTo>
                    <a:close/>
                    <a:moveTo>
                      <a:pt x="459256" y="672440"/>
                    </a:moveTo>
                    <a:cubicBezTo>
                      <a:pt x="461966" y="675150"/>
                      <a:pt x="463773" y="678764"/>
                      <a:pt x="462869" y="683280"/>
                    </a:cubicBezTo>
                    <a:cubicBezTo>
                      <a:pt x="461966" y="687797"/>
                      <a:pt x="460159" y="690507"/>
                      <a:pt x="456546" y="693217"/>
                    </a:cubicBezTo>
                    <a:lnTo>
                      <a:pt x="430350" y="708573"/>
                    </a:lnTo>
                    <a:lnTo>
                      <a:pt x="368021" y="646244"/>
                    </a:lnTo>
                    <a:lnTo>
                      <a:pt x="418607" y="635404"/>
                    </a:lnTo>
                    <a:lnTo>
                      <a:pt x="459256" y="672440"/>
                    </a:lnTo>
                    <a:close/>
                    <a:moveTo>
                      <a:pt x="830521" y="525199"/>
                    </a:moveTo>
                    <a:cubicBezTo>
                      <a:pt x="828715" y="531522"/>
                      <a:pt x="825101" y="536039"/>
                      <a:pt x="819681" y="538749"/>
                    </a:cubicBezTo>
                    <a:cubicBezTo>
                      <a:pt x="814261" y="541459"/>
                      <a:pt x="807938" y="542362"/>
                      <a:pt x="802518" y="541459"/>
                    </a:cubicBezTo>
                    <a:cubicBezTo>
                      <a:pt x="796195" y="539652"/>
                      <a:pt x="791678" y="536039"/>
                      <a:pt x="788969" y="530619"/>
                    </a:cubicBezTo>
                    <a:lnTo>
                      <a:pt x="523392" y="69925"/>
                    </a:lnTo>
                    <a:cubicBezTo>
                      <a:pt x="520682" y="64505"/>
                      <a:pt x="519779" y="58182"/>
                      <a:pt x="520682" y="52762"/>
                    </a:cubicBezTo>
                    <a:cubicBezTo>
                      <a:pt x="522489" y="46439"/>
                      <a:pt x="526102" y="41922"/>
                      <a:pt x="531522" y="39212"/>
                    </a:cubicBezTo>
                    <a:cubicBezTo>
                      <a:pt x="535135" y="37405"/>
                      <a:pt x="538748" y="36502"/>
                      <a:pt x="543265" y="36502"/>
                    </a:cubicBezTo>
                    <a:cubicBezTo>
                      <a:pt x="545072" y="36502"/>
                      <a:pt x="546878" y="36502"/>
                      <a:pt x="549588" y="37405"/>
                    </a:cubicBezTo>
                    <a:cubicBezTo>
                      <a:pt x="555912" y="39212"/>
                      <a:pt x="560428" y="42825"/>
                      <a:pt x="563138" y="48245"/>
                    </a:cubicBezTo>
                    <a:lnTo>
                      <a:pt x="828715" y="508939"/>
                    </a:lnTo>
                    <a:cubicBezTo>
                      <a:pt x="831424" y="513456"/>
                      <a:pt x="832328" y="518876"/>
                      <a:pt x="830521" y="5251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4" name="Freeform 33">
                <a:extLst>
                  <a:ext uri="{FF2B5EF4-FFF2-40B4-BE49-F238E27FC236}">
                    <a16:creationId xmlns:a16="http://schemas.microsoft.com/office/drawing/2014/main" id="{4B53E064-BFFD-3A04-7F6B-DD49369B7914}"/>
                  </a:ext>
                </a:extLst>
              </p:cNvPr>
              <p:cNvSpPr/>
              <p:nvPr/>
            </p:nvSpPr>
            <p:spPr>
              <a:xfrm>
                <a:off x="4253152" y="1007954"/>
                <a:ext cx="36132" cy="36132"/>
              </a:xfrm>
              <a:custGeom>
                <a:avLst/>
                <a:gdLst>
                  <a:gd name="connsiteX0" fmla="*/ 18066 w 36132"/>
                  <a:gd name="connsiteY0" fmla="*/ 36133 h 36132"/>
                  <a:gd name="connsiteX1" fmla="*/ 30713 w 36132"/>
                  <a:gd name="connsiteY1" fmla="*/ 30713 h 36132"/>
                  <a:gd name="connsiteX2" fmla="*/ 36133 w 36132"/>
                  <a:gd name="connsiteY2" fmla="*/ 18066 h 36132"/>
                  <a:gd name="connsiteX3" fmla="*/ 30713 w 36132"/>
                  <a:gd name="connsiteY3" fmla="*/ 5420 h 36132"/>
                  <a:gd name="connsiteX4" fmla="*/ 18066 w 36132"/>
                  <a:gd name="connsiteY4" fmla="*/ 0 h 36132"/>
                  <a:gd name="connsiteX5" fmla="*/ 5420 w 36132"/>
                  <a:gd name="connsiteY5" fmla="*/ 5420 h 36132"/>
                  <a:gd name="connsiteX6" fmla="*/ 0 w 36132"/>
                  <a:gd name="connsiteY6" fmla="*/ 18066 h 36132"/>
                  <a:gd name="connsiteX7" fmla="*/ 5420 w 36132"/>
                  <a:gd name="connsiteY7" fmla="*/ 30713 h 36132"/>
                  <a:gd name="connsiteX8" fmla="*/ 18066 w 36132"/>
                  <a:gd name="connsiteY8" fmla="*/ 36133 h 3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132" h="36132">
                    <a:moveTo>
                      <a:pt x="18066" y="36133"/>
                    </a:moveTo>
                    <a:cubicBezTo>
                      <a:pt x="22583" y="36133"/>
                      <a:pt x="27100" y="34327"/>
                      <a:pt x="30713" y="30713"/>
                    </a:cubicBezTo>
                    <a:cubicBezTo>
                      <a:pt x="34326" y="27100"/>
                      <a:pt x="36133" y="22583"/>
                      <a:pt x="36133" y="18066"/>
                    </a:cubicBezTo>
                    <a:cubicBezTo>
                      <a:pt x="36133" y="13550"/>
                      <a:pt x="34326" y="9033"/>
                      <a:pt x="30713" y="5420"/>
                    </a:cubicBezTo>
                    <a:cubicBezTo>
                      <a:pt x="27100" y="1807"/>
                      <a:pt x="22583" y="0"/>
                      <a:pt x="18066" y="0"/>
                    </a:cubicBezTo>
                    <a:cubicBezTo>
                      <a:pt x="13550" y="0"/>
                      <a:pt x="9033" y="1807"/>
                      <a:pt x="5420" y="5420"/>
                    </a:cubicBezTo>
                    <a:cubicBezTo>
                      <a:pt x="1807" y="9033"/>
                      <a:pt x="0" y="13550"/>
                      <a:pt x="0" y="18066"/>
                    </a:cubicBezTo>
                    <a:cubicBezTo>
                      <a:pt x="0" y="22583"/>
                      <a:pt x="1807" y="27100"/>
                      <a:pt x="5420" y="30713"/>
                    </a:cubicBezTo>
                    <a:cubicBezTo>
                      <a:pt x="8130" y="34327"/>
                      <a:pt x="13550" y="36133"/>
                      <a:pt x="18066" y="3613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30" name="Graphic 2">
              <a:extLst>
                <a:ext uri="{FF2B5EF4-FFF2-40B4-BE49-F238E27FC236}">
                  <a16:creationId xmlns:a16="http://schemas.microsoft.com/office/drawing/2014/main" id="{8FBA9B87-8920-A2EB-0899-9F08EA2DF207}"/>
                </a:ext>
              </a:extLst>
            </p:cNvPr>
            <p:cNvGrpSpPr/>
            <p:nvPr/>
          </p:nvGrpSpPr>
          <p:grpSpPr>
            <a:xfrm>
              <a:off x="3958353" y="890522"/>
              <a:ext cx="708520" cy="605461"/>
              <a:chOff x="3958353" y="890522"/>
              <a:chExt cx="708520" cy="605461"/>
            </a:xfrm>
            <a:grpFill/>
          </p:grpSpPr>
          <p:sp>
            <p:nvSpPr>
              <p:cNvPr id="31" name="Freeform 30">
                <a:extLst>
                  <a:ext uri="{FF2B5EF4-FFF2-40B4-BE49-F238E27FC236}">
                    <a16:creationId xmlns:a16="http://schemas.microsoft.com/office/drawing/2014/main" id="{FF71527C-3D3B-45BB-42C6-1D8E50A49C3B}"/>
                  </a:ext>
                </a:extLst>
              </p:cNvPr>
              <p:cNvSpPr/>
              <p:nvPr/>
            </p:nvSpPr>
            <p:spPr>
              <a:xfrm>
                <a:off x="4150173" y="890522"/>
                <a:ext cx="516699" cy="505860"/>
              </a:xfrm>
              <a:custGeom>
                <a:avLst/>
                <a:gdLst>
                  <a:gd name="connsiteX0" fmla="*/ 274610 w 516699"/>
                  <a:gd name="connsiteY0" fmla="*/ 0 h 505860"/>
                  <a:gd name="connsiteX1" fmla="*/ 516700 w 516699"/>
                  <a:gd name="connsiteY1" fmla="*/ 419141 h 505860"/>
                  <a:gd name="connsiteX2" fmla="*/ 112915 w 516699"/>
                  <a:gd name="connsiteY2" fmla="*/ 505860 h 505860"/>
                  <a:gd name="connsiteX3" fmla="*/ 0 w 516699"/>
                  <a:gd name="connsiteY3" fmla="*/ 309840 h 505860"/>
                </a:gdLst>
                <a:ahLst/>
                <a:cxnLst>
                  <a:cxn ang="0">
                    <a:pos x="connsiteX0" y="connsiteY0"/>
                  </a:cxn>
                  <a:cxn ang="0">
                    <a:pos x="connsiteX1" y="connsiteY1"/>
                  </a:cxn>
                  <a:cxn ang="0">
                    <a:pos x="connsiteX2" y="connsiteY2"/>
                  </a:cxn>
                  <a:cxn ang="0">
                    <a:pos x="connsiteX3" y="connsiteY3"/>
                  </a:cxn>
                </a:cxnLst>
                <a:rect l="l" t="t" r="r" b="b"/>
                <a:pathLst>
                  <a:path w="516698" h="505859">
                    <a:moveTo>
                      <a:pt x="274610" y="0"/>
                    </a:moveTo>
                    <a:lnTo>
                      <a:pt x="516700" y="419141"/>
                    </a:lnTo>
                    <a:lnTo>
                      <a:pt x="112915" y="505860"/>
                    </a:lnTo>
                    <a:lnTo>
                      <a:pt x="0" y="309840"/>
                    </a:lnTo>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32" name="Freeform 31">
                <a:extLst>
                  <a:ext uri="{FF2B5EF4-FFF2-40B4-BE49-F238E27FC236}">
                    <a16:creationId xmlns:a16="http://schemas.microsoft.com/office/drawing/2014/main" id="{A80934B7-3D76-F50F-55EE-00DEF1DF599B}"/>
                  </a:ext>
                </a:extLst>
              </p:cNvPr>
              <p:cNvSpPr/>
              <p:nvPr/>
            </p:nvSpPr>
            <p:spPr>
              <a:xfrm>
                <a:off x="3958353" y="1222945"/>
                <a:ext cx="271312" cy="273038"/>
              </a:xfrm>
              <a:custGeom>
                <a:avLst/>
                <a:gdLst>
                  <a:gd name="connsiteX0" fmla="*/ 133104 w 271312"/>
                  <a:gd name="connsiteY0" fmla="*/ 266480 h 273038"/>
                  <a:gd name="connsiteX1" fmla="*/ 64452 w 271312"/>
                  <a:gd name="connsiteY1" fmla="*/ 248413 h 273038"/>
                  <a:gd name="connsiteX2" fmla="*/ 6639 w 271312"/>
                  <a:gd name="connsiteY2" fmla="*/ 148144 h 273038"/>
                  <a:gd name="connsiteX3" fmla="*/ 1220 w 271312"/>
                  <a:gd name="connsiteY3" fmla="*/ 110205 h 273038"/>
                  <a:gd name="connsiteX4" fmla="*/ 24706 w 271312"/>
                  <a:gd name="connsiteY4" fmla="*/ 79492 h 273038"/>
                  <a:gd name="connsiteX5" fmla="*/ 162914 w 271312"/>
                  <a:gd name="connsiteY5" fmla="*/ 0 h 273038"/>
                  <a:gd name="connsiteX6" fmla="*/ 271313 w 271312"/>
                  <a:gd name="connsiteY6" fmla="*/ 186987 h 273038"/>
                  <a:gd name="connsiteX7" fmla="*/ 133104 w 271312"/>
                  <a:gd name="connsiteY7" fmla="*/ 266480 h 27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312" h="273038">
                    <a:moveTo>
                      <a:pt x="133104" y="266480"/>
                    </a:moveTo>
                    <a:cubicBezTo>
                      <a:pt x="109618" y="280030"/>
                      <a:pt x="78905" y="271900"/>
                      <a:pt x="64452" y="248413"/>
                    </a:cubicBezTo>
                    <a:lnTo>
                      <a:pt x="6639" y="148144"/>
                    </a:lnTo>
                    <a:cubicBezTo>
                      <a:pt x="316" y="136401"/>
                      <a:pt x="-1490" y="122852"/>
                      <a:pt x="1220" y="110205"/>
                    </a:cubicBezTo>
                    <a:cubicBezTo>
                      <a:pt x="4833" y="97559"/>
                      <a:pt x="12963" y="86719"/>
                      <a:pt x="24706" y="79492"/>
                    </a:cubicBezTo>
                    <a:lnTo>
                      <a:pt x="162914" y="0"/>
                    </a:lnTo>
                    <a:lnTo>
                      <a:pt x="271313" y="186987"/>
                    </a:lnTo>
                    <a:lnTo>
                      <a:pt x="133104" y="266480"/>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
        <p:nvSpPr>
          <p:cNvPr id="49" name="TextBox 79">
            <a:extLst>
              <a:ext uri="{FF2B5EF4-FFF2-40B4-BE49-F238E27FC236}">
                <a16:creationId xmlns:a16="http://schemas.microsoft.com/office/drawing/2014/main" id="{71DDDCDB-F776-5BB5-8DFE-F149974BD8DF}"/>
              </a:ext>
            </a:extLst>
          </p:cNvPr>
          <p:cNvSpPr txBox="1"/>
          <p:nvPr/>
        </p:nvSpPr>
        <p:spPr>
          <a:xfrm>
            <a:off x="5532734" y="5316403"/>
            <a:ext cx="878767" cy="415498"/>
          </a:xfrm>
          <a:prstGeom prst="rect">
            <a:avLst/>
          </a:prstGeom>
          <a:noFill/>
        </p:spPr>
        <p:txBody>
          <a:bodyPr wrap="none" rtlCol="0">
            <a:spAutoFit/>
          </a:bodyPr>
          <a:lstStyle/>
          <a:p>
            <a:r>
              <a:rPr lang="en-GB" sz="2100" b="1">
                <a:solidFill>
                  <a:schemeClr val="bg1"/>
                </a:solidFill>
                <a:latin typeface="+mj-lt"/>
                <a:ea typeface="Roboto" charset="0"/>
                <a:cs typeface="Roboto" charset="0"/>
              </a:rPr>
              <a:t>En línea</a:t>
            </a:r>
          </a:p>
        </p:txBody>
      </p:sp>
      <p:pic>
        <p:nvPicPr>
          <p:cNvPr id="2" name="Online Media 1" title="How To Create Google Alerts for News 2022">
            <a:hlinkClick r:id="" action="ppaction://media"/>
            <a:extLst>
              <a:ext uri="{FF2B5EF4-FFF2-40B4-BE49-F238E27FC236}">
                <a16:creationId xmlns:a16="http://schemas.microsoft.com/office/drawing/2014/main" id="{C1B807AB-655A-1703-72E3-2611707788AE}"/>
              </a:ext>
            </a:extLst>
          </p:cNvPr>
          <p:cNvPicPr>
            <a:picLocks noRot="1" noChangeAspect="1"/>
          </p:cNvPicPr>
          <p:nvPr>
            <a:videoFile r:link="rId1"/>
          </p:nvPr>
        </p:nvPicPr>
        <p:blipFill>
          <a:blip r:embed="rId3"/>
          <a:stretch>
            <a:fillRect/>
          </a:stretch>
        </p:blipFill>
        <p:spPr>
          <a:xfrm>
            <a:off x="6096000" y="3789429"/>
            <a:ext cx="4821836" cy="2724337"/>
          </a:xfrm>
          <a:prstGeom prst="rect">
            <a:avLst/>
          </a:prstGeom>
        </p:spPr>
      </p:pic>
    </p:spTree>
    <p:extLst>
      <p:ext uri="{BB962C8B-B14F-4D97-AF65-F5344CB8AC3E}">
        <p14:creationId xmlns:p14="http://schemas.microsoft.com/office/powerpoint/2010/main" val="69794464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
                    </p:tgtEl>
                  </p:cond>
                </p:stCondLst>
                <p:endSync evt="end" delay="0">
                  <p:rtn val="all"/>
                </p:endSync>
                <p:childTnLst>
                  <p:par>
                    <p:cTn id="8" fill="hold" nodeType="clickPar">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
                                        </p:tgtEl>
                                      </p:cBhvr>
                                    </p:cmd>
                                  </p:childTnLst>
                                </p:cTn>
                              </p:par>
                            </p:childTnLst>
                          </p:cTn>
                        </p:par>
                      </p:childTnLst>
                    </p:cTn>
                  </p:par>
                </p:childTnLst>
              </p:cTn>
              <p:nextCondLst>
                <p:cond evt="onClick" delay="0">
                  <p:tgtEl>
                    <p:spTgt spid="2"/>
                  </p:tgtEl>
                </p:cond>
              </p:nextCondLst>
            </p:seq>
            <p:video>
              <p:cMediaNode vol="80000">
                <p:cTn id="12" fill="hold" display="0">
                  <p:stCondLst>
                    <p:cond delay="indefinite"/>
                  </p:stCondLst>
                </p:cTn>
                <p:tgtEl>
                  <p:spTgt spid="2"/>
                </p:tgtEl>
              </p:cMediaNode>
            </p:video>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hteck 43">
            <a:extLst>
              <a:ext uri="{FF2B5EF4-FFF2-40B4-BE49-F238E27FC236}">
                <a16:creationId xmlns:a16="http://schemas.microsoft.com/office/drawing/2014/main" id="{C7C55A65-F4C1-EE63-FC8A-52088BD3F391}"/>
              </a:ext>
            </a:extLst>
          </p:cNvPr>
          <p:cNvSpPr/>
          <p:nvPr/>
        </p:nvSpPr>
        <p:spPr>
          <a:xfrm>
            <a:off x="4900491" y="3282481"/>
            <a:ext cx="4846685" cy="891754"/>
          </a:xfrm>
          <a:prstGeom prst="rect">
            <a:avLst/>
          </a:prstGeom>
          <a:solidFill>
            <a:srgbClr val="F16924"/>
          </a:solidFill>
          <a:ln>
            <a:noFill/>
          </a:ln>
        </p:spPr>
        <p:txBody>
          <a:bodyPr vert="horz" wrap="square" lIns="68580" tIns="34290" rIns="68580" bIns="34290" numCol="1" anchor="t" anchorCtr="0" compatLnSpc="1">
            <a:prstTxWarp prst="textNoShape">
              <a:avLst/>
            </a:prstTxWarp>
          </a:bodyPr>
          <a:lstStyle/>
          <a:p>
            <a:endParaRPr lang="en-GB" sz="1500">
              <a:latin typeface="+mj-lt"/>
            </a:endParaRPr>
          </a:p>
        </p:txBody>
      </p:sp>
      <p:sp>
        <p:nvSpPr>
          <p:cNvPr id="75" name="Rechteck 43">
            <a:extLst>
              <a:ext uri="{FF2B5EF4-FFF2-40B4-BE49-F238E27FC236}">
                <a16:creationId xmlns:a16="http://schemas.microsoft.com/office/drawing/2014/main" id="{90EEBF2D-33BC-8A5C-E951-330EFFE11E67}"/>
              </a:ext>
            </a:extLst>
          </p:cNvPr>
          <p:cNvSpPr/>
          <p:nvPr/>
        </p:nvSpPr>
        <p:spPr>
          <a:xfrm>
            <a:off x="4900491" y="2204586"/>
            <a:ext cx="4846686" cy="1001377"/>
          </a:xfrm>
          <a:prstGeom prst="rect">
            <a:avLst/>
          </a:prstGeom>
          <a:solidFill>
            <a:srgbClr val="EDA13E"/>
          </a:solidFill>
          <a:ln>
            <a:noFill/>
          </a:ln>
        </p:spPr>
        <p:txBody>
          <a:bodyPr vert="horz" wrap="square" lIns="68580" tIns="34290" rIns="68580" bIns="34290" numCol="1" anchor="t" anchorCtr="0" compatLnSpc="1">
            <a:prstTxWarp prst="textNoShape">
              <a:avLst/>
            </a:prstTxWarp>
          </a:bodyPr>
          <a:lstStyle/>
          <a:p>
            <a:endParaRPr lang="en-GB" sz="1500">
              <a:latin typeface="+mj-lt"/>
            </a:endParaRPr>
          </a:p>
        </p:txBody>
      </p:sp>
      <p:pic>
        <p:nvPicPr>
          <p:cNvPr id="6" name="Slika 5">
            <a:extLst>
              <a:ext uri="{FF2B5EF4-FFF2-40B4-BE49-F238E27FC236}">
                <a16:creationId xmlns:a16="http://schemas.microsoft.com/office/drawing/2014/main" id="{39A06DAF-4988-58E3-F4A0-6F5AFF8E3B98}"/>
              </a:ext>
            </a:extLst>
          </p:cNvPr>
          <p:cNvPicPr>
            <a:picLocks noChangeAspect="1"/>
          </p:cNvPicPr>
          <p:nvPr/>
        </p:nvPicPr>
        <p:blipFill>
          <a:blip r:embed="rId2"/>
          <a:stretch>
            <a:fillRect/>
          </a:stretch>
        </p:blipFill>
        <p:spPr>
          <a:xfrm>
            <a:off x="8700024" y="6271209"/>
            <a:ext cx="3111762" cy="586791"/>
          </a:xfrm>
          <a:prstGeom prst="rect">
            <a:avLst/>
          </a:prstGeom>
        </p:spPr>
      </p:pic>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a:solidFill>
                  <a:schemeClr val="bg1"/>
                </a:solidFill>
              </a:rPr>
              <a:t>02 </a:t>
            </a:r>
            <a:r>
              <a:rPr lang="en-US">
                <a:solidFill>
                  <a:schemeClr val="bg1"/>
                </a:solidFill>
              </a:rPr>
              <a:t>Cuestiones organizativas: Indicadores clave de rendimiento (KPI)</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633594" y="2052197"/>
            <a:ext cx="3159038" cy="4650317"/>
          </a:xfrm>
        </p:spPr>
        <p:txBody>
          <a:bodyPr>
            <a:normAutofit/>
          </a:bodyPr>
          <a:lstStyle/>
          <a:p>
            <a:pPr marL="12700" indent="-12700"/>
            <a:r>
              <a:rPr lang="en-GB" sz="2200">
                <a:latin typeface="Calibri" panose="020F0502020204030204" pitchFamily="34" charset="0"/>
                <a:ea typeface="Lato Light" panose="020F0502020204030203" pitchFamily="34" charset="0"/>
                <a:cs typeface="Calibri" panose="020F0502020204030204" pitchFamily="34" charset="0"/>
              </a:rPr>
              <a:t>Hay una gran cantidad de información disponible para identificar los indicadores de alerta temprana. </a:t>
            </a:r>
          </a:p>
          <a:p>
            <a:pPr marL="12700" indent="-12700"/>
            <a:r>
              <a:rPr lang="en-GB" sz="2200">
                <a:latin typeface="Calibri" panose="020F0502020204030204" pitchFamily="34" charset="0"/>
                <a:ea typeface="Lato Light" panose="020F0502020204030203" pitchFamily="34" charset="0"/>
                <a:cs typeface="Calibri" panose="020F0502020204030204" pitchFamily="34" charset="0"/>
              </a:rPr>
              <a:t>El reto es buscar en los lugares adecuados y hacer operativa esta información, y los KPI son una fuente de datos especialmente importante.</a:t>
            </a:r>
          </a:p>
          <a:p>
            <a:pPr marL="12700" indent="-12700"/>
            <a:endParaRPr lang="en-GB" sz="1600">
              <a:latin typeface="Calibri" panose="020F0502020204030204" pitchFamily="34" charset="0"/>
              <a:ea typeface="Lato Light" panose="020F0502020204030203" pitchFamily="34" charset="0"/>
              <a:cs typeface="Calibri" panose="020F0502020204030204" pitchFamily="34" charset="0"/>
            </a:endParaRPr>
          </a:p>
          <a:p>
            <a:pPr marL="12700" indent="-12700"/>
            <a:r>
              <a:rPr lang="en-GB" sz="2200">
                <a:latin typeface="Calibri" panose="020F0502020204030204" pitchFamily="34" charset="0"/>
                <a:ea typeface="Lato Light" panose="020F0502020204030203" pitchFamily="34" charset="0"/>
                <a:cs typeface="Calibri" panose="020F0502020204030204" pitchFamily="34" charset="0"/>
              </a:rPr>
              <a:t>Veamos por qué </a:t>
            </a:r>
          </a:p>
          <a:p>
            <a:pPr marL="12700" indent="-12700"/>
            <a:endParaRPr lang="en-GB" sz="2200">
              <a:latin typeface="Calibri" panose="020F0502020204030204" pitchFamily="34" charset="0"/>
              <a:ea typeface="Lato Light" panose="020F0502020204030203" pitchFamily="34" charset="0"/>
              <a:cs typeface="Calibri" panose="020F0502020204030204" pitchFamily="34" charset="0"/>
            </a:endParaRPr>
          </a:p>
          <a:p>
            <a:pPr marL="12700" indent="-12700"/>
            <a:endParaRPr lang="en-GB" sz="2200">
              <a:latin typeface="Calibri" panose="020F0502020204030204" pitchFamily="34" charset="0"/>
              <a:ea typeface="Lato Light" panose="020F0502020204030203" pitchFamily="34" charset="0"/>
              <a:cs typeface="Calibri" panose="020F0502020204030204" pitchFamily="34" charset="0"/>
            </a:endParaRPr>
          </a:p>
        </p:txBody>
      </p:sp>
      <p:sp>
        <p:nvSpPr>
          <p:cNvPr id="5" name="Rechteck 43">
            <a:extLst>
              <a:ext uri="{FF2B5EF4-FFF2-40B4-BE49-F238E27FC236}">
                <a16:creationId xmlns:a16="http://schemas.microsoft.com/office/drawing/2014/main" id="{55EC1B1F-35BF-5C97-D72E-D9D0BC115583}"/>
              </a:ext>
            </a:extLst>
          </p:cNvPr>
          <p:cNvSpPr/>
          <p:nvPr/>
        </p:nvSpPr>
        <p:spPr>
          <a:xfrm>
            <a:off x="4900491" y="5252633"/>
            <a:ext cx="4370224" cy="1198261"/>
          </a:xfrm>
          <a:prstGeom prst="rect">
            <a:avLst/>
          </a:prstGeom>
          <a:solidFill>
            <a:srgbClr val="245473"/>
          </a:solidFill>
          <a:ln>
            <a:noFill/>
          </a:ln>
        </p:spPr>
        <p:txBody>
          <a:bodyPr vert="horz" wrap="square" lIns="68580" tIns="34290" rIns="68580" bIns="34290" numCol="1" anchor="t" anchorCtr="0" compatLnSpc="1">
            <a:prstTxWarp prst="textNoShape">
              <a:avLst/>
            </a:prstTxWarp>
          </a:bodyPr>
          <a:lstStyle/>
          <a:p>
            <a:endParaRPr lang="en-GB" sz="1500">
              <a:latin typeface="+mj-lt"/>
            </a:endParaRPr>
          </a:p>
        </p:txBody>
      </p:sp>
      <p:grpSp>
        <p:nvGrpSpPr>
          <p:cNvPr id="76" name="Group 75">
            <a:extLst>
              <a:ext uri="{FF2B5EF4-FFF2-40B4-BE49-F238E27FC236}">
                <a16:creationId xmlns:a16="http://schemas.microsoft.com/office/drawing/2014/main" id="{B252C721-384C-8506-DC52-6C30B2CE24D3}"/>
              </a:ext>
            </a:extLst>
          </p:cNvPr>
          <p:cNvGrpSpPr/>
          <p:nvPr/>
        </p:nvGrpSpPr>
        <p:grpSpPr>
          <a:xfrm>
            <a:off x="9464104" y="2677708"/>
            <a:ext cx="2604548" cy="4024806"/>
            <a:chOff x="9357727" y="2325994"/>
            <a:chExt cx="2733889" cy="4224677"/>
          </a:xfrm>
        </p:grpSpPr>
        <p:sp>
          <p:nvSpPr>
            <p:cNvPr id="8" name="Freeform 9">
              <a:extLst>
                <a:ext uri="{FF2B5EF4-FFF2-40B4-BE49-F238E27FC236}">
                  <a16:creationId xmlns:a16="http://schemas.microsoft.com/office/drawing/2014/main" id="{D5FBE66F-DA9D-4960-CD9C-6C11879E818C}"/>
                </a:ext>
              </a:extLst>
            </p:cNvPr>
            <p:cNvSpPr/>
            <p:nvPr/>
          </p:nvSpPr>
          <p:spPr bwMode="auto">
            <a:xfrm>
              <a:off x="11391303" y="3806961"/>
              <a:ext cx="419627" cy="2044802"/>
            </a:xfrm>
            <a:custGeom>
              <a:avLst/>
              <a:gdLst>
                <a:gd name="T0" fmla="*/ 299 w 299"/>
                <a:gd name="T1" fmla="*/ 1290 h 1457"/>
                <a:gd name="T2" fmla="*/ 299 w 299"/>
                <a:gd name="T3" fmla="*/ 88 h 1457"/>
                <a:gd name="T4" fmla="*/ 237 w 299"/>
                <a:gd name="T5" fmla="*/ 122 h 1457"/>
                <a:gd name="T6" fmla="*/ 0 w 299"/>
                <a:gd name="T7" fmla="*/ 0 h 1457"/>
                <a:gd name="T8" fmla="*/ 0 w 299"/>
                <a:gd name="T9" fmla="*/ 1457 h 1457"/>
                <a:gd name="T10" fmla="*/ 299 w 299"/>
                <a:gd name="T11" fmla="*/ 1290 h 1457"/>
                <a:gd name="T12" fmla="*/ 299 w 299"/>
                <a:gd name="T13" fmla="*/ 1290 h 1457"/>
              </a:gdLst>
              <a:ahLst/>
              <a:cxnLst>
                <a:cxn ang="0">
                  <a:pos x="T0" y="T1"/>
                </a:cxn>
                <a:cxn ang="0">
                  <a:pos x="T2" y="T3"/>
                </a:cxn>
                <a:cxn ang="0">
                  <a:pos x="T4" y="T5"/>
                </a:cxn>
                <a:cxn ang="0">
                  <a:pos x="T6" y="T7"/>
                </a:cxn>
                <a:cxn ang="0">
                  <a:pos x="T8" y="T9"/>
                </a:cxn>
                <a:cxn ang="0">
                  <a:pos x="T10" y="T11"/>
                </a:cxn>
                <a:cxn ang="0">
                  <a:pos x="T12" y="T13"/>
                </a:cxn>
              </a:cxnLst>
              <a:rect l="0" t="0" r="r" b="b"/>
              <a:pathLst>
                <a:path w="299" h="1457">
                  <a:moveTo>
                    <a:pt x="299" y="1290"/>
                  </a:moveTo>
                  <a:lnTo>
                    <a:pt x="299" y="88"/>
                  </a:lnTo>
                  <a:lnTo>
                    <a:pt x="237" y="122"/>
                  </a:lnTo>
                  <a:lnTo>
                    <a:pt x="0" y="0"/>
                  </a:lnTo>
                  <a:lnTo>
                    <a:pt x="0" y="1457"/>
                  </a:lnTo>
                  <a:lnTo>
                    <a:pt x="299" y="1290"/>
                  </a:lnTo>
                  <a:lnTo>
                    <a:pt x="299" y="1290"/>
                  </a:lnTo>
                  <a:close/>
                </a:path>
              </a:pathLst>
            </a:custGeom>
            <a:solidFill>
              <a:srgbClr val="DE9B45"/>
            </a:solidFill>
            <a:ln>
              <a:noFill/>
            </a:ln>
          </p:spPr>
          <p:txBody>
            <a:bodyPr vert="horz" wrap="square" lIns="68580" tIns="34290" rIns="68580" bIns="34290" numCol="1" anchor="t" anchorCtr="0" compatLnSpc="1">
              <a:prstTxWarp prst="textNoShape">
                <a:avLst/>
              </a:prstTxWarp>
            </a:bodyPr>
            <a:lstStyle/>
            <a:p>
              <a:endParaRPr lang="en-GB" sz="1500">
                <a:latin typeface="+mj-lt"/>
              </a:endParaRPr>
            </a:p>
          </p:txBody>
        </p:sp>
        <p:sp>
          <p:nvSpPr>
            <p:cNvPr id="10" name="Freeform 10">
              <a:extLst>
                <a:ext uri="{FF2B5EF4-FFF2-40B4-BE49-F238E27FC236}">
                  <a16:creationId xmlns:a16="http://schemas.microsoft.com/office/drawing/2014/main" id="{EB95F43F-8396-06C6-86E1-71A4BF9C062B}"/>
                </a:ext>
              </a:extLst>
            </p:cNvPr>
            <p:cNvSpPr/>
            <p:nvPr/>
          </p:nvSpPr>
          <p:spPr bwMode="auto">
            <a:xfrm>
              <a:off x="11110616" y="2325994"/>
              <a:ext cx="981000" cy="1663068"/>
            </a:xfrm>
            <a:custGeom>
              <a:avLst/>
              <a:gdLst>
                <a:gd name="T0" fmla="*/ 245 w 699"/>
                <a:gd name="T1" fmla="*/ 0 h 1185"/>
                <a:gd name="T2" fmla="*/ 0 w 699"/>
                <a:gd name="T3" fmla="*/ 135 h 1185"/>
                <a:gd name="T4" fmla="*/ 448 w 699"/>
                <a:gd name="T5" fmla="*/ 1185 h 1185"/>
                <a:gd name="T6" fmla="*/ 699 w 699"/>
                <a:gd name="T7" fmla="*/ 1049 h 1185"/>
                <a:gd name="T8" fmla="*/ 245 w 699"/>
                <a:gd name="T9" fmla="*/ 0 h 1185"/>
                <a:gd name="T10" fmla="*/ 245 w 699"/>
                <a:gd name="T11" fmla="*/ 0 h 1185"/>
              </a:gdLst>
              <a:ahLst/>
              <a:cxnLst>
                <a:cxn ang="0">
                  <a:pos x="T0" y="T1"/>
                </a:cxn>
                <a:cxn ang="0">
                  <a:pos x="T2" y="T3"/>
                </a:cxn>
                <a:cxn ang="0">
                  <a:pos x="T4" y="T5"/>
                </a:cxn>
                <a:cxn ang="0">
                  <a:pos x="T6" y="T7"/>
                </a:cxn>
                <a:cxn ang="0">
                  <a:pos x="T8" y="T9"/>
                </a:cxn>
                <a:cxn ang="0">
                  <a:pos x="T10" y="T11"/>
                </a:cxn>
              </a:cxnLst>
              <a:rect l="0" t="0" r="r" b="b"/>
              <a:pathLst>
                <a:path w="699" h="1185">
                  <a:moveTo>
                    <a:pt x="245" y="0"/>
                  </a:moveTo>
                  <a:lnTo>
                    <a:pt x="0" y="135"/>
                  </a:lnTo>
                  <a:lnTo>
                    <a:pt x="448" y="1185"/>
                  </a:lnTo>
                  <a:lnTo>
                    <a:pt x="699" y="1049"/>
                  </a:lnTo>
                  <a:lnTo>
                    <a:pt x="245" y="0"/>
                  </a:lnTo>
                  <a:lnTo>
                    <a:pt x="245" y="0"/>
                  </a:lnTo>
                  <a:close/>
                </a:path>
              </a:pathLst>
            </a:custGeom>
            <a:solidFill>
              <a:srgbClr val="DE9B45"/>
            </a:solidFill>
            <a:ln>
              <a:noFill/>
            </a:ln>
          </p:spPr>
          <p:txBody>
            <a:bodyPr vert="horz" wrap="square" lIns="68580" tIns="34290" rIns="68580" bIns="34290" numCol="1" anchor="t" anchorCtr="0" compatLnSpc="1">
              <a:prstTxWarp prst="textNoShape">
                <a:avLst/>
              </a:prstTxWarp>
            </a:bodyPr>
            <a:lstStyle/>
            <a:p>
              <a:endParaRPr lang="en-GB" sz="4400">
                <a:latin typeface="+mj-lt"/>
              </a:endParaRPr>
            </a:p>
          </p:txBody>
        </p:sp>
        <p:sp>
          <p:nvSpPr>
            <p:cNvPr id="11" name="Freeform 11">
              <a:extLst>
                <a:ext uri="{FF2B5EF4-FFF2-40B4-BE49-F238E27FC236}">
                  <a16:creationId xmlns:a16="http://schemas.microsoft.com/office/drawing/2014/main" id="{C9F069E2-D545-2C08-2536-87919F415E2F}"/>
                </a:ext>
              </a:extLst>
            </p:cNvPr>
            <p:cNvSpPr/>
            <p:nvPr/>
          </p:nvSpPr>
          <p:spPr bwMode="auto">
            <a:xfrm>
              <a:off x="10299433" y="2504577"/>
              <a:ext cx="1424485" cy="3347187"/>
            </a:xfrm>
            <a:custGeom>
              <a:avLst/>
              <a:gdLst>
                <a:gd name="T0" fmla="*/ 778 w 1015"/>
                <a:gd name="T1" fmla="*/ 2385 h 2385"/>
                <a:gd name="T2" fmla="*/ 778 w 1015"/>
                <a:gd name="T3" fmla="*/ 928 h 2385"/>
                <a:gd name="T4" fmla="*/ 1015 w 1015"/>
                <a:gd name="T5" fmla="*/ 1050 h 2385"/>
                <a:gd name="T6" fmla="*/ 567 w 1015"/>
                <a:gd name="T7" fmla="*/ 0 h 2385"/>
                <a:gd name="T8" fmla="*/ 0 w 1015"/>
                <a:gd name="T9" fmla="*/ 532 h 2385"/>
                <a:gd name="T10" fmla="*/ 225 w 1015"/>
                <a:gd name="T11" fmla="*/ 645 h 2385"/>
                <a:gd name="T12" fmla="*/ 225 w 1015"/>
                <a:gd name="T13" fmla="*/ 2103 h 2385"/>
                <a:gd name="T14" fmla="*/ 778 w 1015"/>
                <a:gd name="T15" fmla="*/ 2385 h 2385"/>
                <a:gd name="T16" fmla="*/ 778 w 1015"/>
                <a:gd name="T17" fmla="*/ 2385 h 2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5" h="2385">
                  <a:moveTo>
                    <a:pt x="778" y="2385"/>
                  </a:moveTo>
                  <a:lnTo>
                    <a:pt x="778" y="928"/>
                  </a:lnTo>
                  <a:lnTo>
                    <a:pt x="1015" y="1050"/>
                  </a:lnTo>
                  <a:lnTo>
                    <a:pt x="567" y="0"/>
                  </a:lnTo>
                  <a:lnTo>
                    <a:pt x="0" y="532"/>
                  </a:lnTo>
                  <a:lnTo>
                    <a:pt x="225" y="645"/>
                  </a:lnTo>
                  <a:lnTo>
                    <a:pt x="225" y="2103"/>
                  </a:lnTo>
                  <a:lnTo>
                    <a:pt x="778" y="2385"/>
                  </a:lnTo>
                  <a:lnTo>
                    <a:pt x="778" y="2385"/>
                  </a:lnTo>
                  <a:close/>
                </a:path>
              </a:pathLst>
            </a:custGeom>
            <a:solidFill>
              <a:srgbClr val="EDA13E"/>
            </a:solidFill>
            <a:ln>
              <a:noFill/>
            </a:ln>
          </p:spPr>
          <p:txBody>
            <a:bodyPr vert="horz" wrap="square" lIns="68580" tIns="34290" rIns="68580" bIns="34290" numCol="1" anchor="t" anchorCtr="0" compatLnSpc="1">
              <a:prstTxWarp prst="textNoShape">
                <a:avLst/>
              </a:prstTxWarp>
            </a:bodyPr>
            <a:lstStyle/>
            <a:p>
              <a:endParaRPr lang="en-GB" sz="4400">
                <a:latin typeface="+mj-lt"/>
              </a:endParaRPr>
            </a:p>
          </p:txBody>
        </p:sp>
        <p:sp>
          <p:nvSpPr>
            <p:cNvPr id="15" name="Freeform 12">
              <a:extLst>
                <a:ext uri="{FF2B5EF4-FFF2-40B4-BE49-F238E27FC236}">
                  <a16:creationId xmlns:a16="http://schemas.microsoft.com/office/drawing/2014/main" id="{C4EE26EE-EB43-95EB-A00F-18CC21A5FDFA}"/>
                </a:ext>
              </a:extLst>
            </p:cNvPr>
            <p:cNvSpPr/>
            <p:nvPr/>
          </p:nvSpPr>
          <p:spPr bwMode="auto">
            <a:xfrm>
              <a:off x="10195578" y="4032914"/>
              <a:ext cx="1195725" cy="625931"/>
            </a:xfrm>
            <a:custGeom>
              <a:avLst/>
              <a:gdLst>
                <a:gd name="T0" fmla="*/ 852 w 852"/>
                <a:gd name="T1" fmla="*/ 281 h 446"/>
                <a:gd name="T2" fmla="*/ 299 w 852"/>
                <a:gd name="T3" fmla="*/ 0 h 446"/>
                <a:gd name="T4" fmla="*/ 0 w 852"/>
                <a:gd name="T5" fmla="*/ 166 h 446"/>
                <a:gd name="T6" fmla="*/ 554 w 852"/>
                <a:gd name="T7" fmla="*/ 446 h 446"/>
                <a:gd name="T8" fmla="*/ 852 w 852"/>
                <a:gd name="T9" fmla="*/ 281 h 446"/>
                <a:gd name="T10" fmla="*/ 852 w 852"/>
                <a:gd name="T11" fmla="*/ 281 h 446"/>
              </a:gdLst>
              <a:ahLst/>
              <a:cxnLst>
                <a:cxn ang="0">
                  <a:pos x="T0" y="T1"/>
                </a:cxn>
                <a:cxn ang="0">
                  <a:pos x="T2" y="T3"/>
                </a:cxn>
                <a:cxn ang="0">
                  <a:pos x="T4" y="T5"/>
                </a:cxn>
                <a:cxn ang="0">
                  <a:pos x="T6" y="T7"/>
                </a:cxn>
                <a:cxn ang="0">
                  <a:pos x="T8" y="T9"/>
                </a:cxn>
                <a:cxn ang="0">
                  <a:pos x="T10" y="T11"/>
                </a:cxn>
              </a:cxnLst>
              <a:rect l="0" t="0" r="r" b="b"/>
              <a:pathLst>
                <a:path w="852" h="446">
                  <a:moveTo>
                    <a:pt x="852" y="281"/>
                  </a:moveTo>
                  <a:lnTo>
                    <a:pt x="299" y="0"/>
                  </a:lnTo>
                  <a:lnTo>
                    <a:pt x="0" y="166"/>
                  </a:lnTo>
                  <a:lnTo>
                    <a:pt x="554" y="446"/>
                  </a:lnTo>
                  <a:lnTo>
                    <a:pt x="852" y="281"/>
                  </a:lnTo>
                  <a:lnTo>
                    <a:pt x="852" y="281"/>
                  </a:lnTo>
                  <a:close/>
                </a:path>
              </a:pathLst>
            </a:custGeom>
            <a:solidFill>
              <a:srgbClr val="F16924"/>
            </a:solidFill>
            <a:ln>
              <a:noFill/>
            </a:ln>
          </p:spPr>
          <p:txBody>
            <a:bodyPr vert="horz" wrap="square" lIns="68580" tIns="34290" rIns="68580" bIns="34290" numCol="1" anchor="t" anchorCtr="0" compatLnSpc="1">
              <a:prstTxWarp prst="textNoShape">
                <a:avLst/>
              </a:prstTxWarp>
            </a:bodyPr>
            <a:lstStyle/>
            <a:p>
              <a:endParaRPr lang="en-GB" sz="1500">
                <a:latin typeface="+mj-lt"/>
              </a:endParaRPr>
            </a:p>
          </p:txBody>
        </p:sp>
        <p:sp>
          <p:nvSpPr>
            <p:cNvPr id="16" name="Freeform 13">
              <a:extLst>
                <a:ext uri="{FF2B5EF4-FFF2-40B4-BE49-F238E27FC236}">
                  <a16:creationId xmlns:a16="http://schemas.microsoft.com/office/drawing/2014/main" id="{3CE0A0CE-E9E6-686C-FDDA-C01A915D7AD8}"/>
                </a:ext>
              </a:extLst>
            </p:cNvPr>
            <p:cNvSpPr/>
            <p:nvPr/>
          </p:nvSpPr>
          <p:spPr bwMode="auto">
            <a:xfrm>
              <a:off x="10195579" y="4265883"/>
              <a:ext cx="777501" cy="1818849"/>
            </a:xfrm>
            <a:custGeom>
              <a:avLst/>
              <a:gdLst>
                <a:gd name="T0" fmla="*/ 554 w 554"/>
                <a:gd name="T1" fmla="*/ 1296 h 1296"/>
                <a:gd name="T2" fmla="*/ 554 w 554"/>
                <a:gd name="T3" fmla="*/ 280 h 1296"/>
                <a:gd name="T4" fmla="*/ 0 w 554"/>
                <a:gd name="T5" fmla="*/ 0 h 1296"/>
                <a:gd name="T6" fmla="*/ 0 w 554"/>
                <a:gd name="T7" fmla="*/ 1013 h 1296"/>
                <a:gd name="T8" fmla="*/ 554 w 554"/>
                <a:gd name="T9" fmla="*/ 1296 h 1296"/>
                <a:gd name="T10" fmla="*/ 554 w 554"/>
                <a:gd name="T11" fmla="*/ 1296 h 1296"/>
              </a:gdLst>
              <a:ahLst/>
              <a:cxnLst>
                <a:cxn ang="0">
                  <a:pos x="T0" y="T1"/>
                </a:cxn>
                <a:cxn ang="0">
                  <a:pos x="T2" y="T3"/>
                </a:cxn>
                <a:cxn ang="0">
                  <a:pos x="T4" y="T5"/>
                </a:cxn>
                <a:cxn ang="0">
                  <a:pos x="T6" y="T7"/>
                </a:cxn>
                <a:cxn ang="0">
                  <a:pos x="T8" y="T9"/>
                </a:cxn>
                <a:cxn ang="0">
                  <a:pos x="T10" y="T11"/>
                </a:cxn>
              </a:cxnLst>
              <a:rect l="0" t="0" r="r" b="b"/>
              <a:pathLst>
                <a:path w="554" h="1296">
                  <a:moveTo>
                    <a:pt x="554" y="1296"/>
                  </a:moveTo>
                  <a:lnTo>
                    <a:pt x="554" y="280"/>
                  </a:lnTo>
                  <a:lnTo>
                    <a:pt x="0" y="0"/>
                  </a:lnTo>
                  <a:lnTo>
                    <a:pt x="0" y="1013"/>
                  </a:lnTo>
                  <a:lnTo>
                    <a:pt x="554" y="1296"/>
                  </a:lnTo>
                  <a:lnTo>
                    <a:pt x="554" y="1296"/>
                  </a:lnTo>
                  <a:close/>
                </a:path>
              </a:pathLst>
            </a:custGeom>
            <a:solidFill>
              <a:srgbClr val="D66A35"/>
            </a:solidFill>
            <a:ln>
              <a:noFill/>
            </a:ln>
          </p:spPr>
          <p:txBody>
            <a:bodyPr vert="horz" wrap="square" lIns="68580" tIns="34290" rIns="68580" bIns="34290" numCol="1" anchor="t" anchorCtr="0" compatLnSpc="1">
              <a:prstTxWarp prst="textNoShape">
                <a:avLst/>
              </a:prstTxWarp>
            </a:bodyPr>
            <a:lstStyle/>
            <a:p>
              <a:endParaRPr lang="en-GB" sz="1500">
                <a:latin typeface="+mj-lt"/>
              </a:endParaRPr>
            </a:p>
          </p:txBody>
        </p:sp>
        <p:sp>
          <p:nvSpPr>
            <p:cNvPr id="17" name="Freeform 14">
              <a:extLst>
                <a:ext uri="{FF2B5EF4-FFF2-40B4-BE49-F238E27FC236}">
                  <a16:creationId xmlns:a16="http://schemas.microsoft.com/office/drawing/2014/main" id="{4F28C4F5-8CE1-CB40-9F95-D292AFA8B92C}"/>
                </a:ext>
              </a:extLst>
            </p:cNvPr>
            <p:cNvSpPr/>
            <p:nvPr/>
          </p:nvSpPr>
          <p:spPr bwMode="auto">
            <a:xfrm>
              <a:off x="10973080" y="4427279"/>
              <a:ext cx="418223" cy="1657454"/>
            </a:xfrm>
            <a:custGeom>
              <a:avLst/>
              <a:gdLst>
                <a:gd name="T0" fmla="*/ 298 w 298"/>
                <a:gd name="T1" fmla="*/ 1015 h 1181"/>
                <a:gd name="T2" fmla="*/ 298 w 298"/>
                <a:gd name="T3" fmla="*/ 0 h 1181"/>
                <a:gd name="T4" fmla="*/ 0 w 298"/>
                <a:gd name="T5" fmla="*/ 165 h 1181"/>
                <a:gd name="T6" fmla="*/ 0 w 298"/>
                <a:gd name="T7" fmla="*/ 1181 h 1181"/>
                <a:gd name="T8" fmla="*/ 298 w 298"/>
                <a:gd name="T9" fmla="*/ 1015 h 1181"/>
                <a:gd name="T10" fmla="*/ 298 w 298"/>
                <a:gd name="T11" fmla="*/ 1015 h 1181"/>
              </a:gdLst>
              <a:ahLst/>
              <a:cxnLst>
                <a:cxn ang="0">
                  <a:pos x="T0" y="T1"/>
                </a:cxn>
                <a:cxn ang="0">
                  <a:pos x="T2" y="T3"/>
                </a:cxn>
                <a:cxn ang="0">
                  <a:pos x="T4" y="T5"/>
                </a:cxn>
                <a:cxn ang="0">
                  <a:pos x="T6" y="T7"/>
                </a:cxn>
                <a:cxn ang="0">
                  <a:pos x="T8" y="T9"/>
                </a:cxn>
                <a:cxn ang="0">
                  <a:pos x="T10" y="T11"/>
                </a:cxn>
              </a:cxnLst>
              <a:rect l="0" t="0" r="r" b="b"/>
              <a:pathLst>
                <a:path w="298" h="1181">
                  <a:moveTo>
                    <a:pt x="298" y="1015"/>
                  </a:moveTo>
                  <a:lnTo>
                    <a:pt x="298" y="0"/>
                  </a:lnTo>
                  <a:lnTo>
                    <a:pt x="0" y="165"/>
                  </a:lnTo>
                  <a:lnTo>
                    <a:pt x="0" y="1181"/>
                  </a:lnTo>
                  <a:lnTo>
                    <a:pt x="298" y="1015"/>
                  </a:lnTo>
                  <a:lnTo>
                    <a:pt x="298" y="1015"/>
                  </a:lnTo>
                  <a:close/>
                </a:path>
              </a:pathLst>
            </a:custGeom>
            <a:solidFill>
              <a:srgbClr val="D66A35"/>
            </a:solidFill>
            <a:ln>
              <a:noFill/>
            </a:ln>
          </p:spPr>
          <p:txBody>
            <a:bodyPr vert="horz" wrap="square" lIns="68580" tIns="34290" rIns="68580" bIns="34290" numCol="1" anchor="t" anchorCtr="0" compatLnSpc="1">
              <a:prstTxWarp prst="textNoShape">
                <a:avLst/>
              </a:prstTxWarp>
            </a:bodyPr>
            <a:lstStyle/>
            <a:p>
              <a:endParaRPr lang="en-GB" sz="1500">
                <a:latin typeface="+mj-lt"/>
              </a:endParaRPr>
            </a:p>
          </p:txBody>
        </p:sp>
        <p:sp>
          <p:nvSpPr>
            <p:cNvPr id="18" name="Freeform 15">
              <a:extLst>
                <a:ext uri="{FF2B5EF4-FFF2-40B4-BE49-F238E27FC236}">
                  <a16:creationId xmlns:a16="http://schemas.microsoft.com/office/drawing/2014/main" id="{B6C7281F-C0ED-21D4-3868-6C8CF89CEE02}"/>
                </a:ext>
              </a:extLst>
            </p:cNvPr>
            <p:cNvSpPr/>
            <p:nvPr/>
          </p:nvSpPr>
          <p:spPr bwMode="auto">
            <a:xfrm>
              <a:off x="9777355" y="4605515"/>
              <a:ext cx="1195724" cy="625931"/>
            </a:xfrm>
            <a:custGeom>
              <a:avLst/>
              <a:gdLst>
                <a:gd name="T0" fmla="*/ 852 w 852"/>
                <a:gd name="T1" fmla="*/ 283 h 446"/>
                <a:gd name="T2" fmla="*/ 298 w 852"/>
                <a:gd name="T3" fmla="*/ 0 h 446"/>
                <a:gd name="T4" fmla="*/ 0 w 852"/>
                <a:gd name="T5" fmla="*/ 166 h 446"/>
                <a:gd name="T6" fmla="*/ 553 w 852"/>
                <a:gd name="T7" fmla="*/ 446 h 446"/>
                <a:gd name="T8" fmla="*/ 852 w 852"/>
                <a:gd name="T9" fmla="*/ 283 h 446"/>
                <a:gd name="T10" fmla="*/ 852 w 852"/>
                <a:gd name="T11" fmla="*/ 283 h 446"/>
              </a:gdLst>
              <a:ahLst/>
              <a:cxnLst>
                <a:cxn ang="0">
                  <a:pos x="T0" y="T1"/>
                </a:cxn>
                <a:cxn ang="0">
                  <a:pos x="T2" y="T3"/>
                </a:cxn>
                <a:cxn ang="0">
                  <a:pos x="T4" y="T5"/>
                </a:cxn>
                <a:cxn ang="0">
                  <a:pos x="T6" y="T7"/>
                </a:cxn>
                <a:cxn ang="0">
                  <a:pos x="T8" y="T9"/>
                </a:cxn>
                <a:cxn ang="0">
                  <a:pos x="T10" y="T11"/>
                </a:cxn>
              </a:cxnLst>
              <a:rect l="0" t="0" r="r" b="b"/>
              <a:pathLst>
                <a:path w="852" h="446">
                  <a:moveTo>
                    <a:pt x="852" y="283"/>
                  </a:moveTo>
                  <a:lnTo>
                    <a:pt x="298" y="0"/>
                  </a:lnTo>
                  <a:lnTo>
                    <a:pt x="0" y="166"/>
                  </a:lnTo>
                  <a:lnTo>
                    <a:pt x="553" y="446"/>
                  </a:lnTo>
                  <a:lnTo>
                    <a:pt x="852" y="283"/>
                  </a:lnTo>
                  <a:lnTo>
                    <a:pt x="852" y="283"/>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1500">
                <a:latin typeface="+mj-lt"/>
              </a:endParaRPr>
            </a:p>
          </p:txBody>
        </p:sp>
        <p:sp>
          <p:nvSpPr>
            <p:cNvPr id="19" name="Freeform 16">
              <a:extLst>
                <a:ext uri="{FF2B5EF4-FFF2-40B4-BE49-F238E27FC236}">
                  <a16:creationId xmlns:a16="http://schemas.microsoft.com/office/drawing/2014/main" id="{5637CC85-6137-9356-06D5-7F2AF74994EB}"/>
                </a:ext>
              </a:extLst>
            </p:cNvPr>
            <p:cNvSpPr/>
            <p:nvPr/>
          </p:nvSpPr>
          <p:spPr bwMode="auto">
            <a:xfrm>
              <a:off x="10553453" y="5002687"/>
              <a:ext cx="419627" cy="1313613"/>
            </a:xfrm>
            <a:custGeom>
              <a:avLst/>
              <a:gdLst>
                <a:gd name="T0" fmla="*/ 299 w 299"/>
                <a:gd name="T1" fmla="*/ 771 h 936"/>
                <a:gd name="T2" fmla="*/ 299 w 299"/>
                <a:gd name="T3" fmla="*/ 0 h 936"/>
                <a:gd name="T4" fmla="*/ 0 w 299"/>
                <a:gd name="T5" fmla="*/ 163 h 936"/>
                <a:gd name="T6" fmla="*/ 0 w 299"/>
                <a:gd name="T7" fmla="*/ 936 h 936"/>
                <a:gd name="T8" fmla="*/ 299 w 299"/>
                <a:gd name="T9" fmla="*/ 771 h 936"/>
                <a:gd name="T10" fmla="*/ 299 w 299"/>
                <a:gd name="T11" fmla="*/ 771 h 936"/>
              </a:gdLst>
              <a:ahLst/>
              <a:cxnLst>
                <a:cxn ang="0">
                  <a:pos x="T0" y="T1"/>
                </a:cxn>
                <a:cxn ang="0">
                  <a:pos x="T2" y="T3"/>
                </a:cxn>
                <a:cxn ang="0">
                  <a:pos x="T4" y="T5"/>
                </a:cxn>
                <a:cxn ang="0">
                  <a:pos x="T6" y="T7"/>
                </a:cxn>
                <a:cxn ang="0">
                  <a:pos x="T8" y="T9"/>
                </a:cxn>
                <a:cxn ang="0">
                  <a:pos x="T10" y="T11"/>
                </a:cxn>
              </a:cxnLst>
              <a:rect l="0" t="0" r="r" b="b"/>
              <a:pathLst>
                <a:path w="299" h="936">
                  <a:moveTo>
                    <a:pt x="299" y="771"/>
                  </a:moveTo>
                  <a:lnTo>
                    <a:pt x="299" y="0"/>
                  </a:lnTo>
                  <a:lnTo>
                    <a:pt x="0" y="163"/>
                  </a:lnTo>
                  <a:lnTo>
                    <a:pt x="0" y="936"/>
                  </a:lnTo>
                  <a:lnTo>
                    <a:pt x="299" y="771"/>
                  </a:lnTo>
                  <a:lnTo>
                    <a:pt x="299" y="771"/>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1500">
                <a:latin typeface="+mj-lt"/>
              </a:endParaRPr>
            </a:p>
          </p:txBody>
        </p:sp>
        <p:sp>
          <p:nvSpPr>
            <p:cNvPr id="20" name="Freeform 17">
              <a:extLst>
                <a:ext uri="{FF2B5EF4-FFF2-40B4-BE49-F238E27FC236}">
                  <a16:creationId xmlns:a16="http://schemas.microsoft.com/office/drawing/2014/main" id="{BDD2D163-F7CB-9DF4-4461-C78D172A3F99}"/>
                </a:ext>
              </a:extLst>
            </p:cNvPr>
            <p:cNvSpPr/>
            <p:nvPr/>
          </p:nvSpPr>
          <p:spPr bwMode="auto">
            <a:xfrm>
              <a:off x="9794467" y="4832268"/>
              <a:ext cx="776098" cy="1477815"/>
            </a:xfrm>
            <a:custGeom>
              <a:avLst/>
              <a:gdLst>
                <a:gd name="T0" fmla="*/ 553 w 553"/>
                <a:gd name="T1" fmla="*/ 1053 h 1053"/>
                <a:gd name="T2" fmla="*/ 553 w 553"/>
                <a:gd name="T3" fmla="*/ 280 h 1053"/>
                <a:gd name="T4" fmla="*/ 0 w 553"/>
                <a:gd name="T5" fmla="*/ 0 h 1053"/>
                <a:gd name="T6" fmla="*/ 0 w 553"/>
                <a:gd name="T7" fmla="*/ 772 h 1053"/>
                <a:gd name="T8" fmla="*/ 553 w 553"/>
                <a:gd name="T9" fmla="*/ 1053 h 1053"/>
                <a:gd name="T10" fmla="*/ 553 w 553"/>
                <a:gd name="T11" fmla="*/ 1053 h 1053"/>
              </a:gdLst>
              <a:ahLst/>
              <a:cxnLst>
                <a:cxn ang="0">
                  <a:pos x="T0" y="T1"/>
                </a:cxn>
                <a:cxn ang="0">
                  <a:pos x="T2" y="T3"/>
                </a:cxn>
                <a:cxn ang="0">
                  <a:pos x="T4" y="T5"/>
                </a:cxn>
                <a:cxn ang="0">
                  <a:pos x="T6" y="T7"/>
                </a:cxn>
                <a:cxn ang="0">
                  <a:pos x="T8" y="T9"/>
                </a:cxn>
                <a:cxn ang="0">
                  <a:pos x="T10" y="T11"/>
                </a:cxn>
              </a:cxnLst>
              <a:rect l="0" t="0" r="r" b="b"/>
              <a:pathLst>
                <a:path w="553" h="1053">
                  <a:moveTo>
                    <a:pt x="553" y="1053"/>
                  </a:moveTo>
                  <a:lnTo>
                    <a:pt x="553" y="280"/>
                  </a:lnTo>
                  <a:lnTo>
                    <a:pt x="0" y="0"/>
                  </a:lnTo>
                  <a:lnTo>
                    <a:pt x="0" y="772"/>
                  </a:lnTo>
                  <a:lnTo>
                    <a:pt x="553" y="1053"/>
                  </a:lnTo>
                  <a:lnTo>
                    <a:pt x="553" y="1053"/>
                  </a:lnTo>
                  <a:close/>
                </a:path>
              </a:pathLst>
            </a:custGeom>
            <a:solidFill>
              <a:srgbClr val="7F1C58"/>
            </a:solidFill>
            <a:ln>
              <a:noFill/>
            </a:ln>
          </p:spPr>
          <p:txBody>
            <a:bodyPr vert="horz" wrap="square" lIns="68580" tIns="34290" rIns="68580" bIns="34290" numCol="1" anchor="t" anchorCtr="0" compatLnSpc="1">
              <a:prstTxWarp prst="textNoShape">
                <a:avLst/>
              </a:prstTxWarp>
            </a:bodyPr>
            <a:lstStyle/>
            <a:p>
              <a:endParaRPr lang="en-GB" sz="1500">
                <a:latin typeface="+mj-lt"/>
              </a:endParaRPr>
            </a:p>
          </p:txBody>
        </p:sp>
        <p:grpSp>
          <p:nvGrpSpPr>
            <p:cNvPr id="21" name="Group 28">
              <a:extLst>
                <a:ext uri="{FF2B5EF4-FFF2-40B4-BE49-F238E27FC236}">
                  <a16:creationId xmlns:a16="http://schemas.microsoft.com/office/drawing/2014/main" id="{C36DC48F-03A6-C685-3F26-735BD66AF3B0}"/>
                </a:ext>
              </a:extLst>
            </p:cNvPr>
            <p:cNvGrpSpPr/>
            <p:nvPr/>
          </p:nvGrpSpPr>
          <p:grpSpPr>
            <a:xfrm>
              <a:off x="9357727" y="5185131"/>
              <a:ext cx="1195727" cy="1365540"/>
              <a:chOff x="8526457" y="4929184"/>
              <a:chExt cx="1352552" cy="1544637"/>
            </a:xfrm>
          </p:grpSpPr>
          <p:sp>
            <p:nvSpPr>
              <p:cNvPr id="22" name="Freeform 18">
                <a:extLst>
                  <a:ext uri="{FF2B5EF4-FFF2-40B4-BE49-F238E27FC236}">
                    <a16:creationId xmlns:a16="http://schemas.microsoft.com/office/drawing/2014/main" id="{2E486461-341C-0620-81A6-3E4AA6E2B22E}"/>
                  </a:ext>
                </a:extLst>
              </p:cNvPr>
              <p:cNvSpPr/>
              <p:nvPr/>
            </p:nvSpPr>
            <p:spPr bwMode="auto">
              <a:xfrm>
                <a:off x="8526460" y="4929184"/>
                <a:ext cx="1352549" cy="709613"/>
              </a:xfrm>
              <a:custGeom>
                <a:avLst/>
                <a:gdLst>
                  <a:gd name="T0" fmla="*/ 852 w 852"/>
                  <a:gd name="T1" fmla="*/ 282 h 447"/>
                  <a:gd name="T2" fmla="*/ 299 w 852"/>
                  <a:gd name="T3" fmla="*/ 0 h 447"/>
                  <a:gd name="T4" fmla="*/ 0 w 852"/>
                  <a:gd name="T5" fmla="*/ 165 h 447"/>
                  <a:gd name="T6" fmla="*/ 554 w 852"/>
                  <a:gd name="T7" fmla="*/ 447 h 447"/>
                  <a:gd name="T8" fmla="*/ 852 w 852"/>
                  <a:gd name="T9" fmla="*/ 282 h 447"/>
                  <a:gd name="T10" fmla="*/ 852 w 852"/>
                  <a:gd name="T11" fmla="*/ 282 h 447"/>
                </a:gdLst>
                <a:ahLst/>
                <a:cxnLst>
                  <a:cxn ang="0">
                    <a:pos x="T0" y="T1"/>
                  </a:cxn>
                  <a:cxn ang="0">
                    <a:pos x="T2" y="T3"/>
                  </a:cxn>
                  <a:cxn ang="0">
                    <a:pos x="T4" y="T5"/>
                  </a:cxn>
                  <a:cxn ang="0">
                    <a:pos x="T6" y="T7"/>
                  </a:cxn>
                  <a:cxn ang="0">
                    <a:pos x="T8" y="T9"/>
                  </a:cxn>
                  <a:cxn ang="0">
                    <a:pos x="T10" y="T11"/>
                  </a:cxn>
                </a:cxnLst>
                <a:rect l="0" t="0" r="r" b="b"/>
                <a:pathLst>
                  <a:path w="852" h="447">
                    <a:moveTo>
                      <a:pt x="852" y="282"/>
                    </a:moveTo>
                    <a:lnTo>
                      <a:pt x="299" y="0"/>
                    </a:lnTo>
                    <a:lnTo>
                      <a:pt x="0" y="165"/>
                    </a:lnTo>
                    <a:lnTo>
                      <a:pt x="554" y="447"/>
                    </a:lnTo>
                    <a:lnTo>
                      <a:pt x="852" y="282"/>
                    </a:lnTo>
                    <a:lnTo>
                      <a:pt x="852" y="282"/>
                    </a:lnTo>
                    <a:close/>
                  </a:path>
                </a:pathLst>
              </a:custGeom>
              <a:solidFill>
                <a:srgbClr val="2454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a:latin typeface="+mj-lt"/>
                </a:endParaRPr>
              </a:p>
            </p:txBody>
          </p:sp>
          <p:sp>
            <p:nvSpPr>
              <p:cNvPr id="23" name="Freeform 19">
                <a:extLst>
                  <a:ext uri="{FF2B5EF4-FFF2-40B4-BE49-F238E27FC236}">
                    <a16:creationId xmlns:a16="http://schemas.microsoft.com/office/drawing/2014/main" id="{CFD1D0D3-D747-C952-EEAF-D901D799A77C}"/>
                  </a:ext>
                </a:extLst>
              </p:cNvPr>
              <p:cNvSpPr/>
              <p:nvPr/>
            </p:nvSpPr>
            <p:spPr bwMode="auto">
              <a:xfrm>
                <a:off x="9405934" y="5376859"/>
                <a:ext cx="473075" cy="1096962"/>
              </a:xfrm>
              <a:custGeom>
                <a:avLst/>
                <a:gdLst>
                  <a:gd name="T0" fmla="*/ 298 w 298"/>
                  <a:gd name="T1" fmla="*/ 524 h 691"/>
                  <a:gd name="T2" fmla="*/ 298 w 298"/>
                  <a:gd name="T3" fmla="*/ 0 h 691"/>
                  <a:gd name="T4" fmla="*/ 0 w 298"/>
                  <a:gd name="T5" fmla="*/ 165 h 691"/>
                  <a:gd name="T6" fmla="*/ 0 w 298"/>
                  <a:gd name="T7" fmla="*/ 691 h 691"/>
                  <a:gd name="T8" fmla="*/ 298 w 298"/>
                  <a:gd name="T9" fmla="*/ 524 h 691"/>
                  <a:gd name="T10" fmla="*/ 298 w 298"/>
                  <a:gd name="T11" fmla="*/ 524 h 691"/>
                </a:gdLst>
                <a:ahLst/>
                <a:cxnLst>
                  <a:cxn ang="0">
                    <a:pos x="T0" y="T1"/>
                  </a:cxn>
                  <a:cxn ang="0">
                    <a:pos x="T2" y="T3"/>
                  </a:cxn>
                  <a:cxn ang="0">
                    <a:pos x="T4" y="T5"/>
                  </a:cxn>
                  <a:cxn ang="0">
                    <a:pos x="T6" y="T7"/>
                  </a:cxn>
                  <a:cxn ang="0">
                    <a:pos x="T8" y="T9"/>
                  </a:cxn>
                  <a:cxn ang="0">
                    <a:pos x="T10" y="T11"/>
                  </a:cxn>
                </a:cxnLst>
                <a:rect l="0" t="0" r="r" b="b"/>
                <a:pathLst>
                  <a:path w="298" h="691">
                    <a:moveTo>
                      <a:pt x="298" y="524"/>
                    </a:moveTo>
                    <a:lnTo>
                      <a:pt x="298" y="0"/>
                    </a:lnTo>
                    <a:lnTo>
                      <a:pt x="0" y="165"/>
                    </a:lnTo>
                    <a:lnTo>
                      <a:pt x="0" y="691"/>
                    </a:lnTo>
                    <a:lnTo>
                      <a:pt x="298" y="524"/>
                    </a:lnTo>
                    <a:lnTo>
                      <a:pt x="298" y="524"/>
                    </a:lnTo>
                    <a:close/>
                  </a:path>
                </a:pathLst>
              </a:custGeom>
              <a:solidFill>
                <a:srgbClr val="1842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a:latin typeface="+mj-lt"/>
                </a:endParaRPr>
              </a:p>
            </p:txBody>
          </p:sp>
          <p:sp>
            <p:nvSpPr>
              <p:cNvPr id="24" name="Freeform 20">
                <a:extLst>
                  <a:ext uri="{FF2B5EF4-FFF2-40B4-BE49-F238E27FC236}">
                    <a16:creationId xmlns:a16="http://schemas.microsoft.com/office/drawing/2014/main" id="{16BDCCAE-8E42-F9E5-597C-D39E772EF0F7}"/>
                  </a:ext>
                </a:extLst>
              </p:cNvPr>
              <p:cNvSpPr/>
              <p:nvPr/>
            </p:nvSpPr>
            <p:spPr bwMode="auto">
              <a:xfrm>
                <a:off x="8526457" y="5191122"/>
                <a:ext cx="879474" cy="1282699"/>
              </a:xfrm>
              <a:custGeom>
                <a:avLst/>
                <a:gdLst>
                  <a:gd name="T0" fmla="*/ 554 w 554"/>
                  <a:gd name="T1" fmla="*/ 808 h 808"/>
                  <a:gd name="T2" fmla="*/ 554 w 554"/>
                  <a:gd name="T3" fmla="*/ 282 h 808"/>
                  <a:gd name="T4" fmla="*/ 0 w 554"/>
                  <a:gd name="T5" fmla="*/ 0 h 808"/>
                  <a:gd name="T6" fmla="*/ 0 w 554"/>
                  <a:gd name="T7" fmla="*/ 525 h 808"/>
                  <a:gd name="T8" fmla="*/ 554 w 554"/>
                  <a:gd name="T9" fmla="*/ 808 h 808"/>
                  <a:gd name="T10" fmla="*/ 554 w 554"/>
                  <a:gd name="T11" fmla="*/ 808 h 808"/>
                </a:gdLst>
                <a:ahLst/>
                <a:cxnLst>
                  <a:cxn ang="0">
                    <a:pos x="T0" y="T1"/>
                  </a:cxn>
                  <a:cxn ang="0">
                    <a:pos x="T2" y="T3"/>
                  </a:cxn>
                  <a:cxn ang="0">
                    <a:pos x="T4" y="T5"/>
                  </a:cxn>
                  <a:cxn ang="0">
                    <a:pos x="T6" y="T7"/>
                  </a:cxn>
                  <a:cxn ang="0">
                    <a:pos x="T8" y="T9"/>
                  </a:cxn>
                  <a:cxn ang="0">
                    <a:pos x="T10" y="T11"/>
                  </a:cxn>
                </a:cxnLst>
                <a:rect l="0" t="0" r="r" b="b"/>
                <a:pathLst>
                  <a:path w="554" h="807">
                    <a:moveTo>
                      <a:pt x="554" y="808"/>
                    </a:moveTo>
                    <a:lnTo>
                      <a:pt x="554" y="282"/>
                    </a:lnTo>
                    <a:lnTo>
                      <a:pt x="0" y="0"/>
                    </a:lnTo>
                    <a:lnTo>
                      <a:pt x="0" y="525"/>
                    </a:lnTo>
                    <a:lnTo>
                      <a:pt x="554" y="808"/>
                    </a:lnTo>
                    <a:lnTo>
                      <a:pt x="554" y="808"/>
                    </a:lnTo>
                    <a:close/>
                  </a:path>
                </a:pathLst>
              </a:custGeom>
              <a:solidFill>
                <a:srgbClr val="1842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1500">
                  <a:latin typeface="+mj-lt"/>
                </a:endParaRPr>
              </a:p>
            </p:txBody>
          </p:sp>
        </p:grpSp>
      </p:grpSp>
      <p:sp>
        <p:nvSpPr>
          <p:cNvPr id="60" name="Rechteck 42">
            <a:extLst>
              <a:ext uri="{FF2B5EF4-FFF2-40B4-BE49-F238E27FC236}">
                <a16:creationId xmlns:a16="http://schemas.microsoft.com/office/drawing/2014/main" id="{47746F9B-44CB-ABF5-F095-2788148BA6BD}"/>
              </a:ext>
            </a:extLst>
          </p:cNvPr>
          <p:cNvSpPr/>
          <p:nvPr/>
        </p:nvSpPr>
        <p:spPr>
          <a:xfrm>
            <a:off x="4900491" y="4234015"/>
            <a:ext cx="3101848" cy="951116"/>
          </a:xfrm>
          <a:prstGeom prst="rect">
            <a:avLst/>
          </a:prstGeom>
          <a:solidFill>
            <a:srgbClr val="B41F7A"/>
          </a:solidFill>
          <a:ln>
            <a:noFill/>
          </a:ln>
        </p:spPr>
        <p:txBody>
          <a:bodyPr vert="horz" wrap="square" lIns="68580" tIns="34290" rIns="68580" bIns="34290" numCol="1" anchor="t" anchorCtr="0" compatLnSpc="1">
            <a:prstTxWarp prst="textNoShape">
              <a:avLst/>
            </a:prstTxWarp>
          </a:bodyPr>
          <a:lstStyle/>
          <a:p>
            <a:endParaRPr lang="en-GB" sz="1500">
              <a:latin typeface="+mj-lt"/>
            </a:endParaRPr>
          </a:p>
        </p:txBody>
      </p:sp>
      <p:sp>
        <p:nvSpPr>
          <p:cNvPr id="61" name="Freeform 7">
            <a:extLst>
              <a:ext uri="{FF2B5EF4-FFF2-40B4-BE49-F238E27FC236}">
                <a16:creationId xmlns:a16="http://schemas.microsoft.com/office/drawing/2014/main" id="{52752C48-F48A-64DF-973F-3025FD4E83CC}"/>
              </a:ext>
            </a:extLst>
          </p:cNvPr>
          <p:cNvSpPr/>
          <p:nvPr/>
        </p:nvSpPr>
        <p:spPr bwMode="auto">
          <a:xfrm>
            <a:off x="7223449" y="4222917"/>
            <a:ext cx="2523727" cy="962214"/>
          </a:xfrm>
          <a:custGeom>
            <a:avLst/>
            <a:gdLst>
              <a:gd name="T0" fmla="*/ 0 w 1819"/>
              <a:gd name="T1" fmla="*/ 410 h 410"/>
              <a:gd name="T2" fmla="*/ 0 w 1819"/>
              <a:gd name="T3" fmla="*/ 0 h 410"/>
              <a:gd name="T4" fmla="*/ 1819 w 1819"/>
              <a:gd name="T5" fmla="*/ 0 h 410"/>
              <a:gd name="T6" fmla="*/ 1819 w 1819"/>
              <a:gd name="T7" fmla="*/ 231 h 410"/>
              <a:gd name="T8" fmla="*/ 1518 w 1819"/>
              <a:gd name="T9" fmla="*/ 394 h 410"/>
              <a:gd name="T10" fmla="*/ 1518 w 1819"/>
              <a:gd name="T11" fmla="*/ 410 h 410"/>
              <a:gd name="T12" fmla="*/ 0 w 1819"/>
              <a:gd name="T13" fmla="*/ 410 h 410"/>
              <a:gd name="T14" fmla="*/ 0 w 1819"/>
              <a:gd name="T15" fmla="*/ 410 h 4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9" h="410">
                <a:moveTo>
                  <a:pt x="0" y="410"/>
                </a:moveTo>
                <a:lnTo>
                  <a:pt x="0" y="0"/>
                </a:lnTo>
                <a:lnTo>
                  <a:pt x="1819" y="0"/>
                </a:lnTo>
                <a:lnTo>
                  <a:pt x="1819" y="231"/>
                </a:lnTo>
                <a:lnTo>
                  <a:pt x="1518" y="394"/>
                </a:lnTo>
                <a:lnTo>
                  <a:pt x="1518" y="410"/>
                </a:lnTo>
                <a:lnTo>
                  <a:pt x="0" y="410"/>
                </a:lnTo>
                <a:lnTo>
                  <a:pt x="0" y="410"/>
                </a:lnTo>
                <a:close/>
              </a:path>
            </a:pathLst>
          </a:custGeom>
          <a:solidFill>
            <a:srgbClr val="B41F7A"/>
          </a:solidFill>
          <a:ln>
            <a:noFill/>
          </a:ln>
        </p:spPr>
        <p:txBody>
          <a:bodyPr vert="horz" wrap="square" lIns="68580" tIns="34290" rIns="68580" bIns="34290" numCol="1" anchor="t" anchorCtr="0" compatLnSpc="1">
            <a:prstTxWarp prst="textNoShape">
              <a:avLst/>
            </a:prstTxWarp>
          </a:bodyPr>
          <a:lstStyle/>
          <a:p>
            <a:endParaRPr lang="en-GB" sz="1500">
              <a:latin typeface="+mj-lt"/>
            </a:endParaRPr>
          </a:p>
        </p:txBody>
      </p:sp>
      <p:sp>
        <p:nvSpPr>
          <p:cNvPr id="63" name="Subtitle 2">
            <a:extLst>
              <a:ext uri="{FF2B5EF4-FFF2-40B4-BE49-F238E27FC236}">
                <a16:creationId xmlns:a16="http://schemas.microsoft.com/office/drawing/2014/main" id="{7D6D89FF-8F18-3EA6-A75A-0BB844D80E8F}"/>
              </a:ext>
            </a:extLst>
          </p:cNvPr>
          <p:cNvSpPr txBox="1"/>
          <p:nvPr/>
        </p:nvSpPr>
        <p:spPr>
          <a:xfrm>
            <a:off x="5021804" y="5330514"/>
            <a:ext cx="4109595" cy="105700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60"/>
              </a:lnSpc>
            </a:pPr>
            <a:r>
              <a:rPr lang="en-GB" sz="1800">
                <a:solidFill>
                  <a:schemeClr val="bg1"/>
                </a:solidFill>
                <a:latin typeface="+mn-lt"/>
                <a:ea typeface="Lato Light" panose="020F0502020204030203" pitchFamily="34" charset="0"/>
                <a:cs typeface="Mukta ExtraLight" panose="020B0000000000000000" pitchFamily="34" charset="77"/>
              </a:rPr>
              <a:t>KPI son las siglas de Key Performance Indicator (Indicador Clave de Rendimiento), y de eso se trata: de identificar, medir y controlar los indicadores clave del rendimiento de la empresa.</a:t>
            </a:r>
          </a:p>
        </p:txBody>
      </p:sp>
      <p:sp>
        <p:nvSpPr>
          <p:cNvPr id="64" name="Subtitle 2">
            <a:extLst>
              <a:ext uri="{FF2B5EF4-FFF2-40B4-BE49-F238E27FC236}">
                <a16:creationId xmlns:a16="http://schemas.microsoft.com/office/drawing/2014/main" id="{670811B2-7FCA-D86C-2337-B2846569C9F4}"/>
              </a:ext>
            </a:extLst>
          </p:cNvPr>
          <p:cNvSpPr txBox="1"/>
          <p:nvPr/>
        </p:nvSpPr>
        <p:spPr>
          <a:xfrm>
            <a:off x="5168896" y="4283438"/>
            <a:ext cx="4470421" cy="8133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60"/>
              </a:lnSpc>
            </a:pPr>
            <a:r>
              <a:rPr lang="en-GB" sz="1800">
                <a:solidFill>
                  <a:schemeClr val="bg1"/>
                </a:solidFill>
                <a:latin typeface="+mn-lt"/>
                <a:ea typeface="Lato Light" panose="020F0502020204030203" pitchFamily="34" charset="0"/>
                <a:cs typeface="Mukta ExtraLight" panose="020B0000000000000000" pitchFamily="34" charset="77"/>
              </a:rPr>
              <a:t>Las PYMEs suelen utilizar los KPIs para evaluar su éxito o el éxito de una actividad concreta que realizan</a:t>
            </a:r>
          </a:p>
        </p:txBody>
      </p:sp>
      <p:sp>
        <p:nvSpPr>
          <p:cNvPr id="65" name="Subtitle 2">
            <a:extLst>
              <a:ext uri="{FF2B5EF4-FFF2-40B4-BE49-F238E27FC236}">
                <a16:creationId xmlns:a16="http://schemas.microsoft.com/office/drawing/2014/main" id="{58CE92F6-7037-606F-F04A-DAD03D581DA1}"/>
              </a:ext>
            </a:extLst>
          </p:cNvPr>
          <p:cNvSpPr txBox="1"/>
          <p:nvPr/>
        </p:nvSpPr>
        <p:spPr>
          <a:xfrm>
            <a:off x="5168896" y="3332322"/>
            <a:ext cx="4470421" cy="813346"/>
          </a:xfrm>
          <a:prstGeom prst="rect">
            <a:avLst/>
          </a:prstGeom>
          <a:noFill/>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60"/>
              </a:lnSpc>
            </a:pPr>
            <a:r>
              <a:rPr lang="en-GB" sz="1800">
                <a:solidFill>
                  <a:schemeClr val="bg1"/>
                </a:solidFill>
                <a:latin typeface="+mn-lt"/>
                <a:ea typeface="Lato Light" panose="020F0502020204030203" pitchFamily="34" charset="0"/>
                <a:cs typeface="Mukta ExtraLight" panose="020B0000000000000000" pitchFamily="34" charset="77"/>
              </a:rPr>
              <a:t>La elección de los KPIs adecuados depende de que se comprenda bien lo que es importante para la PYME y su éxito</a:t>
            </a:r>
          </a:p>
        </p:txBody>
      </p:sp>
      <p:sp>
        <p:nvSpPr>
          <p:cNvPr id="66" name="Subtitle 2">
            <a:extLst>
              <a:ext uri="{FF2B5EF4-FFF2-40B4-BE49-F238E27FC236}">
                <a16:creationId xmlns:a16="http://schemas.microsoft.com/office/drawing/2014/main" id="{E66D4A10-E985-4876-5B52-C88FA50FAA31}"/>
              </a:ext>
            </a:extLst>
          </p:cNvPr>
          <p:cNvSpPr txBox="1"/>
          <p:nvPr/>
        </p:nvSpPr>
        <p:spPr>
          <a:xfrm>
            <a:off x="5071196" y="2296873"/>
            <a:ext cx="4500849" cy="1047834"/>
          </a:xfrm>
          <a:prstGeom prst="rect">
            <a:avLst/>
          </a:prstGeom>
          <a:noFill/>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860"/>
              </a:lnSpc>
            </a:pPr>
            <a:r>
              <a:rPr lang="en-GB" sz="1800">
                <a:solidFill>
                  <a:schemeClr val="bg1"/>
                </a:solidFill>
                <a:latin typeface="+mn-lt"/>
                <a:ea typeface="Lato Light" panose="020F0502020204030203" pitchFamily="34" charset="0"/>
                <a:cs typeface="Mukta ExtraLight" panose="020B0000000000000000" pitchFamily="34" charset="77"/>
              </a:rPr>
              <a:t>La evaluación de los KPIs a menudo conduce a la identificación de posibles mejoras Y a la comprensión de una crisis próxima </a:t>
            </a:r>
          </a:p>
          <a:p>
            <a:pPr>
              <a:lnSpc>
                <a:spcPts val="1860"/>
              </a:lnSpc>
            </a:pPr>
            <a:endParaRPr lang="en-GB" sz="800">
              <a:solidFill>
                <a:schemeClr val="bg1"/>
              </a:solidFill>
              <a:latin typeface="+mj-lt"/>
              <a:ea typeface="Lato Light" panose="020F0502020204030203" pitchFamily="34" charset="0"/>
              <a:cs typeface="Mukta ExtraLight" panose="020B0000000000000000" pitchFamily="34" charset="77"/>
            </a:endParaRPr>
          </a:p>
        </p:txBody>
      </p:sp>
      <p:grpSp>
        <p:nvGrpSpPr>
          <p:cNvPr id="77" name="Group 76">
            <a:extLst>
              <a:ext uri="{FF2B5EF4-FFF2-40B4-BE49-F238E27FC236}">
                <a16:creationId xmlns:a16="http://schemas.microsoft.com/office/drawing/2014/main" id="{BA1CB341-ABB8-40D0-39C5-9B7FE2DE7897}"/>
              </a:ext>
            </a:extLst>
          </p:cNvPr>
          <p:cNvGrpSpPr/>
          <p:nvPr/>
        </p:nvGrpSpPr>
        <p:grpSpPr>
          <a:xfrm>
            <a:off x="524290" y="1905212"/>
            <a:ext cx="868457" cy="867509"/>
            <a:chOff x="7257599" y="768348"/>
            <a:chExt cx="868457" cy="867509"/>
          </a:xfrm>
          <a:solidFill>
            <a:srgbClr val="595959"/>
          </a:solidFill>
        </p:grpSpPr>
        <p:sp>
          <p:nvSpPr>
            <p:cNvPr id="78" name="Freeform 77">
              <a:extLst>
                <a:ext uri="{FF2B5EF4-FFF2-40B4-BE49-F238E27FC236}">
                  <a16:creationId xmlns:a16="http://schemas.microsoft.com/office/drawing/2014/main" id="{483C415F-3D87-0BE0-A306-C93D6FF92E17}"/>
                </a:ext>
              </a:extLst>
            </p:cNvPr>
            <p:cNvSpPr/>
            <p:nvPr/>
          </p:nvSpPr>
          <p:spPr>
            <a:xfrm>
              <a:off x="7672223" y="1282564"/>
              <a:ext cx="303614" cy="275513"/>
            </a:xfrm>
            <a:custGeom>
              <a:avLst/>
              <a:gdLst>
                <a:gd name="connsiteX0" fmla="*/ 5420 w 303614"/>
                <a:gd name="connsiteY0" fmla="*/ 194214 h 275513"/>
                <a:gd name="connsiteX1" fmla="*/ 8130 w 303614"/>
                <a:gd name="connsiteY1" fmla="*/ 193311 h 275513"/>
                <a:gd name="connsiteX2" fmla="*/ 18970 w 303614"/>
                <a:gd name="connsiteY2" fmla="*/ 193311 h 275513"/>
                <a:gd name="connsiteX3" fmla="*/ 79492 w 303614"/>
                <a:gd name="connsiteY3" fmla="*/ 229444 h 275513"/>
                <a:gd name="connsiteX4" fmla="*/ 93946 w 303614"/>
                <a:gd name="connsiteY4" fmla="*/ 229444 h 275513"/>
                <a:gd name="connsiteX5" fmla="*/ 101172 w 303614"/>
                <a:gd name="connsiteY5" fmla="*/ 216797 h 275513"/>
                <a:gd name="connsiteX6" fmla="*/ 101172 w 303614"/>
                <a:gd name="connsiteY6" fmla="*/ 14453 h 275513"/>
                <a:gd name="connsiteX7" fmla="*/ 115625 w 303614"/>
                <a:gd name="connsiteY7" fmla="*/ 0 h 275513"/>
                <a:gd name="connsiteX8" fmla="*/ 130079 w 303614"/>
                <a:gd name="connsiteY8" fmla="*/ 14453 h 275513"/>
                <a:gd name="connsiteX9" fmla="*/ 130079 w 303614"/>
                <a:gd name="connsiteY9" fmla="*/ 130982 h 275513"/>
                <a:gd name="connsiteX10" fmla="*/ 144531 w 303614"/>
                <a:gd name="connsiteY10" fmla="*/ 145435 h 275513"/>
                <a:gd name="connsiteX11" fmla="*/ 158985 w 303614"/>
                <a:gd name="connsiteY11" fmla="*/ 130982 h 275513"/>
                <a:gd name="connsiteX12" fmla="*/ 173438 w 303614"/>
                <a:gd name="connsiteY12" fmla="*/ 116529 h 275513"/>
                <a:gd name="connsiteX13" fmla="*/ 187891 w 303614"/>
                <a:gd name="connsiteY13" fmla="*/ 130982 h 275513"/>
                <a:gd name="connsiteX14" fmla="*/ 202344 w 303614"/>
                <a:gd name="connsiteY14" fmla="*/ 145435 h 275513"/>
                <a:gd name="connsiteX15" fmla="*/ 216797 w 303614"/>
                <a:gd name="connsiteY15" fmla="*/ 130982 h 275513"/>
                <a:gd name="connsiteX16" fmla="*/ 231251 w 303614"/>
                <a:gd name="connsiteY16" fmla="*/ 116529 h 275513"/>
                <a:gd name="connsiteX17" fmla="*/ 245704 w 303614"/>
                <a:gd name="connsiteY17" fmla="*/ 130982 h 275513"/>
                <a:gd name="connsiteX18" fmla="*/ 260156 w 303614"/>
                <a:gd name="connsiteY18" fmla="*/ 145435 h 275513"/>
                <a:gd name="connsiteX19" fmla="*/ 274610 w 303614"/>
                <a:gd name="connsiteY19" fmla="*/ 130982 h 275513"/>
                <a:gd name="connsiteX20" fmla="*/ 280030 w 303614"/>
                <a:gd name="connsiteY20" fmla="*/ 120142 h 275513"/>
                <a:gd name="connsiteX21" fmla="*/ 291773 w 303614"/>
                <a:gd name="connsiteY21" fmla="*/ 117432 h 275513"/>
                <a:gd name="connsiteX22" fmla="*/ 303516 w 303614"/>
                <a:gd name="connsiteY22" fmla="*/ 132788 h 275513"/>
                <a:gd name="connsiteX23" fmla="*/ 303516 w 303614"/>
                <a:gd name="connsiteY23" fmla="*/ 275513 h 275513"/>
                <a:gd name="connsiteX24" fmla="*/ 91236 w 303614"/>
                <a:gd name="connsiteY24" fmla="*/ 275513 h 275513"/>
                <a:gd name="connsiteX25" fmla="*/ 4517 w 303614"/>
                <a:gd name="connsiteY25" fmla="*/ 213184 h 275513"/>
                <a:gd name="connsiteX26" fmla="*/ 0 w 303614"/>
                <a:gd name="connsiteY26" fmla="*/ 203247 h 275513"/>
                <a:gd name="connsiteX27" fmla="*/ 5420 w 303614"/>
                <a:gd name="connsiteY27" fmla="*/ 194214 h 275513"/>
                <a:gd name="connsiteX28" fmla="*/ 5420 w 303614"/>
                <a:gd name="connsiteY28" fmla="*/ 194214 h 27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4" h="275513">
                  <a:moveTo>
                    <a:pt x="5420" y="194214"/>
                  </a:moveTo>
                  <a:lnTo>
                    <a:pt x="8130" y="193311"/>
                  </a:lnTo>
                  <a:cubicBezTo>
                    <a:pt x="11743" y="191504"/>
                    <a:pt x="15357" y="191504"/>
                    <a:pt x="18970" y="193311"/>
                  </a:cubicBezTo>
                  <a:lnTo>
                    <a:pt x="79492" y="229444"/>
                  </a:lnTo>
                  <a:cubicBezTo>
                    <a:pt x="84009" y="232154"/>
                    <a:pt x="89429" y="232154"/>
                    <a:pt x="93946" y="229444"/>
                  </a:cubicBezTo>
                  <a:cubicBezTo>
                    <a:pt x="98462" y="226733"/>
                    <a:pt x="101172" y="222217"/>
                    <a:pt x="101172" y="216797"/>
                  </a:cubicBezTo>
                  <a:lnTo>
                    <a:pt x="101172" y="14453"/>
                  </a:lnTo>
                  <a:cubicBezTo>
                    <a:pt x="101172" y="6323"/>
                    <a:pt x="107495" y="0"/>
                    <a:pt x="115625" y="0"/>
                  </a:cubicBezTo>
                  <a:cubicBezTo>
                    <a:pt x="123755" y="0"/>
                    <a:pt x="130079" y="6323"/>
                    <a:pt x="130079" y="14453"/>
                  </a:cubicBezTo>
                  <a:lnTo>
                    <a:pt x="130079" y="130982"/>
                  </a:lnTo>
                  <a:cubicBezTo>
                    <a:pt x="130079" y="139112"/>
                    <a:pt x="136402" y="145435"/>
                    <a:pt x="144531" y="145435"/>
                  </a:cubicBezTo>
                  <a:cubicBezTo>
                    <a:pt x="152662" y="145435"/>
                    <a:pt x="158985" y="139112"/>
                    <a:pt x="158985" y="130982"/>
                  </a:cubicBezTo>
                  <a:cubicBezTo>
                    <a:pt x="158985" y="122852"/>
                    <a:pt x="165308" y="116529"/>
                    <a:pt x="173438" y="116529"/>
                  </a:cubicBezTo>
                  <a:cubicBezTo>
                    <a:pt x="181568" y="116529"/>
                    <a:pt x="187891" y="122852"/>
                    <a:pt x="187891" y="130982"/>
                  </a:cubicBezTo>
                  <a:cubicBezTo>
                    <a:pt x="187891" y="139112"/>
                    <a:pt x="194214" y="145435"/>
                    <a:pt x="202344" y="145435"/>
                  </a:cubicBezTo>
                  <a:cubicBezTo>
                    <a:pt x="210474" y="145435"/>
                    <a:pt x="216797" y="139112"/>
                    <a:pt x="216797" y="130982"/>
                  </a:cubicBezTo>
                  <a:cubicBezTo>
                    <a:pt x="216797" y="122852"/>
                    <a:pt x="223121" y="116529"/>
                    <a:pt x="231251" y="116529"/>
                  </a:cubicBezTo>
                  <a:cubicBezTo>
                    <a:pt x="239380" y="116529"/>
                    <a:pt x="245704" y="122852"/>
                    <a:pt x="245704" y="130982"/>
                  </a:cubicBezTo>
                  <a:cubicBezTo>
                    <a:pt x="245704" y="139112"/>
                    <a:pt x="252027" y="145435"/>
                    <a:pt x="260156" y="145435"/>
                  </a:cubicBezTo>
                  <a:cubicBezTo>
                    <a:pt x="268287" y="145435"/>
                    <a:pt x="274610" y="139112"/>
                    <a:pt x="274610" y="130982"/>
                  </a:cubicBezTo>
                  <a:cubicBezTo>
                    <a:pt x="274610" y="126465"/>
                    <a:pt x="276417" y="122852"/>
                    <a:pt x="280030" y="120142"/>
                  </a:cubicBezTo>
                  <a:cubicBezTo>
                    <a:pt x="283643" y="117432"/>
                    <a:pt x="287256" y="116529"/>
                    <a:pt x="291773" y="117432"/>
                  </a:cubicBezTo>
                  <a:cubicBezTo>
                    <a:pt x="299000" y="119239"/>
                    <a:pt x="304419" y="125562"/>
                    <a:pt x="303516" y="132788"/>
                  </a:cubicBezTo>
                  <a:lnTo>
                    <a:pt x="303516" y="275513"/>
                  </a:lnTo>
                  <a:lnTo>
                    <a:pt x="91236" y="275513"/>
                  </a:lnTo>
                  <a:lnTo>
                    <a:pt x="4517" y="213184"/>
                  </a:lnTo>
                  <a:cubicBezTo>
                    <a:pt x="1807" y="211377"/>
                    <a:pt x="0" y="206861"/>
                    <a:pt x="0" y="203247"/>
                  </a:cubicBezTo>
                  <a:cubicBezTo>
                    <a:pt x="0" y="199634"/>
                    <a:pt x="1807" y="196021"/>
                    <a:pt x="5420" y="194214"/>
                  </a:cubicBezTo>
                  <a:lnTo>
                    <a:pt x="5420" y="194214"/>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79" name="Graphic 2">
              <a:extLst>
                <a:ext uri="{FF2B5EF4-FFF2-40B4-BE49-F238E27FC236}">
                  <a16:creationId xmlns:a16="http://schemas.microsoft.com/office/drawing/2014/main" id="{F3FC9103-087A-6868-DB82-EDD0A244B21A}"/>
                </a:ext>
              </a:extLst>
            </p:cNvPr>
            <p:cNvGrpSpPr/>
            <p:nvPr/>
          </p:nvGrpSpPr>
          <p:grpSpPr>
            <a:xfrm>
              <a:off x="7257599" y="768348"/>
              <a:ext cx="868457" cy="867509"/>
              <a:chOff x="7257599" y="768348"/>
              <a:chExt cx="868457" cy="867509"/>
            </a:xfrm>
            <a:grpFill/>
          </p:grpSpPr>
          <p:sp>
            <p:nvSpPr>
              <p:cNvPr id="80" name="Freeform 79">
                <a:extLst>
                  <a:ext uri="{FF2B5EF4-FFF2-40B4-BE49-F238E27FC236}">
                    <a16:creationId xmlns:a16="http://schemas.microsoft.com/office/drawing/2014/main" id="{750E8D92-DF72-B2B7-6F8F-EB5DB60A287F}"/>
                  </a:ext>
                </a:extLst>
              </p:cNvPr>
              <p:cNvSpPr/>
              <p:nvPr/>
            </p:nvSpPr>
            <p:spPr>
              <a:xfrm>
                <a:off x="7257599" y="768348"/>
                <a:ext cx="868457" cy="867509"/>
              </a:xfrm>
              <a:custGeom>
                <a:avLst/>
                <a:gdLst>
                  <a:gd name="connsiteX0" fmla="*/ 0 w 868457"/>
                  <a:gd name="connsiteY0" fmla="*/ 621711 h 867509"/>
                  <a:gd name="connsiteX1" fmla="*/ 61426 w 868457"/>
                  <a:gd name="connsiteY1" fmla="*/ 704816 h 867509"/>
                  <a:gd name="connsiteX2" fmla="*/ 158984 w 868457"/>
                  <a:gd name="connsiteY2" fmla="*/ 670490 h 867509"/>
                  <a:gd name="connsiteX3" fmla="*/ 350489 w 868457"/>
                  <a:gd name="connsiteY3" fmla="*/ 758113 h 867509"/>
                  <a:gd name="connsiteX4" fmla="*/ 347779 w 868457"/>
                  <a:gd name="connsiteY4" fmla="*/ 780696 h 867509"/>
                  <a:gd name="connsiteX5" fmla="*/ 395655 w 868457"/>
                  <a:gd name="connsiteY5" fmla="*/ 858381 h 867509"/>
                  <a:gd name="connsiteX6" fmla="*/ 485987 w 868457"/>
                  <a:gd name="connsiteY6" fmla="*/ 850251 h 867509"/>
                  <a:gd name="connsiteX7" fmla="*/ 468824 w 868457"/>
                  <a:gd name="connsiteY7" fmla="*/ 826765 h 867509"/>
                  <a:gd name="connsiteX8" fmla="*/ 434497 w 868457"/>
                  <a:gd name="connsiteY8" fmla="*/ 838508 h 867509"/>
                  <a:gd name="connsiteX9" fmla="*/ 386621 w 868457"/>
                  <a:gd name="connsiteY9" fmla="*/ 812312 h 867509"/>
                  <a:gd name="connsiteX10" fmla="*/ 382105 w 868457"/>
                  <a:gd name="connsiteY10" fmla="*/ 758113 h 867509"/>
                  <a:gd name="connsiteX11" fmla="*/ 383008 w 868457"/>
                  <a:gd name="connsiteY11" fmla="*/ 746370 h 867509"/>
                  <a:gd name="connsiteX12" fmla="*/ 374878 w 868457"/>
                  <a:gd name="connsiteY12" fmla="*/ 737336 h 867509"/>
                  <a:gd name="connsiteX13" fmla="*/ 171631 w 868457"/>
                  <a:gd name="connsiteY13" fmla="*/ 644294 h 867509"/>
                  <a:gd name="connsiteX14" fmla="*/ 170727 w 868457"/>
                  <a:gd name="connsiteY14" fmla="*/ 595515 h 867509"/>
                  <a:gd name="connsiteX15" fmla="*/ 282740 w 868457"/>
                  <a:gd name="connsiteY15" fmla="*/ 534089 h 867509"/>
                  <a:gd name="connsiteX16" fmla="*/ 269190 w 868457"/>
                  <a:gd name="connsiteY16" fmla="*/ 508796 h 867509"/>
                  <a:gd name="connsiteX17" fmla="*/ 158081 w 868457"/>
                  <a:gd name="connsiteY17" fmla="*/ 569318 h 867509"/>
                  <a:gd name="connsiteX18" fmla="*/ 102978 w 868457"/>
                  <a:gd name="connsiteY18" fmla="*/ 535896 h 867509"/>
                  <a:gd name="connsiteX19" fmla="*/ 102978 w 868457"/>
                  <a:gd name="connsiteY19" fmla="*/ 330842 h 867509"/>
                  <a:gd name="connsiteX20" fmla="*/ 149951 w 868457"/>
                  <a:gd name="connsiteY20" fmla="*/ 306452 h 867509"/>
                  <a:gd name="connsiteX21" fmla="*/ 270093 w 868457"/>
                  <a:gd name="connsiteY21" fmla="*/ 366974 h 867509"/>
                  <a:gd name="connsiteX22" fmla="*/ 282740 w 868457"/>
                  <a:gd name="connsiteY22" fmla="*/ 340778 h 867509"/>
                  <a:gd name="connsiteX23" fmla="*/ 166211 w 868457"/>
                  <a:gd name="connsiteY23" fmla="*/ 282966 h 867509"/>
                  <a:gd name="connsiteX24" fmla="*/ 171631 w 868457"/>
                  <a:gd name="connsiteY24" fmla="*/ 223346 h 867509"/>
                  <a:gd name="connsiteX25" fmla="*/ 363135 w 868457"/>
                  <a:gd name="connsiteY25" fmla="*/ 135724 h 867509"/>
                  <a:gd name="connsiteX26" fmla="*/ 420044 w 868457"/>
                  <a:gd name="connsiteY26" fmla="*/ 172760 h 867509"/>
                  <a:gd name="connsiteX27" fmla="*/ 420044 w 868457"/>
                  <a:gd name="connsiteY27" fmla="*/ 245929 h 867509"/>
                  <a:gd name="connsiteX28" fmla="*/ 448950 w 868457"/>
                  <a:gd name="connsiteY28" fmla="*/ 245929 h 867509"/>
                  <a:gd name="connsiteX29" fmla="*/ 448950 w 868457"/>
                  <a:gd name="connsiteY29" fmla="*/ 172760 h 867509"/>
                  <a:gd name="connsiteX30" fmla="*/ 505860 w 868457"/>
                  <a:gd name="connsiteY30" fmla="*/ 135724 h 867509"/>
                  <a:gd name="connsiteX31" fmla="*/ 697364 w 868457"/>
                  <a:gd name="connsiteY31" fmla="*/ 223346 h 867509"/>
                  <a:gd name="connsiteX32" fmla="*/ 698267 w 868457"/>
                  <a:gd name="connsiteY32" fmla="*/ 272126 h 867509"/>
                  <a:gd name="connsiteX33" fmla="*/ 586255 w 868457"/>
                  <a:gd name="connsiteY33" fmla="*/ 333551 h 867509"/>
                  <a:gd name="connsiteX34" fmla="*/ 599805 w 868457"/>
                  <a:gd name="connsiteY34" fmla="*/ 358844 h 867509"/>
                  <a:gd name="connsiteX35" fmla="*/ 710914 w 868457"/>
                  <a:gd name="connsiteY35" fmla="*/ 298322 h 867509"/>
                  <a:gd name="connsiteX36" fmla="*/ 766017 w 868457"/>
                  <a:gd name="connsiteY36" fmla="*/ 331745 h 867509"/>
                  <a:gd name="connsiteX37" fmla="*/ 766017 w 868457"/>
                  <a:gd name="connsiteY37" fmla="*/ 536799 h 867509"/>
                  <a:gd name="connsiteX38" fmla="*/ 710914 w 868457"/>
                  <a:gd name="connsiteY38" fmla="*/ 570222 h 867509"/>
                  <a:gd name="connsiteX39" fmla="*/ 734400 w 868457"/>
                  <a:gd name="connsiteY39" fmla="*/ 587385 h 867509"/>
                  <a:gd name="connsiteX40" fmla="*/ 808473 w 868457"/>
                  <a:gd name="connsiteY40" fmla="*/ 571125 h 867509"/>
                  <a:gd name="connsiteX41" fmla="*/ 835572 w 868457"/>
                  <a:gd name="connsiteY41" fmla="*/ 641584 h 867509"/>
                  <a:gd name="connsiteX42" fmla="*/ 769629 w 868457"/>
                  <a:gd name="connsiteY42" fmla="*/ 678620 h 867509"/>
                  <a:gd name="connsiteX43" fmla="*/ 764210 w 868457"/>
                  <a:gd name="connsiteY43" fmla="*/ 706623 h 867509"/>
                  <a:gd name="connsiteX44" fmla="*/ 781373 w 868457"/>
                  <a:gd name="connsiteY44" fmla="*/ 708430 h 867509"/>
                  <a:gd name="connsiteX45" fmla="*/ 867189 w 868457"/>
                  <a:gd name="connsiteY45" fmla="*/ 628938 h 867509"/>
                  <a:gd name="connsiteX46" fmla="*/ 795826 w 868457"/>
                  <a:gd name="connsiteY46" fmla="*/ 535896 h 867509"/>
                  <a:gd name="connsiteX47" fmla="*/ 795826 w 868457"/>
                  <a:gd name="connsiteY47" fmla="*/ 330842 h 867509"/>
                  <a:gd name="connsiteX48" fmla="*/ 868092 w 868457"/>
                  <a:gd name="connsiteY48" fmla="*/ 253156 h 867509"/>
                  <a:gd name="connsiteX49" fmla="*/ 811183 w 868457"/>
                  <a:gd name="connsiteY49" fmla="*/ 163727 h 867509"/>
                  <a:gd name="connsiteX50" fmla="*/ 710010 w 868457"/>
                  <a:gd name="connsiteY50" fmla="*/ 197150 h 867509"/>
                  <a:gd name="connsiteX51" fmla="*/ 518506 w 868457"/>
                  <a:gd name="connsiteY51" fmla="*/ 109528 h 867509"/>
                  <a:gd name="connsiteX52" fmla="*/ 485083 w 868457"/>
                  <a:gd name="connsiteY52" fmla="*/ 15582 h 867509"/>
                  <a:gd name="connsiteX53" fmla="*/ 385718 w 868457"/>
                  <a:gd name="connsiteY53" fmla="*/ 15582 h 867509"/>
                  <a:gd name="connsiteX54" fmla="*/ 352295 w 868457"/>
                  <a:gd name="connsiteY54" fmla="*/ 109528 h 867509"/>
                  <a:gd name="connsiteX55" fmla="*/ 160791 w 868457"/>
                  <a:gd name="connsiteY55" fmla="*/ 197150 h 867509"/>
                  <a:gd name="connsiteX56" fmla="*/ 59619 w 868457"/>
                  <a:gd name="connsiteY56" fmla="*/ 163727 h 867509"/>
                  <a:gd name="connsiteX57" fmla="*/ 2710 w 868457"/>
                  <a:gd name="connsiteY57" fmla="*/ 253156 h 867509"/>
                  <a:gd name="connsiteX58" fmla="*/ 74976 w 868457"/>
                  <a:gd name="connsiteY58" fmla="*/ 330842 h 867509"/>
                  <a:gd name="connsiteX59" fmla="*/ 74976 w 868457"/>
                  <a:gd name="connsiteY59" fmla="*/ 535896 h 867509"/>
                  <a:gd name="connsiteX60" fmla="*/ 0 w 868457"/>
                  <a:gd name="connsiteY60" fmla="*/ 621711 h 867509"/>
                  <a:gd name="connsiteX61" fmla="*/ 780469 w 868457"/>
                  <a:gd name="connsiteY61" fmla="*/ 188117 h 867509"/>
                  <a:gd name="connsiteX62" fmla="*/ 838282 w 868457"/>
                  <a:gd name="connsiteY62" fmla="*/ 245929 h 867509"/>
                  <a:gd name="connsiteX63" fmla="*/ 780469 w 868457"/>
                  <a:gd name="connsiteY63" fmla="*/ 303742 h 867509"/>
                  <a:gd name="connsiteX64" fmla="*/ 722657 w 868457"/>
                  <a:gd name="connsiteY64" fmla="*/ 245929 h 867509"/>
                  <a:gd name="connsiteX65" fmla="*/ 780469 w 868457"/>
                  <a:gd name="connsiteY65" fmla="*/ 188117 h 867509"/>
                  <a:gd name="connsiteX66" fmla="*/ 433594 w 868457"/>
                  <a:gd name="connsiteY66" fmla="*/ 29132 h 867509"/>
                  <a:gd name="connsiteX67" fmla="*/ 491407 w 868457"/>
                  <a:gd name="connsiteY67" fmla="*/ 86945 h 867509"/>
                  <a:gd name="connsiteX68" fmla="*/ 433594 w 868457"/>
                  <a:gd name="connsiteY68" fmla="*/ 144757 h 867509"/>
                  <a:gd name="connsiteX69" fmla="*/ 375782 w 868457"/>
                  <a:gd name="connsiteY69" fmla="*/ 86945 h 867509"/>
                  <a:gd name="connsiteX70" fmla="*/ 433594 w 868457"/>
                  <a:gd name="connsiteY70" fmla="*/ 29132 h 867509"/>
                  <a:gd name="connsiteX71" fmla="*/ 144531 w 868457"/>
                  <a:gd name="connsiteY71" fmla="*/ 621711 h 867509"/>
                  <a:gd name="connsiteX72" fmla="*/ 86719 w 868457"/>
                  <a:gd name="connsiteY72" fmla="*/ 679524 h 867509"/>
                  <a:gd name="connsiteX73" fmla="*/ 28906 w 868457"/>
                  <a:gd name="connsiteY73" fmla="*/ 621711 h 867509"/>
                  <a:gd name="connsiteX74" fmla="*/ 86719 w 868457"/>
                  <a:gd name="connsiteY74" fmla="*/ 563898 h 867509"/>
                  <a:gd name="connsiteX75" fmla="*/ 144531 w 868457"/>
                  <a:gd name="connsiteY75" fmla="*/ 621711 h 867509"/>
                  <a:gd name="connsiteX76" fmla="*/ 28906 w 868457"/>
                  <a:gd name="connsiteY76" fmla="*/ 245929 h 867509"/>
                  <a:gd name="connsiteX77" fmla="*/ 86719 w 868457"/>
                  <a:gd name="connsiteY77" fmla="*/ 188117 h 867509"/>
                  <a:gd name="connsiteX78" fmla="*/ 144531 w 868457"/>
                  <a:gd name="connsiteY78" fmla="*/ 245929 h 867509"/>
                  <a:gd name="connsiteX79" fmla="*/ 86719 w 868457"/>
                  <a:gd name="connsiteY79" fmla="*/ 303742 h 867509"/>
                  <a:gd name="connsiteX80" fmla="*/ 28906 w 868457"/>
                  <a:gd name="connsiteY80" fmla="*/ 245929 h 86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68457" h="867509">
                    <a:moveTo>
                      <a:pt x="0" y="621711"/>
                    </a:moveTo>
                    <a:cubicBezTo>
                      <a:pt x="0" y="659650"/>
                      <a:pt x="25293" y="693073"/>
                      <a:pt x="61426" y="704816"/>
                    </a:cubicBezTo>
                    <a:cubicBezTo>
                      <a:pt x="97559" y="716560"/>
                      <a:pt x="137304" y="702107"/>
                      <a:pt x="158984" y="670490"/>
                    </a:cubicBezTo>
                    <a:lnTo>
                      <a:pt x="350489" y="758113"/>
                    </a:lnTo>
                    <a:cubicBezTo>
                      <a:pt x="348682" y="765339"/>
                      <a:pt x="347779" y="772566"/>
                      <a:pt x="347779" y="780696"/>
                    </a:cubicBezTo>
                    <a:cubicBezTo>
                      <a:pt x="347779" y="813215"/>
                      <a:pt x="366748" y="843928"/>
                      <a:pt x="395655" y="858381"/>
                    </a:cubicBezTo>
                    <a:cubicBezTo>
                      <a:pt x="425464" y="872835"/>
                      <a:pt x="459790" y="870125"/>
                      <a:pt x="485987" y="850251"/>
                    </a:cubicBezTo>
                    <a:lnTo>
                      <a:pt x="468824" y="826765"/>
                    </a:lnTo>
                    <a:cubicBezTo>
                      <a:pt x="458887" y="833992"/>
                      <a:pt x="446240" y="838508"/>
                      <a:pt x="434497" y="838508"/>
                    </a:cubicBezTo>
                    <a:cubicBezTo>
                      <a:pt x="415528" y="838508"/>
                      <a:pt x="396558" y="828572"/>
                      <a:pt x="386621" y="812312"/>
                    </a:cubicBezTo>
                    <a:cubicBezTo>
                      <a:pt x="375782" y="796052"/>
                      <a:pt x="373975" y="775276"/>
                      <a:pt x="382105" y="758113"/>
                    </a:cubicBezTo>
                    <a:cubicBezTo>
                      <a:pt x="383912" y="754499"/>
                      <a:pt x="384815" y="749982"/>
                      <a:pt x="383008" y="746370"/>
                    </a:cubicBezTo>
                    <a:cubicBezTo>
                      <a:pt x="382105" y="742756"/>
                      <a:pt x="378491" y="739143"/>
                      <a:pt x="374878" y="737336"/>
                    </a:cubicBezTo>
                    <a:lnTo>
                      <a:pt x="171631" y="644294"/>
                    </a:lnTo>
                    <a:cubicBezTo>
                      <a:pt x="176148" y="628034"/>
                      <a:pt x="175244" y="611774"/>
                      <a:pt x="170727" y="595515"/>
                    </a:cubicBezTo>
                    <a:lnTo>
                      <a:pt x="282740" y="534089"/>
                    </a:lnTo>
                    <a:lnTo>
                      <a:pt x="269190" y="508796"/>
                    </a:lnTo>
                    <a:lnTo>
                      <a:pt x="158081" y="569318"/>
                    </a:lnTo>
                    <a:cubicBezTo>
                      <a:pt x="144531" y="551252"/>
                      <a:pt x="124658" y="539509"/>
                      <a:pt x="102978" y="535896"/>
                    </a:cubicBezTo>
                    <a:lnTo>
                      <a:pt x="102978" y="330842"/>
                    </a:lnTo>
                    <a:cubicBezTo>
                      <a:pt x="121045" y="328132"/>
                      <a:pt x="137304" y="319099"/>
                      <a:pt x="149951" y="306452"/>
                    </a:cubicBezTo>
                    <a:lnTo>
                      <a:pt x="270093" y="366974"/>
                    </a:lnTo>
                    <a:lnTo>
                      <a:pt x="282740" y="340778"/>
                    </a:lnTo>
                    <a:lnTo>
                      <a:pt x="166211" y="282966"/>
                    </a:lnTo>
                    <a:cubicBezTo>
                      <a:pt x="175244" y="263996"/>
                      <a:pt x="177051" y="243219"/>
                      <a:pt x="171631" y="223346"/>
                    </a:cubicBezTo>
                    <a:lnTo>
                      <a:pt x="363135" y="135724"/>
                    </a:lnTo>
                    <a:cubicBezTo>
                      <a:pt x="376685" y="155597"/>
                      <a:pt x="397461" y="168244"/>
                      <a:pt x="420044" y="172760"/>
                    </a:cubicBezTo>
                    <a:lnTo>
                      <a:pt x="420044" y="245929"/>
                    </a:lnTo>
                    <a:lnTo>
                      <a:pt x="448950" y="245929"/>
                    </a:lnTo>
                    <a:lnTo>
                      <a:pt x="448950" y="172760"/>
                    </a:lnTo>
                    <a:cubicBezTo>
                      <a:pt x="472437" y="169147"/>
                      <a:pt x="493213" y="155597"/>
                      <a:pt x="505860" y="135724"/>
                    </a:cubicBezTo>
                    <a:lnTo>
                      <a:pt x="697364" y="223346"/>
                    </a:lnTo>
                    <a:cubicBezTo>
                      <a:pt x="692847" y="239606"/>
                      <a:pt x="693751" y="255866"/>
                      <a:pt x="698267" y="272126"/>
                    </a:cubicBezTo>
                    <a:lnTo>
                      <a:pt x="586255" y="333551"/>
                    </a:lnTo>
                    <a:lnTo>
                      <a:pt x="599805" y="358844"/>
                    </a:lnTo>
                    <a:lnTo>
                      <a:pt x="710914" y="298322"/>
                    </a:lnTo>
                    <a:cubicBezTo>
                      <a:pt x="724463" y="316388"/>
                      <a:pt x="744337" y="328132"/>
                      <a:pt x="766017" y="331745"/>
                    </a:cubicBezTo>
                    <a:lnTo>
                      <a:pt x="766017" y="536799"/>
                    </a:lnTo>
                    <a:cubicBezTo>
                      <a:pt x="744337" y="540412"/>
                      <a:pt x="724463" y="552155"/>
                      <a:pt x="710914" y="570222"/>
                    </a:cubicBezTo>
                    <a:lnTo>
                      <a:pt x="734400" y="587385"/>
                    </a:lnTo>
                    <a:cubicBezTo>
                      <a:pt x="751563" y="564802"/>
                      <a:pt x="783179" y="557575"/>
                      <a:pt x="808473" y="571125"/>
                    </a:cubicBezTo>
                    <a:cubicBezTo>
                      <a:pt x="833766" y="584675"/>
                      <a:pt x="845509" y="614484"/>
                      <a:pt x="835572" y="641584"/>
                    </a:cubicBezTo>
                    <a:cubicBezTo>
                      <a:pt x="825636" y="668684"/>
                      <a:pt x="797633" y="684040"/>
                      <a:pt x="769629" y="678620"/>
                    </a:cubicBezTo>
                    <a:lnTo>
                      <a:pt x="764210" y="706623"/>
                    </a:lnTo>
                    <a:cubicBezTo>
                      <a:pt x="769629" y="707527"/>
                      <a:pt x="775953" y="708430"/>
                      <a:pt x="781373" y="708430"/>
                    </a:cubicBezTo>
                    <a:cubicBezTo>
                      <a:pt x="826539" y="708430"/>
                      <a:pt x="863575" y="674104"/>
                      <a:pt x="867189" y="628938"/>
                    </a:cubicBezTo>
                    <a:cubicBezTo>
                      <a:pt x="870802" y="583772"/>
                      <a:pt x="840089" y="544025"/>
                      <a:pt x="795826" y="535896"/>
                    </a:cubicBezTo>
                    <a:lnTo>
                      <a:pt x="795826" y="330842"/>
                    </a:lnTo>
                    <a:cubicBezTo>
                      <a:pt x="834669" y="324518"/>
                      <a:pt x="864478" y="291999"/>
                      <a:pt x="868092" y="253156"/>
                    </a:cubicBezTo>
                    <a:cubicBezTo>
                      <a:pt x="871705" y="213410"/>
                      <a:pt x="848219" y="177277"/>
                      <a:pt x="811183" y="163727"/>
                    </a:cubicBezTo>
                    <a:cubicBezTo>
                      <a:pt x="774146" y="150177"/>
                      <a:pt x="732594" y="163727"/>
                      <a:pt x="710010" y="197150"/>
                    </a:cubicBezTo>
                    <a:lnTo>
                      <a:pt x="518506" y="109528"/>
                    </a:lnTo>
                    <a:cubicBezTo>
                      <a:pt x="528443" y="74298"/>
                      <a:pt x="514893" y="37262"/>
                      <a:pt x="485083" y="15582"/>
                    </a:cubicBezTo>
                    <a:cubicBezTo>
                      <a:pt x="455274" y="-5194"/>
                      <a:pt x="415528" y="-5194"/>
                      <a:pt x="385718" y="15582"/>
                    </a:cubicBezTo>
                    <a:cubicBezTo>
                      <a:pt x="355908" y="36359"/>
                      <a:pt x="342359" y="74298"/>
                      <a:pt x="352295" y="109528"/>
                    </a:cubicBezTo>
                    <a:lnTo>
                      <a:pt x="160791" y="197150"/>
                    </a:lnTo>
                    <a:cubicBezTo>
                      <a:pt x="138208" y="164630"/>
                      <a:pt x="97559" y="151080"/>
                      <a:pt x="59619" y="163727"/>
                    </a:cubicBezTo>
                    <a:cubicBezTo>
                      <a:pt x="22583" y="177277"/>
                      <a:pt x="-904" y="213410"/>
                      <a:pt x="2710" y="253156"/>
                    </a:cubicBezTo>
                    <a:cubicBezTo>
                      <a:pt x="6323" y="292902"/>
                      <a:pt x="36133" y="324518"/>
                      <a:pt x="74976" y="330842"/>
                    </a:cubicBezTo>
                    <a:lnTo>
                      <a:pt x="74976" y="535896"/>
                    </a:lnTo>
                    <a:cubicBezTo>
                      <a:pt x="30713" y="543122"/>
                      <a:pt x="0" y="579255"/>
                      <a:pt x="0" y="621711"/>
                    </a:cubicBezTo>
                    <a:close/>
                    <a:moveTo>
                      <a:pt x="780469" y="188117"/>
                    </a:moveTo>
                    <a:cubicBezTo>
                      <a:pt x="812086" y="188117"/>
                      <a:pt x="838282" y="214313"/>
                      <a:pt x="838282" y="245929"/>
                    </a:cubicBezTo>
                    <a:cubicBezTo>
                      <a:pt x="838282" y="277545"/>
                      <a:pt x="812086" y="303742"/>
                      <a:pt x="780469" y="303742"/>
                    </a:cubicBezTo>
                    <a:cubicBezTo>
                      <a:pt x="748853" y="303742"/>
                      <a:pt x="722657" y="277545"/>
                      <a:pt x="722657" y="245929"/>
                    </a:cubicBezTo>
                    <a:cubicBezTo>
                      <a:pt x="722657" y="213410"/>
                      <a:pt x="748853" y="188117"/>
                      <a:pt x="780469" y="188117"/>
                    </a:cubicBezTo>
                    <a:close/>
                    <a:moveTo>
                      <a:pt x="433594" y="29132"/>
                    </a:moveTo>
                    <a:cubicBezTo>
                      <a:pt x="465211" y="29132"/>
                      <a:pt x="491407" y="55329"/>
                      <a:pt x="491407" y="86945"/>
                    </a:cubicBezTo>
                    <a:cubicBezTo>
                      <a:pt x="491407" y="118561"/>
                      <a:pt x="465211" y="144757"/>
                      <a:pt x="433594" y="144757"/>
                    </a:cubicBezTo>
                    <a:cubicBezTo>
                      <a:pt x="401978" y="144757"/>
                      <a:pt x="375782" y="118561"/>
                      <a:pt x="375782" y="86945"/>
                    </a:cubicBezTo>
                    <a:cubicBezTo>
                      <a:pt x="375782" y="55329"/>
                      <a:pt x="401978" y="29132"/>
                      <a:pt x="433594" y="29132"/>
                    </a:cubicBezTo>
                    <a:close/>
                    <a:moveTo>
                      <a:pt x="144531" y="621711"/>
                    </a:moveTo>
                    <a:cubicBezTo>
                      <a:pt x="144531" y="653328"/>
                      <a:pt x="118335" y="679524"/>
                      <a:pt x="86719" y="679524"/>
                    </a:cubicBezTo>
                    <a:cubicBezTo>
                      <a:pt x="55102" y="679524"/>
                      <a:pt x="28906" y="653328"/>
                      <a:pt x="28906" y="621711"/>
                    </a:cubicBezTo>
                    <a:cubicBezTo>
                      <a:pt x="28906" y="590095"/>
                      <a:pt x="55102" y="563898"/>
                      <a:pt x="86719" y="563898"/>
                    </a:cubicBezTo>
                    <a:cubicBezTo>
                      <a:pt x="118335" y="563898"/>
                      <a:pt x="144531" y="589191"/>
                      <a:pt x="144531" y="621711"/>
                    </a:cubicBezTo>
                    <a:close/>
                    <a:moveTo>
                      <a:pt x="28906" y="245929"/>
                    </a:moveTo>
                    <a:cubicBezTo>
                      <a:pt x="28906" y="214313"/>
                      <a:pt x="55102" y="188117"/>
                      <a:pt x="86719" y="188117"/>
                    </a:cubicBezTo>
                    <a:cubicBezTo>
                      <a:pt x="118335" y="188117"/>
                      <a:pt x="144531" y="214313"/>
                      <a:pt x="144531" y="245929"/>
                    </a:cubicBezTo>
                    <a:cubicBezTo>
                      <a:pt x="144531" y="277545"/>
                      <a:pt x="118335" y="303742"/>
                      <a:pt x="86719" y="303742"/>
                    </a:cubicBezTo>
                    <a:cubicBezTo>
                      <a:pt x="55102" y="303742"/>
                      <a:pt x="28906" y="277545"/>
                      <a:pt x="28906" y="24592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1" name="Freeform 80">
                <a:extLst>
                  <a:ext uri="{FF2B5EF4-FFF2-40B4-BE49-F238E27FC236}">
                    <a16:creationId xmlns:a16="http://schemas.microsoft.com/office/drawing/2014/main" id="{9983B1D8-B7E8-8B51-DEB6-7CF8D0553B43}"/>
                  </a:ext>
                </a:extLst>
              </p:cNvPr>
              <p:cNvSpPr/>
              <p:nvPr/>
            </p:nvSpPr>
            <p:spPr>
              <a:xfrm>
                <a:off x="7618928" y="1129902"/>
                <a:ext cx="144531" cy="144531"/>
              </a:xfrm>
              <a:custGeom>
                <a:avLst/>
                <a:gdLst>
                  <a:gd name="connsiteX0" fmla="*/ 72266 w 144531"/>
                  <a:gd name="connsiteY0" fmla="*/ 0 h 144531"/>
                  <a:gd name="connsiteX1" fmla="*/ 0 w 144531"/>
                  <a:gd name="connsiteY1" fmla="*/ 72266 h 144531"/>
                  <a:gd name="connsiteX2" fmla="*/ 72266 w 144531"/>
                  <a:gd name="connsiteY2" fmla="*/ 144531 h 144531"/>
                  <a:gd name="connsiteX3" fmla="*/ 144531 w 144531"/>
                  <a:gd name="connsiteY3" fmla="*/ 72266 h 144531"/>
                  <a:gd name="connsiteX4" fmla="*/ 72266 w 144531"/>
                  <a:gd name="connsiteY4" fmla="*/ 0 h 144531"/>
                  <a:gd name="connsiteX5" fmla="*/ 72266 w 144531"/>
                  <a:gd name="connsiteY5" fmla="*/ 115626 h 144531"/>
                  <a:gd name="connsiteX6" fmla="*/ 28906 w 144531"/>
                  <a:gd name="connsiteY6" fmla="*/ 72266 h 144531"/>
                  <a:gd name="connsiteX7" fmla="*/ 72266 w 144531"/>
                  <a:gd name="connsiteY7" fmla="*/ 28906 h 144531"/>
                  <a:gd name="connsiteX8" fmla="*/ 115625 w 144531"/>
                  <a:gd name="connsiteY8" fmla="*/ 72266 h 144531"/>
                  <a:gd name="connsiteX9" fmla="*/ 72266 w 144531"/>
                  <a:gd name="connsiteY9" fmla="*/ 115626 h 14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531" h="144531">
                    <a:moveTo>
                      <a:pt x="72266" y="0"/>
                    </a:moveTo>
                    <a:cubicBezTo>
                      <a:pt x="32519" y="0"/>
                      <a:pt x="0" y="32520"/>
                      <a:pt x="0" y="72266"/>
                    </a:cubicBezTo>
                    <a:cubicBezTo>
                      <a:pt x="0" y="112012"/>
                      <a:pt x="32519" y="144531"/>
                      <a:pt x="72266" y="144531"/>
                    </a:cubicBezTo>
                    <a:cubicBezTo>
                      <a:pt x="112012" y="144531"/>
                      <a:pt x="144531" y="112012"/>
                      <a:pt x="144531" y="72266"/>
                    </a:cubicBezTo>
                    <a:cubicBezTo>
                      <a:pt x="144531" y="31616"/>
                      <a:pt x="112012" y="0"/>
                      <a:pt x="72266" y="0"/>
                    </a:cubicBezTo>
                    <a:close/>
                    <a:moveTo>
                      <a:pt x="72266" y="115626"/>
                    </a:moveTo>
                    <a:cubicBezTo>
                      <a:pt x="48779" y="115626"/>
                      <a:pt x="28906" y="96656"/>
                      <a:pt x="28906" y="72266"/>
                    </a:cubicBezTo>
                    <a:cubicBezTo>
                      <a:pt x="28906" y="48780"/>
                      <a:pt x="47876" y="28906"/>
                      <a:pt x="72266" y="28906"/>
                    </a:cubicBezTo>
                    <a:cubicBezTo>
                      <a:pt x="96655" y="28906"/>
                      <a:pt x="115625" y="47876"/>
                      <a:pt x="115625" y="72266"/>
                    </a:cubicBezTo>
                    <a:cubicBezTo>
                      <a:pt x="115625" y="95752"/>
                      <a:pt x="96655" y="115626"/>
                      <a:pt x="72266" y="11562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2" name="Freeform 81">
                <a:extLst>
                  <a:ext uri="{FF2B5EF4-FFF2-40B4-BE49-F238E27FC236}">
                    <a16:creationId xmlns:a16="http://schemas.microsoft.com/office/drawing/2014/main" id="{BEE67B63-F289-8708-C6D8-2FB2EF4628AB}"/>
                  </a:ext>
                </a:extLst>
              </p:cNvPr>
              <p:cNvSpPr/>
              <p:nvPr/>
            </p:nvSpPr>
            <p:spPr>
              <a:xfrm>
                <a:off x="7531306" y="1043183"/>
                <a:ext cx="317969" cy="317065"/>
              </a:xfrm>
              <a:custGeom>
                <a:avLst/>
                <a:gdLst>
                  <a:gd name="connsiteX0" fmla="*/ 27100 w 317969"/>
                  <a:gd name="connsiteY0" fmla="*/ 250220 h 317065"/>
                  <a:gd name="connsiteX1" fmla="*/ 67749 w 317969"/>
                  <a:gd name="connsiteY1" fmla="*/ 290870 h 317065"/>
                  <a:gd name="connsiteX2" fmla="*/ 88525 w 317969"/>
                  <a:gd name="connsiteY2" fmla="*/ 290870 h 317065"/>
                  <a:gd name="connsiteX3" fmla="*/ 103882 w 317969"/>
                  <a:gd name="connsiteY3" fmla="*/ 275513 h 317065"/>
                  <a:gd name="connsiteX4" fmla="*/ 116528 w 317969"/>
                  <a:gd name="connsiteY4" fmla="*/ 280933 h 317065"/>
                  <a:gd name="connsiteX5" fmla="*/ 116528 w 317969"/>
                  <a:gd name="connsiteY5" fmla="*/ 302613 h 317065"/>
                  <a:gd name="connsiteX6" fmla="*/ 130982 w 317969"/>
                  <a:gd name="connsiteY6" fmla="*/ 317066 h 317065"/>
                  <a:gd name="connsiteX7" fmla="*/ 174341 w 317969"/>
                  <a:gd name="connsiteY7" fmla="*/ 317066 h 317065"/>
                  <a:gd name="connsiteX8" fmla="*/ 174341 w 317969"/>
                  <a:gd name="connsiteY8" fmla="*/ 289063 h 317065"/>
                  <a:gd name="connsiteX9" fmla="*/ 145435 w 317969"/>
                  <a:gd name="connsiteY9" fmla="*/ 289063 h 317065"/>
                  <a:gd name="connsiteX10" fmla="*/ 145435 w 317969"/>
                  <a:gd name="connsiteY10" fmla="*/ 270996 h 317065"/>
                  <a:gd name="connsiteX11" fmla="*/ 134595 w 317969"/>
                  <a:gd name="connsiteY11" fmla="*/ 257447 h 317065"/>
                  <a:gd name="connsiteX12" fmla="*/ 108399 w 317969"/>
                  <a:gd name="connsiteY12" fmla="*/ 246607 h 317065"/>
                  <a:gd name="connsiteX13" fmla="*/ 91235 w 317969"/>
                  <a:gd name="connsiteY13" fmla="*/ 249317 h 317065"/>
                  <a:gd name="connsiteX14" fmla="*/ 78589 w 317969"/>
                  <a:gd name="connsiteY14" fmla="*/ 261963 h 317065"/>
                  <a:gd name="connsiteX15" fmla="*/ 57812 w 317969"/>
                  <a:gd name="connsiteY15" fmla="*/ 241187 h 317065"/>
                  <a:gd name="connsiteX16" fmla="*/ 70459 w 317969"/>
                  <a:gd name="connsiteY16" fmla="*/ 228540 h 317065"/>
                  <a:gd name="connsiteX17" fmla="*/ 73169 w 317969"/>
                  <a:gd name="connsiteY17" fmla="*/ 211377 h 317065"/>
                  <a:gd name="connsiteX18" fmla="*/ 62329 w 317969"/>
                  <a:gd name="connsiteY18" fmla="*/ 185181 h 317065"/>
                  <a:gd name="connsiteX19" fmla="*/ 48779 w 317969"/>
                  <a:gd name="connsiteY19" fmla="*/ 174341 h 317065"/>
                  <a:gd name="connsiteX20" fmla="*/ 30713 w 317969"/>
                  <a:gd name="connsiteY20" fmla="*/ 174341 h 317065"/>
                  <a:gd name="connsiteX21" fmla="*/ 30713 w 317969"/>
                  <a:gd name="connsiteY21" fmla="*/ 144531 h 317065"/>
                  <a:gd name="connsiteX22" fmla="*/ 48779 w 317969"/>
                  <a:gd name="connsiteY22" fmla="*/ 144531 h 317065"/>
                  <a:gd name="connsiteX23" fmla="*/ 62329 w 317969"/>
                  <a:gd name="connsiteY23" fmla="*/ 133691 h 317065"/>
                  <a:gd name="connsiteX24" fmla="*/ 73169 w 317969"/>
                  <a:gd name="connsiteY24" fmla="*/ 107495 h 317065"/>
                  <a:gd name="connsiteX25" fmla="*/ 70459 w 317969"/>
                  <a:gd name="connsiteY25" fmla="*/ 90332 h 317065"/>
                  <a:gd name="connsiteX26" fmla="*/ 57812 w 317969"/>
                  <a:gd name="connsiteY26" fmla="*/ 77685 h 317065"/>
                  <a:gd name="connsiteX27" fmla="*/ 78589 w 317969"/>
                  <a:gd name="connsiteY27" fmla="*/ 56909 h 317065"/>
                  <a:gd name="connsiteX28" fmla="*/ 91235 w 317969"/>
                  <a:gd name="connsiteY28" fmla="*/ 69556 h 317065"/>
                  <a:gd name="connsiteX29" fmla="*/ 108399 w 317969"/>
                  <a:gd name="connsiteY29" fmla="*/ 72266 h 317065"/>
                  <a:gd name="connsiteX30" fmla="*/ 134595 w 317969"/>
                  <a:gd name="connsiteY30" fmla="*/ 61426 h 317065"/>
                  <a:gd name="connsiteX31" fmla="*/ 145435 w 317969"/>
                  <a:gd name="connsiteY31" fmla="*/ 47876 h 317065"/>
                  <a:gd name="connsiteX32" fmla="*/ 145435 w 317969"/>
                  <a:gd name="connsiteY32" fmla="*/ 29809 h 317065"/>
                  <a:gd name="connsiteX33" fmla="*/ 174341 w 317969"/>
                  <a:gd name="connsiteY33" fmla="*/ 29809 h 317065"/>
                  <a:gd name="connsiteX34" fmla="*/ 174341 w 317969"/>
                  <a:gd name="connsiteY34" fmla="*/ 47876 h 317065"/>
                  <a:gd name="connsiteX35" fmla="*/ 185181 w 317969"/>
                  <a:gd name="connsiteY35" fmla="*/ 61426 h 317065"/>
                  <a:gd name="connsiteX36" fmla="*/ 211377 w 317969"/>
                  <a:gd name="connsiteY36" fmla="*/ 72266 h 317065"/>
                  <a:gd name="connsiteX37" fmla="*/ 228540 w 317969"/>
                  <a:gd name="connsiteY37" fmla="*/ 69556 h 317065"/>
                  <a:gd name="connsiteX38" fmla="*/ 241187 w 317969"/>
                  <a:gd name="connsiteY38" fmla="*/ 56909 h 317065"/>
                  <a:gd name="connsiteX39" fmla="*/ 261963 w 317969"/>
                  <a:gd name="connsiteY39" fmla="*/ 77685 h 317065"/>
                  <a:gd name="connsiteX40" fmla="*/ 249317 w 317969"/>
                  <a:gd name="connsiteY40" fmla="*/ 90332 h 317065"/>
                  <a:gd name="connsiteX41" fmla="*/ 246607 w 317969"/>
                  <a:gd name="connsiteY41" fmla="*/ 107495 h 317065"/>
                  <a:gd name="connsiteX42" fmla="*/ 257447 w 317969"/>
                  <a:gd name="connsiteY42" fmla="*/ 133691 h 317065"/>
                  <a:gd name="connsiteX43" fmla="*/ 270996 w 317969"/>
                  <a:gd name="connsiteY43" fmla="*/ 144531 h 317065"/>
                  <a:gd name="connsiteX44" fmla="*/ 289063 w 317969"/>
                  <a:gd name="connsiteY44" fmla="*/ 144531 h 317065"/>
                  <a:gd name="connsiteX45" fmla="*/ 289063 w 317969"/>
                  <a:gd name="connsiteY45" fmla="*/ 187891 h 317065"/>
                  <a:gd name="connsiteX46" fmla="*/ 317969 w 317969"/>
                  <a:gd name="connsiteY46" fmla="*/ 187891 h 317065"/>
                  <a:gd name="connsiteX47" fmla="*/ 317969 w 317969"/>
                  <a:gd name="connsiteY47" fmla="*/ 130079 h 317065"/>
                  <a:gd name="connsiteX48" fmla="*/ 303516 w 317969"/>
                  <a:gd name="connsiteY48" fmla="*/ 115625 h 317065"/>
                  <a:gd name="connsiteX49" fmla="*/ 281836 w 317969"/>
                  <a:gd name="connsiteY49" fmla="*/ 115625 h 317065"/>
                  <a:gd name="connsiteX50" fmla="*/ 276416 w 317969"/>
                  <a:gd name="connsiteY50" fmla="*/ 102979 h 317065"/>
                  <a:gd name="connsiteX51" fmla="*/ 291773 w 317969"/>
                  <a:gd name="connsiteY51" fmla="*/ 87622 h 317065"/>
                  <a:gd name="connsiteX52" fmla="*/ 291773 w 317969"/>
                  <a:gd name="connsiteY52" fmla="*/ 66846 h 317065"/>
                  <a:gd name="connsiteX53" fmla="*/ 251123 w 317969"/>
                  <a:gd name="connsiteY53" fmla="*/ 26197 h 317065"/>
                  <a:gd name="connsiteX54" fmla="*/ 230347 w 317969"/>
                  <a:gd name="connsiteY54" fmla="*/ 26197 h 317065"/>
                  <a:gd name="connsiteX55" fmla="*/ 214990 w 317969"/>
                  <a:gd name="connsiteY55" fmla="*/ 41553 h 317065"/>
                  <a:gd name="connsiteX56" fmla="*/ 202344 w 317969"/>
                  <a:gd name="connsiteY56" fmla="*/ 36133 h 317065"/>
                  <a:gd name="connsiteX57" fmla="*/ 202344 w 317969"/>
                  <a:gd name="connsiteY57" fmla="*/ 14453 h 317065"/>
                  <a:gd name="connsiteX58" fmla="*/ 187891 w 317969"/>
                  <a:gd name="connsiteY58" fmla="*/ 0 h 317065"/>
                  <a:gd name="connsiteX59" fmla="*/ 130078 w 317969"/>
                  <a:gd name="connsiteY59" fmla="*/ 0 h 317065"/>
                  <a:gd name="connsiteX60" fmla="*/ 115625 w 317969"/>
                  <a:gd name="connsiteY60" fmla="*/ 14453 h 317065"/>
                  <a:gd name="connsiteX61" fmla="*/ 115625 w 317969"/>
                  <a:gd name="connsiteY61" fmla="*/ 36133 h 317065"/>
                  <a:gd name="connsiteX62" fmla="*/ 102978 w 317969"/>
                  <a:gd name="connsiteY62" fmla="*/ 41553 h 317065"/>
                  <a:gd name="connsiteX63" fmla="*/ 87622 w 317969"/>
                  <a:gd name="connsiteY63" fmla="*/ 26197 h 317065"/>
                  <a:gd name="connsiteX64" fmla="*/ 66845 w 317969"/>
                  <a:gd name="connsiteY64" fmla="*/ 26197 h 317065"/>
                  <a:gd name="connsiteX65" fmla="*/ 26196 w 317969"/>
                  <a:gd name="connsiteY65" fmla="*/ 66846 h 317065"/>
                  <a:gd name="connsiteX66" fmla="*/ 26196 w 317969"/>
                  <a:gd name="connsiteY66" fmla="*/ 87622 h 317065"/>
                  <a:gd name="connsiteX67" fmla="*/ 41553 w 317969"/>
                  <a:gd name="connsiteY67" fmla="*/ 102979 h 317065"/>
                  <a:gd name="connsiteX68" fmla="*/ 36133 w 317969"/>
                  <a:gd name="connsiteY68" fmla="*/ 115625 h 317065"/>
                  <a:gd name="connsiteX69" fmla="*/ 14453 w 317969"/>
                  <a:gd name="connsiteY69" fmla="*/ 115625 h 317065"/>
                  <a:gd name="connsiteX70" fmla="*/ 0 w 317969"/>
                  <a:gd name="connsiteY70" fmla="*/ 130079 h 317065"/>
                  <a:gd name="connsiteX71" fmla="*/ 0 w 317969"/>
                  <a:gd name="connsiteY71" fmla="*/ 187891 h 317065"/>
                  <a:gd name="connsiteX72" fmla="*/ 14453 w 317969"/>
                  <a:gd name="connsiteY72" fmla="*/ 202344 h 317065"/>
                  <a:gd name="connsiteX73" fmla="*/ 36133 w 317969"/>
                  <a:gd name="connsiteY73" fmla="*/ 202344 h 317065"/>
                  <a:gd name="connsiteX74" fmla="*/ 41553 w 317969"/>
                  <a:gd name="connsiteY74" fmla="*/ 214990 h 317065"/>
                  <a:gd name="connsiteX75" fmla="*/ 26196 w 317969"/>
                  <a:gd name="connsiteY75" fmla="*/ 230347 h 317065"/>
                  <a:gd name="connsiteX76" fmla="*/ 27100 w 317969"/>
                  <a:gd name="connsiteY76" fmla="*/ 250220 h 31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17969" h="317065">
                    <a:moveTo>
                      <a:pt x="27100" y="250220"/>
                    </a:moveTo>
                    <a:lnTo>
                      <a:pt x="67749" y="290870"/>
                    </a:lnTo>
                    <a:cubicBezTo>
                      <a:pt x="73169" y="296289"/>
                      <a:pt x="82202" y="296289"/>
                      <a:pt x="88525" y="290870"/>
                    </a:cubicBezTo>
                    <a:lnTo>
                      <a:pt x="103882" y="275513"/>
                    </a:lnTo>
                    <a:cubicBezTo>
                      <a:pt x="108399" y="277320"/>
                      <a:pt x="112012" y="279127"/>
                      <a:pt x="116528" y="280933"/>
                    </a:cubicBezTo>
                    <a:lnTo>
                      <a:pt x="116528" y="302613"/>
                    </a:lnTo>
                    <a:cubicBezTo>
                      <a:pt x="116528" y="310743"/>
                      <a:pt x="122852" y="317066"/>
                      <a:pt x="130982" y="317066"/>
                    </a:cubicBezTo>
                    <a:lnTo>
                      <a:pt x="174341" y="317066"/>
                    </a:lnTo>
                    <a:lnTo>
                      <a:pt x="174341" y="289063"/>
                    </a:lnTo>
                    <a:lnTo>
                      <a:pt x="145435" y="289063"/>
                    </a:lnTo>
                    <a:lnTo>
                      <a:pt x="145435" y="270996"/>
                    </a:lnTo>
                    <a:cubicBezTo>
                      <a:pt x="145435" y="264673"/>
                      <a:pt x="140918" y="258350"/>
                      <a:pt x="134595" y="257447"/>
                    </a:cubicBezTo>
                    <a:cubicBezTo>
                      <a:pt x="125561" y="254737"/>
                      <a:pt x="116528" y="251123"/>
                      <a:pt x="108399" y="246607"/>
                    </a:cubicBezTo>
                    <a:cubicBezTo>
                      <a:pt x="102978" y="242994"/>
                      <a:pt x="95752" y="243897"/>
                      <a:pt x="91235" y="249317"/>
                    </a:cubicBezTo>
                    <a:lnTo>
                      <a:pt x="78589" y="261963"/>
                    </a:lnTo>
                    <a:lnTo>
                      <a:pt x="57812" y="241187"/>
                    </a:lnTo>
                    <a:lnTo>
                      <a:pt x="70459" y="228540"/>
                    </a:lnTo>
                    <a:cubicBezTo>
                      <a:pt x="74976" y="224024"/>
                      <a:pt x="75879" y="216797"/>
                      <a:pt x="73169" y="211377"/>
                    </a:cubicBezTo>
                    <a:cubicBezTo>
                      <a:pt x="68652" y="203247"/>
                      <a:pt x="65039" y="194214"/>
                      <a:pt x="62329" y="185181"/>
                    </a:cubicBezTo>
                    <a:cubicBezTo>
                      <a:pt x="60523" y="178858"/>
                      <a:pt x="55102" y="174341"/>
                      <a:pt x="48779" y="174341"/>
                    </a:cubicBezTo>
                    <a:lnTo>
                      <a:pt x="30713" y="174341"/>
                    </a:lnTo>
                    <a:lnTo>
                      <a:pt x="30713" y="144531"/>
                    </a:lnTo>
                    <a:lnTo>
                      <a:pt x="48779" y="144531"/>
                    </a:lnTo>
                    <a:cubicBezTo>
                      <a:pt x="55102" y="144531"/>
                      <a:pt x="61426" y="140015"/>
                      <a:pt x="62329" y="133691"/>
                    </a:cubicBezTo>
                    <a:cubicBezTo>
                      <a:pt x="65039" y="124658"/>
                      <a:pt x="68652" y="115625"/>
                      <a:pt x="73169" y="107495"/>
                    </a:cubicBezTo>
                    <a:cubicBezTo>
                      <a:pt x="76782" y="102075"/>
                      <a:pt x="75879" y="94849"/>
                      <a:pt x="70459" y="90332"/>
                    </a:cubicBezTo>
                    <a:lnTo>
                      <a:pt x="57812" y="77685"/>
                    </a:lnTo>
                    <a:lnTo>
                      <a:pt x="78589" y="56909"/>
                    </a:lnTo>
                    <a:lnTo>
                      <a:pt x="91235" y="69556"/>
                    </a:lnTo>
                    <a:cubicBezTo>
                      <a:pt x="95752" y="74072"/>
                      <a:pt x="102978" y="74976"/>
                      <a:pt x="108399" y="72266"/>
                    </a:cubicBezTo>
                    <a:cubicBezTo>
                      <a:pt x="116528" y="67749"/>
                      <a:pt x="125561" y="64136"/>
                      <a:pt x="134595" y="61426"/>
                    </a:cubicBezTo>
                    <a:cubicBezTo>
                      <a:pt x="140918" y="59619"/>
                      <a:pt x="145435" y="54199"/>
                      <a:pt x="145435" y="47876"/>
                    </a:cubicBezTo>
                    <a:lnTo>
                      <a:pt x="145435" y="29809"/>
                    </a:lnTo>
                    <a:lnTo>
                      <a:pt x="174341" y="29809"/>
                    </a:lnTo>
                    <a:lnTo>
                      <a:pt x="174341" y="47876"/>
                    </a:lnTo>
                    <a:cubicBezTo>
                      <a:pt x="174341" y="54199"/>
                      <a:pt x="178858" y="60523"/>
                      <a:pt x="185181" y="61426"/>
                    </a:cubicBezTo>
                    <a:cubicBezTo>
                      <a:pt x="194214" y="64136"/>
                      <a:pt x="203247" y="67749"/>
                      <a:pt x="211377" y="72266"/>
                    </a:cubicBezTo>
                    <a:cubicBezTo>
                      <a:pt x="216797" y="75879"/>
                      <a:pt x="224024" y="74976"/>
                      <a:pt x="228540" y="69556"/>
                    </a:cubicBezTo>
                    <a:lnTo>
                      <a:pt x="241187" y="56909"/>
                    </a:lnTo>
                    <a:lnTo>
                      <a:pt x="261963" y="77685"/>
                    </a:lnTo>
                    <a:lnTo>
                      <a:pt x="249317" y="90332"/>
                    </a:lnTo>
                    <a:cubicBezTo>
                      <a:pt x="244800" y="94849"/>
                      <a:pt x="243897" y="102075"/>
                      <a:pt x="246607" y="107495"/>
                    </a:cubicBezTo>
                    <a:cubicBezTo>
                      <a:pt x="251123" y="115625"/>
                      <a:pt x="254737" y="124658"/>
                      <a:pt x="257447" y="133691"/>
                    </a:cubicBezTo>
                    <a:cubicBezTo>
                      <a:pt x="259253" y="140015"/>
                      <a:pt x="264673" y="144531"/>
                      <a:pt x="270996" y="144531"/>
                    </a:cubicBezTo>
                    <a:lnTo>
                      <a:pt x="289063" y="144531"/>
                    </a:lnTo>
                    <a:lnTo>
                      <a:pt x="289063" y="187891"/>
                    </a:lnTo>
                    <a:lnTo>
                      <a:pt x="317969" y="187891"/>
                    </a:lnTo>
                    <a:lnTo>
                      <a:pt x="317969" y="130079"/>
                    </a:lnTo>
                    <a:cubicBezTo>
                      <a:pt x="317969" y="121948"/>
                      <a:pt x="311646" y="115625"/>
                      <a:pt x="303516" y="115625"/>
                    </a:cubicBezTo>
                    <a:lnTo>
                      <a:pt x="281836" y="115625"/>
                    </a:lnTo>
                    <a:cubicBezTo>
                      <a:pt x="280030" y="111108"/>
                      <a:pt x="278223" y="107495"/>
                      <a:pt x="276416" y="102979"/>
                    </a:cubicBezTo>
                    <a:lnTo>
                      <a:pt x="291773" y="87622"/>
                    </a:lnTo>
                    <a:cubicBezTo>
                      <a:pt x="297192" y="82202"/>
                      <a:pt x="297192" y="73169"/>
                      <a:pt x="291773" y="66846"/>
                    </a:cubicBezTo>
                    <a:lnTo>
                      <a:pt x="251123" y="26197"/>
                    </a:lnTo>
                    <a:cubicBezTo>
                      <a:pt x="245704" y="20776"/>
                      <a:pt x="236670" y="20776"/>
                      <a:pt x="230347" y="26197"/>
                    </a:cubicBezTo>
                    <a:lnTo>
                      <a:pt x="214990" y="41553"/>
                    </a:lnTo>
                    <a:cubicBezTo>
                      <a:pt x="210474" y="39746"/>
                      <a:pt x="206860" y="37940"/>
                      <a:pt x="202344" y="36133"/>
                    </a:cubicBezTo>
                    <a:lnTo>
                      <a:pt x="202344" y="14453"/>
                    </a:lnTo>
                    <a:cubicBezTo>
                      <a:pt x="202344" y="6323"/>
                      <a:pt x="196021" y="0"/>
                      <a:pt x="187891" y="0"/>
                    </a:cubicBezTo>
                    <a:lnTo>
                      <a:pt x="130078" y="0"/>
                    </a:lnTo>
                    <a:cubicBezTo>
                      <a:pt x="121948" y="0"/>
                      <a:pt x="115625" y="6323"/>
                      <a:pt x="115625" y="14453"/>
                    </a:cubicBezTo>
                    <a:lnTo>
                      <a:pt x="115625" y="36133"/>
                    </a:lnTo>
                    <a:cubicBezTo>
                      <a:pt x="111108" y="37940"/>
                      <a:pt x="107495" y="39746"/>
                      <a:pt x="102978" y="41553"/>
                    </a:cubicBezTo>
                    <a:lnTo>
                      <a:pt x="87622" y="26197"/>
                    </a:lnTo>
                    <a:cubicBezTo>
                      <a:pt x="82202" y="20776"/>
                      <a:pt x="73169" y="20776"/>
                      <a:pt x="66845" y="26197"/>
                    </a:cubicBezTo>
                    <a:lnTo>
                      <a:pt x="26196" y="66846"/>
                    </a:lnTo>
                    <a:cubicBezTo>
                      <a:pt x="20776" y="72266"/>
                      <a:pt x="20776" y="81299"/>
                      <a:pt x="26196" y="87622"/>
                    </a:cubicBezTo>
                    <a:lnTo>
                      <a:pt x="41553" y="102979"/>
                    </a:lnTo>
                    <a:cubicBezTo>
                      <a:pt x="39746" y="107495"/>
                      <a:pt x="37940" y="111108"/>
                      <a:pt x="36133" y="115625"/>
                    </a:cubicBezTo>
                    <a:lnTo>
                      <a:pt x="14453" y="115625"/>
                    </a:lnTo>
                    <a:cubicBezTo>
                      <a:pt x="6323" y="115625"/>
                      <a:pt x="0" y="121948"/>
                      <a:pt x="0" y="130079"/>
                    </a:cubicBezTo>
                    <a:lnTo>
                      <a:pt x="0" y="187891"/>
                    </a:lnTo>
                    <a:cubicBezTo>
                      <a:pt x="0" y="196021"/>
                      <a:pt x="6323" y="202344"/>
                      <a:pt x="14453" y="202344"/>
                    </a:cubicBezTo>
                    <a:lnTo>
                      <a:pt x="36133" y="202344"/>
                    </a:lnTo>
                    <a:cubicBezTo>
                      <a:pt x="37940" y="206861"/>
                      <a:pt x="39746" y="210474"/>
                      <a:pt x="41553" y="214990"/>
                    </a:cubicBezTo>
                    <a:lnTo>
                      <a:pt x="26196" y="230347"/>
                    </a:lnTo>
                    <a:cubicBezTo>
                      <a:pt x="21679" y="235767"/>
                      <a:pt x="21679" y="244800"/>
                      <a:pt x="27100" y="25022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3" name="Freeform 82">
                <a:extLst>
                  <a:ext uri="{FF2B5EF4-FFF2-40B4-BE49-F238E27FC236}">
                    <a16:creationId xmlns:a16="http://schemas.microsoft.com/office/drawing/2014/main" id="{47A64FBC-147B-055E-CB24-45C8F462DC2A}"/>
                  </a:ext>
                </a:extLst>
              </p:cNvPr>
              <p:cNvSpPr/>
              <p:nvPr/>
            </p:nvSpPr>
            <p:spPr>
              <a:xfrm>
                <a:off x="7843855" y="1268111"/>
                <a:ext cx="113818" cy="76782"/>
              </a:xfrm>
              <a:custGeom>
                <a:avLst/>
                <a:gdLst>
                  <a:gd name="connsiteX0" fmla="*/ 0 w 113818"/>
                  <a:gd name="connsiteY0" fmla="*/ 26196 h 76782"/>
                  <a:gd name="connsiteX1" fmla="*/ 12647 w 113818"/>
                  <a:gd name="connsiteY1" fmla="*/ 0 h 76782"/>
                  <a:gd name="connsiteX2" fmla="*/ 113819 w 113818"/>
                  <a:gd name="connsiteY2" fmla="*/ 50586 h 76782"/>
                  <a:gd name="connsiteX3" fmla="*/ 101172 w 113818"/>
                  <a:gd name="connsiteY3" fmla="*/ 76782 h 76782"/>
                  <a:gd name="connsiteX4" fmla="*/ 0 w 113818"/>
                  <a:gd name="connsiteY4" fmla="*/ 26196 h 76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18" h="76782">
                    <a:moveTo>
                      <a:pt x="0" y="26196"/>
                    </a:moveTo>
                    <a:lnTo>
                      <a:pt x="12647" y="0"/>
                    </a:lnTo>
                    <a:lnTo>
                      <a:pt x="113819" y="50586"/>
                    </a:lnTo>
                    <a:lnTo>
                      <a:pt x="101172" y="76782"/>
                    </a:lnTo>
                    <a:lnTo>
                      <a:pt x="0" y="26196"/>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4" name="Freeform 83">
                <a:extLst>
                  <a:ext uri="{FF2B5EF4-FFF2-40B4-BE49-F238E27FC236}">
                    <a16:creationId xmlns:a16="http://schemas.microsoft.com/office/drawing/2014/main" id="{83D05E3C-9E28-747C-5735-0D6321C270AE}"/>
                  </a:ext>
                </a:extLst>
              </p:cNvPr>
              <p:cNvSpPr/>
              <p:nvPr/>
            </p:nvSpPr>
            <p:spPr>
              <a:xfrm>
                <a:off x="7633296" y="1245528"/>
                <a:ext cx="361413" cy="332422"/>
              </a:xfrm>
              <a:custGeom>
                <a:avLst/>
                <a:gdLst>
                  <a:gd name="connsiteX0" fmla="*/ 17248 w 361413"/>
                  <a:gd name="connsiteY0" fmla="*/ 264673 h 332422"/>
                  <a:gd name="connsiteX1" fmla="*/ 107581 w 361413"/>
                  <a:gd name="connsiteY1" fmla="*/ 329712 h 332422"/>
                  <a:gd name="connsiteX2" fmla="*/ 115710 w 361413"/>
                  <a:gd name="connsiteY2" fmla="*/ 332422 h 332422"/>
                  <a:gd name="connsiteX3" fmla="*/ 346961 w 361413"/>
                  <a:gd name="connsiteY3" fmla="*/ 332422 h 332422"/>
                  <a:gd name="connsiteX4" fmla="*/ 361414 w 361413"/>
                  <a:gd name="connsiteY4" fmla="*/ 317969 h 332422"/>
                  <a:gd name="connsiteX5" fmla="*/ 361414 w 361413"/>
                  <a:gd name="connsiteY5" fmla="*/ 160791 h 332422"/>
                  <a:gd name="connsiteX6" fmla="*/ 325281 w 361413"/>
                  <a:gd name="connsiteY6" fmla="*/ 116528 h 332422"/>
                  <a:gd name="connsiteX7" fmla="*/ 290051 w 361413"/>
                  <a:gd name="connsiteY7" fmla="*/ 126465 h 332422"/>
                  <a:gd name="connsiteX8" fmla="*/ 289148 w 361413"/>
                  <a:gd name="connsiteY8" fmla="*/ 127368 h 332422"/>
                  <a:gd name="connsiteX9" fmla="*/ 231335 w 361413"/>
                  <a:gd name="connsiteY9" fmla="*/ 127368 h 332422"/>
                  <a:gd name="connsiteX10" fmla="*/ 187976 w 361413"/>
                  <a:gd name="connsiteY10" fmla="*/ 118335 h 332422"/>
                  <a:gd name="connsiteX11" fmla="*/ 187976 w 361413"/>
                  <a:gd name="connsiteY11" fmla="*/ 43359 h 332422"/>
                  <a:gd name="connsiteX12" fmla="*/ 144617 w 361413"/>
                  <a:gd name="connsiteY12" fmla="*/ 0 h 332422"/>
                  <a:gd name="connsiteX13" fmla="*/ 101257 w 361413"/>
                  <a:gd name="connsiteY13" fmla="*/ 43359 h 332422"/>
                  <a:gd name="connsiteX14" fmla="*/ 101257 w 361413"/>
                  <a:gd name="connsiteY14" fmla="*/ 220410 h 332422"/>
                  <a:gd name="connsiteX15" fmla="*/ 63318 w 361413"/>
                  <a:gd name="connsiteY15" fmla="*/ 197827 h 332422"/>
                  <a:gd name="connsiteX16" fmla="*/ 24475 w 361413"/>
                  <a:gd name="connsiteY16" fmla="*/ 196020 h 332422"/>
                  <a:gd name="connsiteX17" fmla="*/ 21765 w 361413"/>
                  <a:gd name="connsiteY17" fmla="*/ 196924 h 332422"/>
                  <a:gd name="connsiteX18" fmla="*/ 85 w 361413"/>
                  <a:gd name="connsiteY18" fmla="*/ 229443 h 332422"/>
                  <a:gd name="connsiteX19" fmla="*/ 17248 w 361413"/>
                  <a:gd name="connsiteY19" fmla="*/ 264673 h 332422"/>
                  <a:gd name="connsiteX20" fmla="*/ 17248 w 361413"/>
                  <a:gd name="connsiteY20" fmla="*/ 264673 h 332422"/>
                  <a:gd name="connsiteX21" fmla="*/ 35315 w 361413"/>
                  <a:gd name="connsiteY21" fmla="*/ 222217 h 332422"/>
                  <a:gd name="connsiteX22" fmla="*/ 38025 w 361413"/>
                  <a:gd name="connsiteY22" fmla="*/ 221314 h 332422"/>
                  <a:gd name="connsiteX23" fmla="*/ 48865 w 361413"/>
                  <a:gd name="connsiteY23" fmla="*/ 221314 h 332422"/>
                  <a:gd name="connsiteX24" fmla="*/ 109387 w 361413"/>
                  <a:gd name="connsiteY24" fmla="*/ 257447 h 332422"/>
                  <a:gd name="connsiteX25" fmla="*/ 123840 w 361413"/>
                  <a:gd name="connsiteY25" fmla="*/ 257447 h 332422"/>
                  <a:gd name="connsiteX26" fmla="*/ 131067 w 361413"/>
                  <a:gd name="connsiteY26" fmla="*/ 244800 h 332422"/>
                  <a:gd name="connsiteX27" fmla="*/ 131067 w 361413"/>
                  <a:gd name="connsiteY27" fmla="*/ 42456 h 332422"/>
                  <a:gd name="connsiteX28" fmla="*/ 145520 w 361413"/>
                  <a:gd name="connsiteY28" fmla="*/ 28003 h 332422"/>
                  <a:gd name="connsiteX29" fmla="*/ 159973 w 361413"/>
                  <a:gd name="connsiteY29" fmla="*/ 42456 h 332422"/>
                  <a:gd name="connsiteX30" fmla="*/ 159973 w 361413"/>
                  <a:gd name="connsiteY30" fmla="*/ 158984 h 332422"/>
                  <a:gd name="connsiteX31" fmla="*/ 174426 w 361413"/>
                  <a:gd name="connsiteY31" fmla="*/ 173437 h 332422"/>
                  <a:gd name="connsiteX32" fmla="*/ 188880 w 361413"/>
                  <a:gd name="connsiteY32" fmla="*/ 158984 h 332422"/>
                  <a:gd name="connsiteX33" fmla="*/ 203332 w 361413"/>
                  <a:gd name="connsiteY33" fmla="*/ 144531 h 332422"/>
                  <a:gd name="connsiteX34" fmla="*/ 217785 w 361413"/>
                  <a:gd name="connsiteY34" fmla="*/ 158984 h 332422"/>
                  <a:gd name="connsiteX35" fmla="*/ 232239 w 361413"/>
                  <a:gd name="connsiteY35" fmla="*/ 173437 h 332422"/>
                  <a:gd name="connsiteX36" fmla="*/ 246692 w 361413"/>
                  <a:gd name="connsiteY36" fmla="*/ 158984 h 332422"/>
                  <a:gd name="connsiteX37" fmla="*/ 261145 w 361413"/>
                  <a:gd name="connsiteY37" fmla="*/ 144531 h 332422"/>
                  <a:gd name="connsiteX38" fmla="*/ 275598 w 361413"/>
                  <a:gd name="connsiteY38" fmla="*/ 158984 h 332422"/>
                  <a:gd name="connsiteX39" fmla="*/ 290051 w 361413"/>
                  <a:gd name="connsiteY39" fmla="*/ 173437 h 332422"/>
                  <a:gd name="connsiteX40" fmla="*/ 304505 w 361413"/>
                  <a:gd name="connsiteY40" fmla="*/ 158984 h 332422"/>
                  <a:gd name="connsiteX41" fmla="*/ 309924 w 361413"/>
                  <a:gd name="connsiteY41" fmla="*/ 148144 h 332422"/>
                  <a:gd name="connsiteX42" fmla="*/ 321667 w 361413"/>
                  <a:gd name="connsiteY42" fmla="*/ 145435 h 332422"/>
                  <a:gd name="connsiteX43" fmla="*/ 333411 w 361413"/>
                  <a:gd name="connsiteY43" fmla="*/ 160791 h 332422"/>
                  <a:gd name="connsiteX44" fmla="*/ 333411 w 361413"/>
                  <a:gd name="connsiteY44" fmla="*/ 303516 h 332422"/>
                  <a:gd name="connsiteX45" fmla="*/ 121130 w 361413"/>
                  <a:gd name="connsiteY45" fmla="*/ 303516 h 332422"/>
                  <a:gd name="connsiteX46" fmla="*/ 34411 w 361413"/>
                  <a:gd name="connsiteY46" fmla="*/ 241186 h 332422"/>
                  <a:gd name="connsiteX47" fmla="*/ 29895 w 361413"/>
                  <a:gd name="connsiteY47" fmla="*/ 231250 h 332422"/>
                  <a:gd name="connsiteX48" fmla="*/ 35315 w 361413"/>
                  <a:gd name="connsiteY48" fmla="*/ 222217 h 332422"/>
                  <a:gd name="connsiteX49" fmla="*/ 35315 w 361413"/>
                  <a:gd name="connsiteY49" fmla="*/ 222217 h 33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1413" h="332422">
                    <a:moveTo>
                      <a:pt x="17248" y="264673"/>
                    </a:moveTo>
                    <a:lnTo>
                      <a:pt x="107581" y="329712"/>
                    </a:lnTo>
                    <a:cubicBezTo>
                      <a:pt x="110290" y="331519"/>
                      <a:pt x="113000" y="332422"/>
                      <a:pt x="115710" y="332422"/>
                    </a:cubicBezTo>
                    <a:lnTo>
                      <a:pt x="346961" y="332422"/>
                    </a:lnTo>
                    <a:cubicBezTo>
                      <a:pt x="355090" y="332422"/>
                      <a:pt x="361414" y="326099"/>
                      <a:pt x="361414" y="317969"/>
                    </a:cubicBezTo>
                    <a:lnTo>
                      <a:pt x="361414" y="160791"/>
                    </a:lnTo>
                    <a:cubicBezTo>
                      <a:pt x="361414" y="139111"/>
                      <a:pt x="346057" y="120142"/>
                      <a:pt x="325281" y="116528"/>
                    </a:cubicBezTo>
                    <a:cubicBezTo>
                      <a:pt x="312634" y="114721"/>
                      <a:pt x="299988" y="118335"/>
                      <a:pt x="290051" y="126465"/>
                    </a:cubicBezTo>
                    <a:cubicBezTo>
                      <a:pt x="290051" y="126465"/>
                      <a:pt x="289148" y="127368"/>
                      <a:pt x="289148" y="127368"/>
                    </a:cubicBezTo>
                    <a:cubicBezTo>
                      <a:pt x="272888" y="112915"/>
                      <a:pt x="247595" y="112915"/>
                      <a:pt x="231335" y="127368"/>
                    </a:cubicBezTo>
                    <a:cubicBezTo>
                      <a:pt x="219592" y="117432"/>
                      <a:pt x="203332" y="113818"/>
                      <a:pt x="187976" y="118335"/>
                    </a:cubicBezTo>
                    <a:lnTo>
                      <a:pt x="187976" y="43359"/>
                    </a:lnTo>
                    <a:cubicBezTo>
                      <a:pt x="187976" y="19873"/>
                      <a:pt x="169006" y="0"/>
                      <a:pt x="144617" y="0"/>
                    </a:cubicBezTo>
                    <a:cubicBezTo>
                      <a:pt x="121130" y="0"/>
                      <a:pt x="101257" y="18970"/>
                      <a:pt x="101257" y="43359"/>
                    </a:cubicBezTo>
                    <a:lnTo>
                      <a:pt x="101257" y="220410"/>
                    </a:lnTo>
                    <a:lnTo>
                      <a:pt x="63318" y="197827"/>
                    </a:lnTo>
                    <a:cubicBezTo>
                      <a:pt x="51575" y="190601"/>
                      <a:pt x="37121" y="190601"/>
                      <a:pt x="24475" y="196020"/>
                    </a:cubicBezTo>
                    <a:lnTo>
                      <a:pt x="21765" y="196924"/>
                    </a:lnTo>
                    <a:cubicBezTo>
                      <a:pt x="9118" y="203247"/>
                      <a:pt x="988" y="215894"/>
                      <a:pt x="85" y="229443"/>
                    </a:cubicBezTo>
                    <a:cubicBezTo>
                      <a:pt x="-818" y="242993"/>
                      <a:pt x="5505" y="256543"/>
                      <a:pt x="17248" y="264673"/>
                    </a:cubicBezTo>
                    <a:lnTo>
                      <a:pt x="17248" y="264673"/>
                    </a:lnTo>
                    <a:close/>
                    <a:moveTo>
                      <a:pt x="35315" y="222217"/>
                    </a:moveTo>
                    <a:lnTo>
                      <a:pt x="38025" y="221314"/>
                    </a:lnTo>
                    <a:cubicBezTo>
                      <a:pt x="41638" y="219507"/>
                      <a:pt x="45251" y="219507"/>
                      <a:pt x="48865" y="221314"/>
                    </a:cubicBezTo>
                    <a:lnTo>
                      <a:pt x="109387" y="257447"/>
                    </a:lnTo>
                    <a:cubicBezTo>
                      <a:pt x="113903" y="260156"/>
                      <a:pt x="119324" y="260156"/>
                      <a:pt x="123840" y="257447"/>
                    </a:cubicBezTo>
                    <a:cubicBezTo>
                      <a:pt x="128357" y="254736"/>
                      <a:pt x="131067" y="250220"/>
                      <a:pt x="131067" y="244800"/>
                    </a:cubicBezTo>
                    <a:lnTo>
                      <a:pt x="131067" y="42456"/>
                    </a:lnTo>
                    <a:cubicBezTo>
                      <a:pt x="131067" y="34326"/>
                      <a:pt x="137390" y="28003"/>
                      <a:pt x="145520" y="28003"/>
                    </a:cubicBezTo>
                    <a:cubicBezTo>
                      <a:pt x="153650" y="28003"/>
                      <a:pt x="159973" y="34326"/>
                      <a:pt x="159973" y="42456"/>
                    </a:cubicBezTo>
                    <a:lnTo>
                      <a:pt x="159973" y="158984"/>
                    </a:lnTo>
                    <a:cubicBezTo>
                      <a:pt x="159973" y="167114"/>
                      <a:pt x="166296" y="173437"/>
                      <a:pt x="174426" y="173437"/>
                    </a:cubicBezTo>
                    <a:cubicBezTo>
                      <a:pt x="182556" y="173437"/>
                      <a:pt x="188880" y="167114"/>
                      <a:pt x="188880" y="158984"/>
                    </a:cubicBezTo>
                    <a:cubicBezTo>
                      <a:pt x="188880" y="150854"/>
                      <a:pt x="195202" y="144531"/>
                      <a:pt x="203332" y="144531"/>
                    </a:cubicBezTo>
                    <a:cubicBezTo>
                      <a:pt x="211463" y="144531"/>
                      <a:pt x="217785" y="150854"/>
                      <a:pt x="217785" y="158984"/>
                    </a:cubicBezTo>
                    <a:cubicBezTo>
                      <a:pt x="217785" y="167114"/>
                      <a:pt x="224109" y="173437"/>
                      <a:pt x="232239" y="173437"/>
                    </a:cubicBezTo>
                    <a:cubicBezTo>
                      <a:pt x="240368" y="173437"/>
                      <a:pt x="246692" y="167114"/>
                      <a:pt x="246692" y="158984"/>
                    </a:cubicBezTo>
                    <a:cubicBezTo>
                      <a:pt x="246692" y="150854"/>
                      <a:pt x="253015" y="144531"/>
                      <a:pt x="261145" y="144531"/>
                    </a:cubicBezTo>
                    <a:cubicBezTo>
                      <a:pt x="269275" y="144531"/>
                      <a:pt x="275598" y="150854"/>
                      <a:pt x="275598" y="158984"/>
                    </a:cubicBezTo>
                    <a:cubicBezTo>
                      <a:pt x="275598" y="167114"/>
                      <a:pt x="281922" y="173437"/>
                      <a:pt x="290051" y="173437"/>
                    </a:cubicBezTo>
                    <a:cubicBezTo>
                      <a:pt x="298181" y="173437"/>
                      <a:pt x="304505" y="167114"/>
                      <a:pt x="304505" y="158984"/>
                    </a:cubicBezTo>
                    <a:cubicBezTo>
                      <a:pt x="304505" y="154468"/>
                      <a:pt x="306311" y="150854"/>
                      <a:pt x="309924" y="148144"/>
                    </a:cubicBezTo>
                    <a:cubicBezTo>
                      <a:pt x="313538" y="145435"/>
                      <a:pt x="317151" y="144531"/>
                      <a:pt x="321667" y="145435"/>
                    </a:cubicBezTo>
                    <a:cubicBezTo>
                      <a:pt x="328894" y="147241"/>
                      <a:pt x="334314" y="153565"/>
                      <a:pt x="333411" y="160791"/>
                    </a:cubicBezTo>
                    <a:lnTo>
                      <a:pt x="333411" y="303516"/>
                    </a:lnTo>
                    <a:lnTo>
                      <a:pt x="121130" y="303516"/>
                    </a:lnTo>
                    <a:lnTo>
                      <a:pt x="34411" y="241186"/>
                    </a:lnTo>
                    <a:cubicBezTo>
                      <a:pt x="31701" y="239380"/>
                      <a:pt x="29895" y="234864"/>
                      <a:pt x="29895" y="231250"/>
                    </a:cubicBezTo>
                    <a:cubicBezTo>
                      <a:pt x="29895" y="227637"/>
                      <a:pt x="31701" y="224024"/>
                      <a:pt x="35315" y="222217"/>
                    </a:cubicBezTo>
                    <a:lnTo>
                      <a:pt x="35315" y="222217"/>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pic>
        <p:nvPicPr>
          <p:cNvPr id="3" name="Graphic 2" descr="Arrow: Straight with solid fill">
            <a:extLst>
              <a:ext uri="{FF2B5EF4-FFF2-40B4-BE49-F238E27FC236}">
                <a16:creationId xmlns:a16="http://schemas.microsoft.com/office/drawing/2014/main" id="{2DED0385-A3E4-AD05-DC9C-B9595A76B6E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0800000">
            <a:off x="3752771" y="5469099"/>
            <a:ext cx="870513" cy="870513"/>
          </a:xfrm>
          <a:prstGeom prst="rect">
            <a:avLst/>
          </a:prstGeom>
        </p:spPr>
      </p:pic>
    </p:spTree>
    <p:extLst>
      <p:ext uri="{BB962C8B-B14F-4D97-AF65-F5344CB8AC3E}">
        <p14:creationId xmlns:p14="http://schemas.microsoft.com/office/powerpoint/2010/main" val="2914513995"/>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a:solidFill>
                  <a:schemeClr val="bg1"/>
                </a:solidFill>
              </a:rPr>
              <a:t>03 </a:t>
            </a:r>
            <a:r>
              <a:rPr lang="en-US" sz="3400">
                <a:solidFill>
                  <a:schemeClr val="bg1"/>
                </a:solidFill>
              </a:rPr>
              <a:t>Identificación de las principales partes interesadas y gestión de las relaciones </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515605" y="1779604"/>
            <a:ext cx="3758144" cy="5262184"/>
          </a:xfrm>
        </p:spPr>
        <p:txBody>
          <a:bodyPr>
            <a:normAutofit fontScale="32500" lnSpcReduction="20000"/>
          </a:bodyPr>
          <a:lstStyle/>
          <a:p>
            <a:pPr marL="12700" indent="-12700">
              <a:lnSpc>
                <a:spcPct val="120000"/>
              </a:lnSpc>
            </a:pPr>
            <a:r>
              <a:rPr lang="en-GB" sz="6200">
                <a:latin typeface="Calibri" panose="020F0502020204030204" pitchFamily="34" charset="0"/>
                <a:ea typeface="Lato Light" panose="020F0502020204030203" pitchFamily="34" charset="0"/>
                <a:cs typeface="Calibri" panose="020F0502020204030204" pitchFamily="34" charset="0"/>
              </a:rPr>
              <a:t>La gestión de las partes interesadas sirve para identificar las necesidades e intereses de sus grupos de interés más importantes con el fin de evitar peligros y minimizar riesgos. Mediante la gestión de los grupos de interés, hay que reforzar las influencias positivas y minimizar las negativas. </a:t>
            </a:r>
          </a:p>
          <a:p>
            <a:pPr marL="12700" indent="-12700">
              <a:lnSpc>
                <a:spcPct val="120000"/>
              </a:lnSpc>
            </a:pPr>
            <a:r>
              <a:rPr lang="en-GB" sz="6200">
                <a:latin typeface="Calibri" panose="020F0502020204030204" pitchFamily="34" charset="0"/>
                <a:ea typeface="Lato Light" panose="020F0502020204030203" pitchFamily="34" charset="0"/>
                <a:cs typeface="Calibri" panose="020F0502020204030204" pitchFamily="34" charset="0"/>
              </a:rPr>
              <a:t>La gestión de las partes interesadas no es un análisis puntual, sino que debe llevarse a cabo de forma sistemática y continua. Este análisis es útil para identificar quién debe participar. </a:t>
            </a:r>
          </a:p>
          <a:p>
            <a:pPr marL="12700" indent="-12700"/>
            <a:endParaRPr lang="en-GB">
              <a:latin typeface="Calibri" panose="020F0502020204030204" pitchFamily="34" charset="0"/>
              <a:ea typeface="Lato Light" panose="020F0502020204030203" pitchFamily="34" charset="0"/>
              <a:cs typeface="Calibri" panose="020F0502020204030204" pitchFamily="34" charset="0"/>
            </a:endParaRPr>
          </a:p>
        </p:txBody>
      </p:sp>
      <p:grpSp>
        <p:nvGrpSpPr>
          <p:cNvPr id="85" name="Group 84">
            <a:extLst>
              <a:ext uri="{FF2B5EF4-FFF2-40B4-BE49-F238E27FC236}">
                <a16:creationId xmlns:a16="http://schemas.microsoft.com/office/drawing/2014/main" id="{AD1F7C91-9436-7A5B-5669-28A7B3F9EE63}"/>
              </a:ext>
            </a:extLst>
          </p:cNvPr>
          <p:cNvGrpSpPr/>
          <p:nvPr/>
        </p:nvGrpSpPr>
        <p:grpSpPr>
          <a:xfrm>
            <a:off x="529758" y="1698059"/>
            <a:ext cx="885534" cy="895928"/>
            <a:chOff x="7190753" y="5365577"/>
            <a:chExt cx="745522" cy="754273"/>
          </a:xfrm>
          <a:solidFill>
            <a:srgbClr val="595959"/>
          </a:solidFill>
        </p:grpSpPr>
        <p:grpSp>
          <p:nvGrpSpPr>
            <p:cNvPr id="86" name="Graphic 2">
              <a:extLst>
                <a:ext uri="{FF2B5EF4-FFF2-40B4-BE49-F238E27FC236}">
                  <a16:creationId xmlns:a16="http://schemas.microsoft.com/office/drawing/2014/main" id="{DB0E133F-4814-5DC0-D753-CB01E518C8CF}"/>
                </a:ext>
              </a:extLst>
            </p:cNvPr>
            <p:cNvGrpSpPr/>
            <p:nvPr/>
          </p:nvGrpSpPr>
          <p:grpSpPr>
            <a:xfrm>
              <a:off x="7353351" y="5647412"/>
              <a:ext cx="420044" cy="75879"/>
              <a:chOff x="7353351" y="5647412"/>
              <a:chExt cx="420044" cy="75879"/>
            </a:xfrm>
            <a:grpFill/>
          </p:grpSpPr>
          <p:sp>
            <p:nvSpPr>
              <p:cNvPr id="97" name="Freeform 96">
                <a:extLst>
                  <a:ext uri="{FF2B5EF4-FFF2-40B4-BE49-F238E27FC236}">
                    <a16:creationId xmlns:a16="http://schemas.microsoft.com/office/drawing/2014/main" id="{41E69E48-97BD-CFA3-988B-353B1AB2679F}"/>
                  </a:ext>
                </a:extLst>
              </p:cNvPr>
              <p:cNvSpPr/>
              <p:nvPr/>
            </p:nvSpPr>
            <p:spPr>
              <a:xfrm>
                <a:off x="7353351" y="5649220"/>
                <a:ext cx="131884" cy="74071"/>
              </a:xfrm>
              <a:custGeom>
                <a:avLst/>
                <a:gdLst>
                  <a:gd name="connsiteX0" fmla="*/ 123755 w 131884"/>
                  <a:gd name="connsiteY0" fmla="*/ 23486 h 74071"/>
                  <a:gd name="connsiteX1" fmla="*/ 60523 w 131884"/>
                  <a:gd name="connsiteY1" fmla="*/ 74072 h 74071"/>
                  <a:gd name="connsiteX2" fmla="*/ 0 w 131884"/>
                  <a:gd name="connsiteY2" fmla="*/ 74072 h 74071"/>
                  <a:gd name="connsiteX3" fmla="*/ 0 w 131884"/>
                  <a:gd name="connsiteY3" fmla="*/ 63233 h 74071"/>
                  <a:gd name="connsiteX4" fmla="*/ 31616 w 131884"/>
                  <a:gd name="connsiteY4" fmla="*/ 27100 h 74071"/>
                  <a:gd name="connsiteX5" fmla="*/ 68652 w 131884"/>
                  <a:gd name="connsiteY5" fmla="*/ 18970 h 74071"/>
                  <a:gd name="connsiteX6" fmla="*/ 80396 w 131884"/>
                  <a:gd name="connsiteY6" fmla="*/ 5420 h 74071"/>
                  <a:gd name="connsiteX7" fmla="*/ 80396 w 131884"/>
                  <a:gd name="connsiteY7" fmla="*/ 0 h 74071"/>
                  <a:gd name="connsiteX8" fmla="*/ 89429 w 131884"/>
                  <a:gd name="connsiteY8" fmla="*/ 0 h 74071"/>
                  <a:gd name="connsiteX9" fmla="*/ 98462 w 131884"/>
                  <a:gd name="connsiteY9" fmla="*/ 0 h 74071"/>
                  <a:gd name="connsiteX10" fmla="*/ 98462 w 131884"/>
                  <a:gd name="connsiteY10" fmla="*/ 2709 h 74071"/>
                  <a:gd name="connsiteX11" fmla="*/ 103882 w 131884"/>
                  <a:gd name="connsiteY11" fmla="*/ 13550 h 74071"/>
                  <a:gd name="connsiteX12" fmla="*/ 109302 w 131884"/>
                  <a:gd name="connsiteY12" fmla="*/ 16259 h 74071"/>
                  <a:gd name="connsiteX13" fmla="*/ 131885 w 131884"/>
                  <a:gd name="connsiteY13" fmla="*/ 21680 h 74071"/>
                  <a:gd name="connsiteX14" fmla="*/ 123755 w 131884"/>
                  <a:gd name="connsiteY14" fmla="*/ 23486 h 7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884" h="74071">
                    <a:moveTo>
                      <a:pt x="123755" y="23486"/>
                    </a:moveTo>
                    <a:cubicBezTo>
                      <a:pt x="94849" y="28906"/>
                      <a:pt x="72266" y="48780"/>
                      <a:pt x="60523" y="74072"/>
                    </a:cubicBezTo>
                    <a:lnTo>
                      <a:pt x="0" y="74072"/>
                    </a:lnTo>
                    <a:lnTo>
                      <a:pt x="0" y="63233"/>
                    </a:lnTo>
                    <a:cubicBezTo>
                      <a:pt x="0" y="46069"/>
                      <a:pt x="11743" y="29809"/>
                      <a:pt x="31616" y="27100"/>
                    </a:cubicBezTo>
                    <a:lnTo>
                      <a:pt x="68652" y="18970"/>
                    </a:lnTo>
                    <a:cubicBezTo>
                      <a:pt x="74072" y="16259"/>
                      <a:pt x="80396" y="10839"/>
                      <a:pt x="80396" y="5420"/>
                    </a:cubicBezTo>
                    <a:lnTo>
                      <a:pt x="80396" y="0"/>
                    </a:lnTo>
                    <a:cubicBezTo>
                      <a:pt x="83106" y="0"/>
                      <a:pt x="85816" y="0"/>
                      <a:pt x="89429" y="0"/>
                    </a:cubicBezTo>
                    <a:cubicBezTo>
                      <a:pt x="93042" y="0"/>
                      <a:pt x="94849" y="0"/>
                      <a:pt x="98462" y="0"/>
                    </a:cubicBezTo>
                    <a:lnTo>
                      <a:pt x="98462" y="2709"/>
                    </a:lnTo>
                    <a:cubicBezTo>
                      <a:pt x="98462" y="8130"/>
                      <a:pt x="101172" y="10839"/>
                      <a:pt x="103882" y="13550"/>
                    </a:cubicBezTo>
                    <a:cubicBezTo>
                      <a:pt x="106592" y="13550"/>
                      <a:pt x="106592" y="16259"/>
                      <a:pt x="109302" y="16259"/>
                    </a:cubicBezTo>
                    <a:lnTo>
                      <a:pt x="131885" y="21680"/>
                    </a:lnTo>
                    <a:lnTo>
                      <a:pt x="123755" y="2348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8" name="Freeform 97">
                <a:extLst>
                  <a:ext uri="{FF2B5EF4-FFF2-40B4-BE49-F238E27FC236}">
                    <a16:creationId xmlns:a16="http://schemas.microsoft.com/office/drawing/2014/main" id="{6AB6600E-7D82-1048-8F16-AF2A122834A6}"/>
                  </a:ext>
                </a:extLst>
              </p:cNvPr>
              <p:cNvSpPr/>
              <p:nvPr/>
            </p:nvSpPr>
            <p:spPr>
              <a:xfrm>
                <a:off x="7640607" y="5647412"/>
                <a:ext cx="132788" cy="75879"/>
              </a:xfrm>
              <a:custGeom>
                <a:avLst/>
                <a:gdLst>
                  <a:gd name="connsiteX0" fmla="*/ 132788 w 132788"/>
                  <a:gd name="connsiteY0" fmla="*/ 75879 h 75879"/>
                  <a:gd name="connsiteX1" fmla="*/ 72266 w 132788"/>
                  <a:gd name="connsiteY1" fmla="*/ 75879 h 75879"/>
                  <a:gd name="connsiteX2" fmla="*/ 9033 w 132788"/>
                  <a:gd name="connsiteY2" fmla="*/ 27100 h 75879"/>
                  <a:gd name="connsiteX3" fmla="*/ 0 w 132788"/>
                  <a:gd name="connsiteY3" fmla="*/ 24390 h 75879"/>
                  <a:gd name="connsiteX4" fmla="*/ 22583 w 132788"/>
                  <a:gd name="connsiteY4" fmla="*/ 18971 h 75879"/>
                  <a:gd name="connsiteX5" fmla="*/ 28003 w 132788"/>
                  <a:gd name="connsiteY5" fmla="*/ 16260 h 75879"/>
                  <a:gd name="connsiteX6" fmla="*/ 33423 w 132788"/>
                  <a:gd name="connsiteY6" fmla="*/ 5421 h 75879"/>
                  <a:gd name="connsiteX7" fmla="*/ 33423 w 132788"/>
                  <a:gd name="connsiteY7" fmla="*/ 0 h 75879"/>
                  <a:gd name="connsiteX8" fmla="*/ 42456 w 132788"/>
                  <a:gd name="connsiteY8" fmla="*/ 0 h 75879"/>
                  <a:gd name="connsiteX9" fmla="*/ 51489 w 132788"/>
                  <a:gd name="connsiteY9" fmla="*/ 0 h 75879"/>
                  <a:gd name="connsiteX10" fmla="*/ 51489 w 132788"/>
                  <a:gd name="connsiteY10" fmla="*/ 5421 h 75879"/>
                  <a:gd name="connsiteX11" fmla="*/ 63233 w 132788"/>
                  <a:gd name="connsiteY11" fmla="*/ 18971 h 75879"/>
                  <a:gd name="connsiteX12" fmla="*/ 100269 w 132788"/>
                  <a:gd name="connsiteY12" fmla="*/ 27100 h 75879"/>
                  <a:gd name="connsiteX13" fmla="*/ 131885 w 132788"/>
                  <a:gd name="connsiteY13" fmla="*/ 62329 h 75879"/>
                  <a:gd name="connsiteX14" fmla="*/ 131885 w 132788"/>
                  <a:gd name="connsiteY14" fmla="*/ 75879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788" h="75879">
                    <a:moveTo>
                      <a:pt x="132788" y="75879"/>
                    </a:moveTo>
                    <a:lnTo>
                      <a:pt x="72266" y="75879"/>
                    </a:lnTo>
                    <a:cubicBezTo>
                      <a:pt x="60523" y="51490"/>
                      <a:pt x="37940" y="32520"/>
                      <a:pt x="9033" y="27100"/>
                    </a:cubicBezTo>
                    <a:lnTo>
                      <a:pt x="0" y="24390"/>
                    </a:lnTo>
                    <a:lnTo>
                      <a:pt x="22583" y="18971"/>
                    </a:lnTo>
                    <a:cubicBezTo>
                      <a:pt x="25293" y="18971"/>
                      <a:pt x="25293" y="18971"/>
                      <a:pt x="28003" y="16260"/>
                    </a:cubicBezTo>
                    <a:cubicBezTo>
                      <a:pt x="33423" y="13550"/>
                      <a:pt x="33423" y="8130"/>
                      <a:pt x="33423" y="5421"/>
                    </a:cubicBezTo>
                    <a:lnTo>
                      <a:pt x="33423" y="0"/>
                    </a:lnTo>
                    <a:cubicBezTo>
                      <a:pt x="36133" y="0"/>
                      <a:pt x="38843" y="0"/>
                      <a:pt x="42456" y="0"/>
                    </a:cubicBezTo>
                    <a:cubicBezTo>
                      <a:pt x="45166" y="0"/>
                      <a:pt x="47876" y="0"/>
                      <a:pt x="51489" y="0"/>
                    </a:cubicBezTo>
                    <a:lnTo>
                      <a:pt x="51489" y="5421"/>
                    </a:lnTo>
                    <a:cubicBezTo>
                      <a:pt x="51489" y="10841"/>
                      <a:pt x="56909" y="16260"/>
                      <a:pt x="63233" y="18971"/>
                    </a:cubicBezTo>
                    <a:lnTo>
                      <a:pt x="100269" y="27100"/>
                    </a:lnTo>
                    <a:cubicBezTo>
                      <a:pt x="117432" y="29810"/>
                      <a:pt x="131885" y="46070"/>
                      <a:pt x="131885" y="62329"/>
                    </a:cubicBezTo>
                    <a:lnTo>
                      <a:pt x="131885" y="75879"/>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87" name="Graphic 2">
              <a:extLst>
                <a:ext uri="{FF2B5EF4-FFF2-40B4-BE49-F238E27FC236}">
                  <a16:creationId xmlns:a16="http://schemas.microsoft.com/office/drawing/2014/main" id="{E57F3D64-0EBA-E14A-DED6-2513710802A9}"/>
                </a:ext>
              </a:extLst>
            </p:cNvPr>
            <p:cNvGrpSpPr/>
            <p:nvPr/>
          </p:nvGrpSpPr>
          <p:grpSpPr>
            <a:xfrm>
              <a:off x="7190753" y="5365577"/>
              <a:ext cx="745522" cy="754273"/>
              <a:chOff x="7190753" y="5365577"/>
              <a:chExt cx="745522" cy="754273"/>
            </a:xfrm>
            <a:grpFill/>
          </p:grpSpPr>
          <p:sp>
            <p:nvSpPr>
              <p:cNvPr id="88" name="Freeform 87">
                <a:extLst>
                  <a:ext uri="{FF2B5EF4-FFF2-40B4-BE49-F238E27FC236}">
                    <a16:creationId xmlns:a16="http://schemas.microsoft.com/office/drawing/2014/main" id="{29DDC427-6ED9-8FD5-5C3E-F36C8735D9E8}"/>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7">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9" name="Freeform 88">
                <a:extLst>
                  <a:ext uri="{FF2B5EF4-FFF2-40B4-BE49-F238E27FC236}">
                    <a16:creationId xmlns:a16="http://schemas.microsoft.com/office/drawing/2014/main" id="{7024CCE2-3584-22F9-E35E-5EDB1919503F}"/>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0" name="Freeform 89">
                <a:extLst>
                  <a:ext uri="{FF2B5EF4-FFF2-40B4-BE49-F238E27FC236}">
                    <a16:creationId xmlns:a16="http://schemas.microsoft.com/office/drawing/2014/main" id="{CABDE747-A1FB-EB1B-0A4C-06696183A8A9}"/>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1">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1" name="Freeform 90">
                <a:extLst>
                  <a:ext uri="{FF2B5EF4-FFF2-40B4-BE49-F238E27FC236}">
                    <a16:creationId xmlns:a16="http://schemas.microsoft.com/office/drawing/2014/main" id="{7BA79BE7-F808-C163-BAAE-F1FC5194A5BE}"/>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2" name="Freeform 91">
                <a:extLst>
                  <a:ext uri="{FF2B5EF4-FFF2-40B4-BE49-F238E27FC236}">
                    <a16:creationId xmlns:a16="http://schemas.microsoft.com/office/drawing/2014/main" id="{C648CE51-B36B-DC9A-3658-68E9FB4451BC}"/>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3" name="Freeform 92">
                <a:extLst>
                  <a:ext uri="{FF2B5EF4-FFF2-40B4-BE49-F238E27FC236}">
                    <a16:creationId xmlns:a16="http://schemas.microsoft.com/office/drawing/2014/main" id="{AE51240B-9764-1E00-458A-F73A4B330BA5}"/>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4" name="Freeform 93">
                <a:extLst>
                  <a:ext uri="{FF2B5EF4-FFF2-40B4-BE49-F238E27FC236}">
                    <a16:creationId xmlns:a16="http://schemas.microsoft.com/office/drawing/2014/main" id="{5E37E4EE-07A2-605B-2C31-A6F8AD5B2381}"/>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5" name="Freeform 94">
                <a:extLst>
                  <a:ext uri="{FF2B5EF4-FFF2-40B4-BE49-F238E27FC236}">
                    <a16:creationId xmlns:a16="http://schemas.microsoft.com/office/drawing/2014/main" id="{7BB3CB9C-1BB8-8300-5814-902E778922AF}"/>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6" name="Freeform 95">
                <a:extLst>
                  <a:ext uri="{FF2B5EF4-FFF2-40B4-BE49-F238E27FC236}">
                    <a16:creationId xmlns:a16="http://schemas.microsoft.com/office/drawing/2014/main" id="{40A4E8AA-F262-42A9-372E-2479DDFE691B}"/>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cxnSp>
        <p:nvCxnSpPr>
          <p:cNvPr id="99" name="Straight Connector 21">
            <a:extLst>
              <a:ext uri="{FF2B5EF4-FFF2-40B4-BE49-F238E27FC236}">
                <a16:creationId xmlns:a16="http://schemas.microsoft.com/office/drawing/2014/main" id="{E097A8D9-BA93-945B-BF6C-7F3FE7032FE8}"/>
              </a:ext>
            </a:extLst>
          </p:cNvPr>
          <p:cNvCxnSpPr/>
          <p:nvPr/>
        </p:nvCxnSpPr>
        <p:spPr>
          <a:xfrm>
            <a:off x="6693995" y="3822443"/>
            <a:ext cx="1346117" cy="4370"/>
          </a:xfrm>
          <a:prstGeom prst="line">
            <a:avLst/>
          </a:prstGeom>
          <a:ln w="38100">
            <a:solidFill>
              <a:srgbClr val="245473"/>
            </a:solidFill>
            <a:headEnd type="oval"/>
          </a:ln>
        </p:spPr>
        <p:style>
          <a:lnRef idx="1">
            <a:schemeClr val="accent1"/>
          </a:lnRef>
          <a:fillRef idx="0">
            <a:schemeClr val="accent1"/>
          </a:fillRef>
          <a:effectRef idx="0">
            <a:schemeClr val="accent1"/>
          </a:effectRef>
          <a:fontRef idx="minor">
            <a:schemeClr val="tx1"/>
          </a:fontRef>
        </p:style>
      </p:cxnSp>
      <p:cxnSp>
        <p:nvCxnSpPr>
          <p:cNvPr id="100" name="Straight Connector 25">
            <a:extLst>
              <a:ext uri="{FF2B5EF4-FFF2-40B4-BE49-F238E27FC236}">
                <a16:creationId xmlns:a16="http://schemas.microsoft.com/office/drawing/2014/main" id="{E5393A7E-5C77-DF17-14BE-D20D4520A849}"/>
              </a:ext>
            </a:extLst>
          </p:cNvPr>
          <p:cNvCxnSpPr/>
          <p:nvPr/>
        </p:nvCxnSpPr>
        <p:spPr>
          <a:xfrm flipH="1">
            <a:off x="9040674" y="3646969"/>
            <a:ext cx="1343509" cy="5866"/>
          </a:xfrm>
          <a:prstGeom prst="line">
            <a:avLst/>
          </a:prstGeom>
          <a:ln w="38100">
            <a:solidFill>
              <a:srgbClr val="7F1C58"/>
            </a:solidFill>
            <a:headEnd type="oval"/>
          </a:ln>
        </p:spPr>
        <p:style>
          <a:lnRef idx="1">
            <a:schemeClr val="accent1"/>
          </a:lnRef>
          <a:fillRef idx="0">
            <a:schemeClr val="accent1"/>
          </a:fillRef>
          <a:effectRef idx="0">
            <a:schemeClr val="accent1"/>
          </a:effectRef>
          <a:fontRef idx="minor">
            <a:schemeClr val="tx1"/>
          </a:fontRef>
        </p:style>
      </p:cxnSp>
      <p:sp>
        <p:nvSpPr>
          <p:cNvPr id="101" name="Shape 23">
            <a:extLst>
              <a:ext uri="{FF2B5EF4-FFF2-40B4-BE49-F238E27FC236}">
                <a16:creationId xmlns:a16="http://schemas.microsoft.com/office/drawing/2014/main" id="{D9493DFD-09F6-9E4C-6CFE-700A3BF66824}"/>
              </a:ext>
            </a:extLst>
          </p:cNvPr>
          <p:cNvSpPr/>
          <p:nvPr/>
        </p:nvSpPr>
        <p:spPr>
          <a:xfrm>
            <a:off x="9005664" y="2409200"/>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245473"/>
            </a:solidFill>
            <a:prstDash val="solid"/>
            <a:miter lim="400000"/>
            <a:tailEnd type="oval"/>
          </a:ln>
          <a:effectLst/>
        </p:spPr>
        <p:txBody>
          <a:bodyPr wrap="square" lIns="38100" tIns="38100" rIns="38100" bIns="38100" numCol="1" anchor="ctr">
            <a:noAutofit/>
          </a:bodyPr>
          <a:lstStyle/>
          <a:p>
            <a:pPr lvl="0"/>
            <a:endParaRPr lang="en-GB" sz="1600">
              <a:latin typeface="+mj-lt"/>
            </a:endParaRPr>
          </a:p>
        </p:txBody>
      </p:sp>
      <p:sp>
        <p:nvSpPr>
          <p:cNvPr id="102" name="Shape 24">
            <a:extLst>
              <a:ext uri="{FF2B5EF4-FFF2-40B4-BE49-F238E27FC236}">
                <a16:creationId xmlns:a16="http://schemas.microsoft.com/office/drawing/2014/main" id="{FC0DC615-4508-19F3-4913-D654DB94F799}"/>
              </a:ext>
            </a:extLst>
          </p:cNvPr>
          <p:cNvSpPr/>
          <p:nvPr/>
        </p:nvSpPr>
        <p:spPr>
          <a:xfrm rot="10800000" flipH="1">
            <a:off x="9005664" y="4751534"/>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a:latin typeface="+mj-lt"/>
            </a:endParaRPr>
          </a:p>
        </p:txBody>
      </p:sp>
      <p:sp>
        <p:nvSpPr>
          <p:cNvPr id="103" name="Shape 26">
            <a:extLst>
              <a:ext uri="{FF2B5EF4-FFF2-40B4-BE49-F238E27FC236}">
                <a16:creationId xmlns:a16="http://schemas.microsoft.com/office/drawing/2014/main" id="{260B500D-5474-C867-D255-21A39E6B8225}"/>
              </a:ext>
            </a:extLst>
          </p:cNvPr>
          <p:cNvSpPr/>
          <p:nvPr/>
        </p:nvSpPr>
        <p:spPr>
          <a:xfrm>
            <a:off x="6749147" y="2409200"/>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686" y="0"/>
                </a:lnTo>
                <a:lnTo>
                  <a:pt x="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a:latin typeface="+mj-lt"/>
            </a:endParaRPr>
          </a:p>
        </p:txBody>
      </p:sp>
      <p:sp>
        <p:nvSpPr>
          <p:cNvPr id="104" name="Shape 27">
            <a:extLst>
              <a:ext uri="{FF2B5EF4-FFF2-40B4-BE49-F238E27FC236}">
                <a16:creationId xmlns:a16="http://schemas.microsoft.com/office/drawing/2014/main" id="{C6126BC1-B3EE-55BC-BCEC-F938BC431F56}"/>
              </a:ext>
            </a:extLst>
          </p:cNvPr>
          <p:cNvSpPr/>
          <p:nvPr/>
        </p:nvSpPr>
        <p:spPr>
          <a:xfrm>
            <a:off x="6749147" y="4751534"/>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EDA13E"/>
            </a:solidFill>
            <a:prstDash val="solid"/>
            <a:miter lim="400000"/>
            <a:tailEnd type="oval"/>
          </a:ln>
          <a:effectLst/>
        </p:spPr>
        <p:txBody>
          <a:bodyPr wrap="square" lIns="38100" tIns="38100" rIns="38100" bIns="38100" numCol="1" anchor="ctr">
            <a:noAutofit/>
          </a:bodyPr>
          <a:lstStyle/>
          <a:p>
            <a:pPr lvl="0"/>
            <a:endParaRPr lang="en-GB" sz="1600">
              <a:latin typeface="+mj-lt"/>
            </a:endParaRPr>
          </a:p>
        </p:txBody>
      </p:sp>
      <p:sp>
        <p:nvSpPr>
          <p:cNvPr id="105" name="Shape 6">
            <a:extLst>
              <a:ext uri="{FF2B5EF4-FFF2-40B4-BE49-F238E27FC236}">
                <a16:creationId xmlns:a16="http://schemas.microsoft.com/office/drawing/2014/main" id="{A2338C70-815F-C544-BDD1-9997E25BA547}"/>
              </a:ext>
            </a:extLst>
          </p:cNvPr>
          <p:cNvSpPr/>
          <p:nvPr/>
        </p:nvSpPr>
        <p:spPr>
          <a:xfrm>
            <a:off x="7132126" y="2015657"/>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0802"/>
                </a:lnTo>
                <a:lnTo>
                  <a:pt x="21600" y="21600"/>
                </a:lnTo>
                <a:lnTo>
                  <a:pt x="21600" y="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a:latin typeface="+mj-lt"/>
            </a:endParaRPr>
          </a:p>
        </p:txBody>
      </p:sp>
      <p:sp>
        <p:nvSpPr>
          <p:cNvPr id="106" name="Shape 7">
            <a:extLst>
              <a:ext uri="{FF2B5EF4-FFF2-40B4-BE49-F238E27FC236}">
                <a16:creationId xmlns:a16="http://schemas.microsoft.com/office/drawing/2014/main" id="{DC11393E-D3F3-233F-147D-B11D8CF5C85A}"/>
              </a:ext>
            </a:extLst>
          </p:cNvPr>
          <p:cNvSpPr/>
          <p:nvPr/>
        </p:nvSpPr>
        <p:spPr>
          <a:xfrm>
            <a:off x="7135626"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 y="21600"/>
                </a:lnTo>
                <a:lnTo>
                  <a:pt x="21600" y="10801"/>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a:latin typeface="+mj-lt"/>
            </a:endParaRPr>
          </a:p>
        </p:txBody>
      </p:sp>
      <p:sp>
        <p:nvSpPr>
          <p:cNvPr id="107" name="Shape 8">
            <a:extLst>
              <a:ext uri="{FF2B5EF4-FFF2-40B4-BE49-F238E27FC236}">
                <a16:creationId xmlns:a16="http://schemas.microsoft.com/office/drawing/2014/main" id="{0262A2E2-E32D-48B1-2230-4093EBF8C5F1}"/>
              </a:ext>
            </a:extLst>
          </p:cNvPr>
          <p:cNvSpPr/>
          <p:nvPr/>
        </p:nvSpPr>
        <p:spPr>
          <a:xfrm>
            <a:off x="7132126" y="3650044"/>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0798"/>
                </a:lnTo>
                <a:lnTo>
                  <a:pt x="21600" y="0"/>
                </a:lnTo>
                <a:lnTo>
                  <a:pt x="21600" y="21600"/>
                </a:lnTo>
                <a:close/>
              </a:path>
            </a:pathLst>
          </a:custGeom>
          <a:solidFill>
            <a:srgbClr val="EDA13E"/>
          </a:solidFill>
          <a:ln w="12700" cap="flat">
            <a:noFill/>
            <a:miter lim="400000"/>
          </a:ln>
          <a:effectLst/>
        </p:spPr>
        <p:txBody>
          <a:bodyPr wrap="square" lIns="0" tIns="0" rIns="0" bIns="0" numCol="1" anchor="t">
            <a:noAutofit/>
          </a:bodyPr>
          <a:lstStyle/>
          <a:p>
            <a:pPr lvl="0"/>
            <a:endParaRPr lang="en-GB" sz="1600">
              <a:latin typeface="+mj-lt"/>
            </a:endParaRPr>
          </a:p>
        </p:txBody>
      </p:sp>
      <p:sp>
        <p:nvSpPr>
          <p:cNvPr id="108" name="Shape 9">
            <a:extLst>
              <a:ext uri="{FF2B5EF4-FFF2-40B4-BE49-F238E27FC236}">
                <a16:creationId xmlns:a16="http://schemas.microsoft.com/office/drawing/2014/main" id="{20B2D86F-8CC9-1943-0964-B23BDAB8C58E}"/>
              </a:ext>
            </a:extLst>
          </p:cNvPr>
          <p:cNvSpPr/>
          <p:nvPr/>
        </p:nvSpPr>
        <p:spPr>
          <a:xfrm>
            <a:off x="8558869" y="2015657"/>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0802"/>
                </a:lnTo>
                <a:lnTo>
                  <a:pt x="0" y="21600"/>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a:latin typeface="+mj-lt"/>
            </a:endParaRPr>
          </a:p>
        </p:txBody>
      </p:sp>
      <p:sp>
        <p:nvSpPr>
          <p:cNvPr id="109" name="Shape 10">
            <a:extLst>
              <a:ext uri="{FF2B5EF4-FFF2-40B4-BE49-F238E27FC236}">
                <a16:creationId xmlns:a16="http://schemas.microsoft.com/office/drawing/2014/main" id="{38CED5F9-4260-12D4-3C1A-546EBEC51810}"/>
              </a:ext>
            </a:extLst>
          </p:cNvPr>
          <p:cNvSpPr/>
          <p:nvPr/>
        </p:nvSpPr>
        <p:spPr>
          <a:xfrm>
            <a:off x="8555122"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596" y="21600"/>
                </a:lnTo>
                <a:lnTo>
                  <a:pt x="0" y="10801"/>
                </a:lnTo>
                <a:lnTo>
                  <a:pt x="21600" y="0"/>
                </a:lnTo>
                <a:close/>
              </a:path>
            </a:pathLst>
          </a:custGeom>
          <a:solidFill>
            <a:srgbClr val="7F1C58"/>
          </a:solidFill>
          <a:ln w="12700" cap="flat">
            <a:noFill/>
            <a:miter lim="400000"/>
          </a:ln>
          <a:effectLst/>
        </p:spPr>
        <p:txBody>
          <a:bodyPr wrap="square" lIns="0" tIns="0" rIns="0" bIns="0" numCol="1" anchor="t">
            <a:noAutofit/>
          </a:bodyPr>
          <a:lstStyle/>
          <a:p>
            <a:pPr lvl="0"/>
            <a:endParaRPr lang="en-GB" sz="1600">
              <a:latin typeface="+mj-lt"/>
            </a:endParaRPr>
          </a:p>
        </p:txBody>
      </p:sp>
      <p:sp>
        <p:nvSpPr>
          <p:cNvPr id="110" name="Shape 11">
            <a:extLst>
              <a:ext uri="{FF2B5EF4-FFF2-40B4-BE49-F238E27FC236}">
                <a16:creationId xmlns:a16="http://schemas.microsoft.com/office/drawing/2014/main" id="{B551EE73-5EC5-4B0E-0337-B11D13662282}"/>
              </a:ext>
            </a:extLst>
          </p:cNvPr>
          <p:cNvSpPr/>
          <p:nvPr/>
        </p:nvSpPr>
        <p:spPr>
          <a:xfrm>
            <a:off x="8558869" y="3650044"/>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0798"/>
                </a:lnTo>
                <a:lnTo>
                  <a:pt x="0" y="0"/>
                </a:lnTo>
                <a:lnTo>
                  <a:pt x="0" y="2160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a:latin typeface="+mj-lt"/>
            </a:endParaRPr>
          </a:p>
        </p:txBody>
      </p:sp>
      <p:sp>
        <p:nvSpPr>
          <p:cNvPr id="111" name="Shape 13">
            <a:extLst>
              <a:ext uri="{FF2B5EF4-FFF2-40B4-BE49-F238E27FC236}">
                <a16:creationId xmlns:a16="http://schemas.microsoft.com/office/drawing/2014/main" id="{64587873-53E7-D65B-FB60-67B4D1312078}"/>
              </a:ext>
            </a:extLst>
          </p:cNvPr>
          <p:cNvSpPr/>
          <p:nvPr/>
        </p:nvSpPr>
        <p:spPr>
          <a:xfrm>
            <a:off x="7843500" y="2837366"/>
            <a:ext cx="1423242" cy="1643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rgbClr val="FFFFFF">
              <a:alpha val="83000"/>
            </a:srgbClr>
          </a:solidFill>
          <a:ln w="12700" cap="flat">
            <a:noFill/>
            <a:miter lim="400000"/>
          </a:ln>
          <a:effectLst/>
        </p:spPr>
        <p:txBody>
          <a:bodyPr wrap="square" lIns="0" tIns="0" rIns="0" bIns="0" numCol="1" anchor="t">
            <a:noAutofit/>
          </a:bodyPr>
          <a:lstStyle/>
          <a:p>
            <a:pPr lvl="0"/>
            <a:endParaRPr lang="en-GB" sz="1600">
              <a:latin typeface="+mj-lt"/>
            </a:endParaRPr>
          </a:p>
        </p:txBody>
      </p:sp>
      <p:sp>
        <p:nvSpPr>
          <p:cNvPr id="112" name="Subtitle 2">
            <a:extLst>
              <a:ext uri="{FF2B5EF4-FFF2-40B4-BE49-F238E27FC236}">
                <a16:creationId xmlns:a16="http://schemas.microsoft.com/office/drawing/2014/main" id="{CEC57D95-A2AD-2D92-4208-E7E7C1CC89D8}"/>
              </a:ext>
            </a:extLst>
          </p:cNvPr>
          <p:cNvSpPr txBox="1"/>
          <p:nvPr/>
        </p:nvSpPr>
        <p:spPr>
          <a:xfrm>
            <a:off x="10508529" y="2582469"/>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Organizaciones de medios de comunicación</a:t>
            </a:r>
          </a:p>
          <a:p>
            <a:pPr marL="171450" indent="-171450" algn="l">
              <a:lnSpc>
                <a:spcPts val="16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Medios de comunicación social</a:t>
            </a:r>
          </a:p>
        </p:txBody>
      </p:sp>
      <p:sp>
        <p:nvSpPr>
          <p:cNvPr id="113" name="TextBox 29">
            <a:extLst>
              <a:ext uri="{FF2B5EF4-FFF2-40B4-BE49-F238E27FC236}">
                <a16:creationId xmlns:a16="http://schemas.microsoft.com/office/drawing/2014/main" id="{9E76CAD8-24A2-4663-3A4B-E084154786EA}"/>
              </a:ext>
            </a:extLst>
          </p:cNvPr>
          <p:cNvSpPr txBox="1"/>
          <p:nvPr/>
        </p:nvSpPr>
        <p:spPr>
          <a:xfrm>
            <a:off x="10513041" y="2246316"/>
            <a:ext cx="728084" cy="338554"/>
          </a:xfrm>
          <a:prstGeom prst="rect">
            <a:avLst/>
          </a:prstGeom>
          <a:noFill/>
        </p:spPr>
        <p:txBody>
          <a:bodyPr wrap="none" rtlCol="0" anchor="t" anchorCtr="0">
            <a:spAutoFit/>
          </a:bodyPr>
          <a:lstStyle/>
          <a:p>
            <a:r>
              <a:rPr lang="en-GB" sz="1600" b="1">
                <a:solidFill>
                  <a:srgbClr val="245473"/>
                </a:solidFill>
                <a:ea typeface="League Spartan" charset="0"/>
                <a:cs typeface="Poppins" pitchFamily="2" charset="77"/>
              </a:rPr>
              <a:t>Medios de comunicación</a:t>
            </a:r>
          </a:p>
        </p:txBody>
      </p:sp>
      <p:sp>
        <p:nvSpPr>
          <p:cNvPr id="114" name="Subtitle 2">
            <a:extLst>
              <a:ext uri="{FF2B5EF4-FFF2-40B4-BE49-F238E27FC236}">
                <a16:creationId xmlns:a16="http://schemas.microsoft.com/office/drawing/2014/main" id="{59C8F845-5784-C2F1-C8B1-7FB561CFED15}"/>
              </a:ext>
            </a:extLst>
          </p:cNvPr>
          <p:cNvSpPr txBox="1"/>
          <p:nvPr/>
        </p:nvSpPr>
        <p:spPr>
          <a:xfrm>
            <a:off x="10492365" y="3769700"/>
            <a:ext cx="1683471" cy="85825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Universidades</a:t>
            </a:r>
          </a:p>
          <a:p>
            <a:pPr marL="171450" indent="-171450" algn="l">
              <a:lnSpc>
                <a:spcPts val="16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Institutos de investigación</a:t>
            </a:r>
          </a:p>
          <a:p>
            <a:pPr marL="171450" indent="-171450" algn="l">
              <a:lnSpc>
                <a:spcPts val="16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Opiniones de expertos</a:t>
            </a:r>
          </a:p>
        </p:txBody>
      </p:sp>
      <p:sp>
        <p:nvSpPr>
          <p:cNvPr id="115" name="TextBox 31">
            <a:extLst>
              <a:ext uri="{FF2B5EF4-FFF2-40B4-BE49-F238E27FC236}">
                <a16:creationId xmlns:a16="http://schemas.microsoft.com/office/drawing/2014/main" id="{605B58D5-7415-7AF9-23ED-070DFD4E6161}"/>
              </a:ext>
            </a:extLst>
          </p:cNvPr>
          <p:cNvSpPr txBox="1"/>
          <p:nvPr/>
        </p:nvSpPr>
        <p:spPr>
          <a:xfrm>
            <a:off x="10513041" y="3455088"/>
            <a:ext cx="821059" cy="338554"/>
          </a:xfrm>
          <a:prstGeom prst="rect">
            <a:avLst/>
          </a:prstGeom>
          <a:noFill/>
        </p:spPr>
        <p:txBody>
          <a:bodyPr wrap="none" rtlCol="0" anchor="t" anchorCtr="0">
            <a:spAutoFit/>
          </a:bodyPr>
          <a:lstStyle/>
          <a:p>
            <a:r>
              <a:rPr lang="en-GB" sz="1600" b="1">
                <a:solidFill>
                  <a:srgbClr val="7F1C58"/>
                </a:solidFill>
                <a:ea typeface="League Spartan" charset="0"/>
                <a:cs typeface="Poppins" pitchFamily="2" charset="77"/>
              </a:rPr>
              <a:t>Ciencia</a:t>
            </a:r>
          </a:p>
        </p:txBody>
      </p:sp>
      <p:sp>
        <p:nvSpPr>
          <p:cNvPr id="116" name="Subtitle 2">
            <a:extLst>
              <a:ext uri="{FF2B5EF4-FFF2-40B4-BE49-F238E27FC236}">
                <a16:creationId xmlns:a16="http://schemas.microsoft.com/office/drawing/2014/main" id="{85390968-577F-90B9-059D-6ECE91507E0F}"/>
              </a:ext>
            </a:extLst>
          </p:cNvPr>
          <p:cNvSpPr txBox="1"/>
          <p:nvPr/>
        </p:nvSpPr>
        <p:spPr>
          <a:xfrm>
            <a:off x="10492365" y="5079675"/>
            <a:ext cx="1683471" cy="85825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Gobierno y municipios</a:t>
            </a:r>
          </a:p>
          <a:p>
            <a:pPr marL="171450" indent="-171450" algn="l">
              <a:lnSpc>
                <a:spcPts val="16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Otras autoridades</a:t>
            </a:r>
          </a:p>
        </p:txBody>
      </p:sp>
      <p:sp>
        <p:nvSpPr>
          <p:cNvPr id="117" name="TextBox 33">
            <a:extLst>
              <a:ext uri="{FF2B5EF4-FFF2-40B4-BE49-F238E27FC236}">
                <a16:creationId xmlns:a16="http://schemas.microsoft.com/office/drawing/2014/main" id="{5117FA5C-C3A2-05EF-BE6A-803B1E866F43}"/>
              </a:ext>
            </a:extLst>
          </p:cNvPr>
          <p:cNvSpPr txBox="1"/>
          <p:nvPr/>
        </p:nvSpPr>
        <p:spPr>
          <a:xfrm>
            <a:off x="10496877" y="4791016"/>
            <a:ext cx="788870" cy="338554"/>
          </a:xfrm>
          <a:prstGeom prst="rect">
            <a:avLst/>
          </a:prstGeom>
          <a:noFill/>
        </p:spPr>
        <p:txBody>
          <a:bodyPr wrap="none" rtlCol="0" anchor="t" anchorCtr="0">
            <a:spAutoFit/>
          </a:bodyPr>
          <a:lstStyle/>
          <a:p>
            <a:r>
              <a:rPr lang="en-GB" sz="1600" b="1">
                <a:solidFill>
                  <a:srgbClr val="B41F7A"/>
                </a:solidFill>
                <a:ea typeface="League Spartan" charset="0"/>
                <a:cs typeface="Poppins" pitchFamily="2" charset="77"/>
              </a:rPr>
              <a:t>Política</a:t>
            </a:r>
          </a:p>
        </p:txBody>
      </p:sp>
      <p:sp>
        <p:nvSpPr>
          <p:cNvPr id="118" name="Subtitle 2">
            <a:extLst>
              <a:ext uri="{FF2B5EF4-FFF2-40B4-BE49-F238E27FC236}">
                <a16:creationId xmlns:a16="http://schemas.microsoft.com/office/drawing/2014/main" id="{5E2F4A70-A096-FA04-9588-370E7682D230}"/>
              </a:ext>
            </a:extLst>
          </p:cNvPr>
          <p:cNvSpPr txBox="1"/>
          <p:nvPr/>
        </p:nvSpPr>
        <p:spPr>
          <a:xfrm>
            <a:off x="5545005" y="2521012"/>
            <a:ext cx="1733404" cy="106344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Residentes </a:t>
            </a:r>
          </a:p>
          <a:p>
            <a:pPr marL="171450" indent="-171450" algn="l">
              <a:lnSpc>
                <a:spcPts val="16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Instituciones culturales </a:t>
            </a:r>
          </a:p>
          <a:p>
            <a:pPr marL="171450" indent="-171450" algn="l">
              <a:lnSpc>
                <a:spcPts val="16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Asociaciones</a:t>
            </a:r>
          </a:p>
          <a:p>
            <a:pPr marL="171450" indent="-171450" algn="l">
              <a:lnSpc>
                <a:spcPts val="16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Grupos de presión</a:t>
            </a:r>
          </a:p>
        </p:txBody>
      </p:sp>
      <p:sp>
        <p:nvSpPr>
          <p:cNvPr id="119" name="TextBox 118">
            <a:extLst>
              <a:ext uri="{FF2B5EF4-FFF2-40B4-BE49-F238E27FC236}">
                <a16:creationId xmlns:a16="http://schemas.microsoft.com/office/drawing/2014/main" id="{FCD597D7-0E0C-9E5C-74B8-E3A3AC1C9E6D}"/>
              </a:ext>
            </a:extLst>
          </p:cNvPr>
          <p:cNvSpPr txBox="1"/>
          <p:nvPr/>
        </p:nvSpPr>
        <p:spPr>
          <a:xfrm>
            <a:off x="5489739" y="2181052"/>
            <a:ext cx="798808" cy="338554"/>
          </a:xfrm>
          <a:prstGeom prst="rect">
            <a:avLst/>
          </a:prstGeom>
          <a:noFill/>
        </p:spPr>
        <p:txBody>
          <a:bodyPr wrap="none" rtlCol="0" anchor="t" anchorCtr="0">
            <a:spAutoFit/>
          </a:bodyPr>
          <a:lstStyle/>
          <a:p>
            <a:pPr algn="r"/>
            <a:r>
              <a:rPr lang="en-GB" sz="1600" b="1">
                <a:solidFill>
                  <a:srgbClr val="B41F7A"/>
                </a:solidFill>
                <a:ea typeface="League Spartan" charset="0"/>
                <a:cs typeface="Poppins" pitchFamily="2" charset="77"/>
              </a:rPr>
              <a:t>Sociedad</a:t>
            </a:r>
          </a:p>
        </p:txBody>
      </p:sp>
      <p:sp>
        <p:nvSpPr>
          <p:cNvPr id="120" name="Subtitle 2">
            <a:extLst>
              <a:ext uri="{FF2B5EF4-FFF2-40B4-BE49-F238E27FC236}">
                <a16:creationId xmlns:a16="http://schemas.microsoft.com/office/drawing/2014/main" id="{953E8046-F532-48CF-8C27-7785D6471DAC}"/>
              </a:ext>
            </a:extLst>
          </p:cNvPr>
          <p:cNvSpPr txBox="1"/>
          <p:nvPr/>
        </p:nvSpPr>
        <p:spPr>
          <a:xfrm>
            <a:off x="5494197" y="3938171"/>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Competidores</a:t>
            </a:r>
          </a:p>
          <a:p>
            <a:pPr marL="171450" indent="-171450" algn="l">
              <a:lnSpc>
                <a:spcPts val="16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Proveedores</a:t>
            </a:r>
          </a:p>
          <a:p>
            <a:pPr marL="171450" indent="-171450" algn="l">
              <a:lnSpc>
                <a:spcPts val="16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Proveedores de servicios</a:t>
            </a:r>
          </a:p>
        </p:txBody>
      </p:sp>
      <p:sp>
        <p:nvSpPr>
          <p:cNvPr id="121" name="TextBox 120">
            <a:extLst>
              <a:ext uri="{FF2B5EF4-FFF2-40B4-BE49-F238E27FC236}">
                <a16:creationId xmlns:a16="http://schemas.microsoft.com/office/drawing/2014/main" id="{68499D3F-92D1-ACD1-351E-94FF23C805D1}"/>
              </a:ext>
            </a:extLst>
          </p:cNvPr>
          <p:cNvSpPr txBox="1"/>
          <p:nvPr/>
        </p:nvSpPr>
        <p:spPr>
          <a:xfrm>
            <a:off x="5483105" y="3651860"/>
            <a:ext cx="893386" cy="338554"/>
          </a:xfrm>
          <a:prstGeom prst="rect">
            <a:avLst/>
          </a:prstGeom>
          <a:noFill/>
        </p:spPr>
        <p:txBody>
          <a:bodyPr wrap="none" rtlCol="0" anchor="t" anchorCtr="0">
            <a:spAutoFit/>
          </a:bodyPr>
          <a:lstStyle/>
          <a:p>
            <a:pPr algn="r"/>
            <a:r>
              <a:rPr lang="en-GB" sz="1600" b="1">
                <a:solidFill>
                  <a:srgbClr val="245473"/>
                </a:solidFill>
                <a:ea typeface="League Spartan" charset="0"/>
                <a:cs typeface="Poppins" pitchFamily="2" charset="77"/>
              </a:rPr>
              <a:t>Industria</a:t>
            </a:r>
          </a:p>
        </p:txBody>
      </p:sp>
      <p:sp>
        <p:nvSpPr>
          <p:cNvPr id="122" name="Subtitle 2">
            <a:extLst>
              <a:ext uri="{FF2B5EF4-FFF2-40B4-BE49-F238E27FC236}">
                <a16:creationId xmlns:a16="http://schemas.microsoft.com/office/drawing/2014/main" id="{F7AF8FD1-A002-1C03-EF97-D02A0247BAA7}"/>
              </a:ext>
            </a:extLst>
          </p:cNvPr>
          <p:cNvSpPr txBox="1"/>
          <p:nvPr/>
        </p:nvSpPr>
        <p:spPr>
          <a:xfrm>
            <a:off x="5526351" y="5068157"/>
            <a:ext cx="1683471" cy="65307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6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Empresa</a:t>
            </a:r>
          </a:p>
          <a:p>
            <a:pPr marL="171450" indent="-171450" algn="l">
              <a:lnSpc>
                <a:spcPts val="16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Bancos</a:t>
            </a:r>
          </a:p>
          <a:p>
            <a:pPr marL="171450" indent="-171450" algn="l">
              <a:lnSpc>
                <a:spcPts val="16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Otros financiadores</a:t>
            </a:r>
          </a:p>
        </p:txBody>
      </p:sp>
      <p:sp>
        <p:nvSpPr>
          <p:cNvPr id="123" name="TextBox 122">
            <a:extLst>
              <a:ext uri="{FF2B5EF4-FFF2-40B4-BE49-F238E27FC236}">
                <a16:creationId xmlns:a16="http://schemas.microsoft.com/office/drawing/2014/main" id="{97B799D6-AA59-5876-5374-F3D64129E4B7}"/>
              </a:ext>
            </a:extLst>
          </p:cNvPr>
          <p:cNvSpPr txBox="1"/>
          <p:nvPr/>
        </p:nvSpPr>
        <p:spPr>
          <a:xfrm>
            <a:off x="5447500" y="4767685"/>
            <a:ext cx="1042978" cy="338554"/>
          </a:xfrm>
          <a:prstGeom prst="rect">
            <a:avLst/>
          </a:prstGeom>
          <a:noFill/>
        </p:spPr>
        <p:txBody>
          <a:bodyPr wrap="none" rtlCol="0" anchor="t" anchorCtr="0">
            <a:spAutoFit/>
          </a:bodyPr>
          <a:lstStyle/>
          <a:p>
            <a:pPr algn="r"/>
            <a:r>
              <a:rPr lang="en-GB" sz="1600" b="1">
                <a:solidFill>
                  <a:srgbClr val="EDA13E"/>
                </a:solidFill>
                <a:ea typeface="League Spartan" charset="0"/>
                <a:cs typeface="Poppins" pitchFamily="2" charset="77"/>
              </a:rPr>
              <a:t>Financieros</a:t>
            </a:r>
          </a:p>
        </p:txBody>
      </p:sp>
      <p:sp>
        <p:nvSpPr>
          <p:cNvPr id="124" name="Fünfeck 2">
            <a:extLst>
              <a:ext uri="{FF2B5EF4-FFF2-40B4-BE49-F238E27FC236}">
                <a16:creationId xmlns:a16="http://schemas.microsoft.com/office/drawing/2014/main" id="{10266DC1-FECD-0DB1-E7CA-04CC894ED1A7}"/>
              </a:ext>
            </a:extLst>
          </p:cNvPr>
          <p:cNvSpPr/>
          <p:nvPr/>
        </p:nvSpPr>
        <p:spPr>
          <a:xfrm>
            <a:off x="8027303" y="3211700"/>
            <a:ext cx="1042444" cy="882269"/>
          </a:xfrm>
          <a:prstGeom prst="pentagon">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125" name="TextBox 29">
            <a:extLst>
              <a:ext uri="{FF2B5EF4-FFF2-40B4-BE49-F238E27FC236}">
                <a16:creationId xmlns:a16="http://schemas.microsoft.com/office/drawing/2014/main" id="{283FCEDC-A23D-9622-5C19-22A964129890}"/>
              </a:ext>
            </a:extLst>
          </p:cNvPr>
          <p:cNvSpPr txBox="1"/>
          <p:nvPr/>
        </p:nvSpPr>
        <p:spPr>
          <a:xfrm>
            <a:off x="8030651" y="3491617"/>
            <a:ext cx="1077218" cy="338554"/>
          </a:xfrm>
          <a:prstGeom prst="rect">
            <a:avLst/>
          </a:prstGeom>
          <a:noFill/>
        </p:spPr>
        <p:txBody>
          <a:bodyPr wrap="none" rtlCol="0" anchor="t" anchorCtr="0">
            <a:spAutoFit/>
          </a:bodyPr>
          <a:lstStyle/>
          <a:p>
            <a:r>
              <a:rPr lang="en-GB" sz="1600" b="1">
                <a:solidFill>
                  <a:schemeClr val="bg1"/>
                </a:solidFill>
                <a:latin typeface="+mj-lt"/>
                <a:ea typeface="League Spartan" charset="0"/>
                <a:cs typeface="Poppins" pitchFamily="2" charset="77"/>
              </a:rPr>
              <a:t>Empleados</a:t>
            </a:r>
          </a:p>
        </p:txBody>
      </p:sp>
      <p:sp>
        <p:nvSpPr>
          <p:cNvPr id="126" name="Shape 27">
            <a:extLst>
              <a:ext uri="{FF2B5EF4-FFF2-40B4-BE49-F238E27FC236}">
                <a16:creationId xmlns:a16="http://schemas.microsoft.com/office/drawing/2014/main" id="{6DD2D7E0-E4C1-F352-B42A-C1005B25F0D9}"/>
              </a:ext>
            </a:extLst>
          </p:cNvPr>
          <p:cNvSpPr/>
          <p:nvPr/>
        </p:nvSpPr>
        <p:spPr>
          <a:xfrm>
            <a:off x="8407468" y="3884489"/>
            <a:ext cx="165570" cy="18081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F16924"/>
            </a:solidFill>
            <a:prstDash val="solid"/>
            <a:miter lim="400000"/>
            <a:tailEnd type="oval"/>
          </a:ln>
          <a:effectLst/>
        </p:spPr>
        <p:txBody>
          <a:bodyPr wrap="square" lIns="38100" tIns="38100" rIns="38100" bIns="38100" numCol="1" anchor="ctr">
            <a:noAutofit/>
          </a:bodyPr>
          <a:lstStyle/>
          <a:p>
            <a:pPr lvl="0"/>
            <a:endParaRPr lang="en-GB" sz="1600">
              <a:latin typeface="+mj-lt"/>
            </a:endParaRPr>
          </a:p>
        </p:txBody>
      </p:sp>
      <p:sp>
        <p:nvSpPr>
          <p:cNvPr id="127" name="Subtitle 2">
            <a:extLst>
              <a:ext uri="{FF2B5EF4-FFF2-40B4-BE49-F238E27FC236}">
                <a16:creationId xmlns:a16="http://schemas.microsoft.com/office/drawing/2014/main" id="{5B47FB10-6FD5-2EE8-7213-2789C9118EBF}"/>
              </a:ext>
            </a:extLst>
          </p:cNvPr>
          <p:cNvSpPr txBox="1"/>
          <p:nvPr/>
        </p:nvSpPr>
        <p:spPr>
          <a:xfrm>
            <a:off x="7144651" y="5794116"/>
            <a:ext cx="1683471" cy="61780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5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Directo / Indirecto</a:t>
            </a:r>
          </a:p>
          <a:p>
            <a:pPr marL="171450" indent="-171450" algn="l">
              <a:lnSpc>
                <a:spcPts val="15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Comité de Empresa</a:t>
            </a:r>
          </a:p>
          <a:p>
            <a:pPr marL="171450" indent="-171450" algn="l">
              <a:lnSpc>
                <a:spcPts val="1520"/>
              </a:lnSpc>
              <a:spcBef>
                <a:spcPct val="0"/>
              </a:spcBef>
              <a:buFont typeface="Arial" panose="020B0604020202020204" pitchFamily="34" charset="0"/>
              <a:buChar char="•"/>
            </a:pPr>
            <a:r>
              <a:rPr lang="en-GB" sz="1600">
                <a:solidFill>
                  <a:srgbClr val="595959"/>
                </a:solidFill>
                <a:latin typeface="+mn-lt"/>
                <a:ea typeface="Lato Light" panose="020F0502020204030203" pitchFamily="34" charset="0"/>
                <a:cs typeface="Mukta ExtraLight" panose="020B0000000000000000" pitchFamily="34" charset="77"/>
              </a:rPr>
              <a:t>Unidades de trabajo</a:t>
            </a:r>
          </a:p>
        </p:txBody>
      </p:sp>
      <p:sp>
        <p:nvSpPr>
          <p:cNvPr id="128" name="TextBox 40">
            <a:extLst>
              <a:ext uri="{FF2B5EF4-FFF2-40B4-BE49-F238E27FC236}">
                <a16:creationId xmlns:a16="http://schemas.microsoft.com/office/drawing/2014/main" id="{CB170EFA-DEA5-57C7-35F9-5FB782EC5EC8}"/>
              </a:ext>
            </a:extLst>
          </p:cNvPr>
          <p:cNvSpPr txBox="1"/>
          <p:nvPr/>
        </p:nvSpPr>
        <p:spPr>
          <a:xfrm>
            <a:off x="7191324" y="5503819"/>
            <a:ext cx="1102867" cy="338554"/>
          </a:xfrm>
          <a:prstGeom prst="rect">
            <a:avLst/>
          </a:prstGeom>
          <a:noFill/>
        </p:spPr>
        <p:txBody>
          <a:bodyPr wrap="none" rtlCol="0" anchor="t" anchorCtr="0">
            <a:spAutoFit/>
          </a:bodyPr>
          <a:lstStyle/>
          <a:p>
            <a:pPr algn="r"/>
            <a:r>
              <a:rPr lang="en-GB" sz="1600" b="1">
                <a:solidFill>
                  <a:srgbClr val="F16924"/>
                </a:solidFill>
                <a:ea typeface="League Spartan" charset="0"/>
                <a:cs typeface="Poppins" pitchFamily="2" charset="77"/>
              </a:rPr>
              <a:t>Empleados</a:t>
            </a:r>
          </a:p>
        </p:txBody>
      </p:sp>
      <p:pic>
        <p:nvPicPr>
          <p:cNvPr id="129" name="Slika 6">
            <a:extLst>
              <a:ext uri="{FF2B5EF4-FFF2-40B4-BE49-F238E27FC236}">
                <a16:creationId xmlns:a16="http://schemas.microsoft.com/office/drawing/2014/main" id="{A0C74014-945E-B137-B152-F67C6951E734}"/>
              </a:ext>
            </a:extLst>
          </p:cNvPr>
          <p:cNvPicPr>
            <a:picLocks noChangeAspect="1"/>
          </p:cNvPicPr>
          <p:nvPr/>
        </p:nvPicPr>
        <p:blipFill>
          <a:blip r:embed="rId2"/>
          <a:stretch>
            <a:fillRect/>
          </a:stretch>
        </p:blipFill>
        <p:spPr>
          <a:xfrm>
            <a:off x="9047254" y="6046794"/>
            <a:ext cx="3040012" cy="586791"/>
          </a:xfrm>
          <a:prstGeom prst="rect">
            <a:avLst/>
          </a:prstGeom>
        </p:spPr>
      </p:pic>
    </p:spTree>
    <p:extLst>
      <p:ext uri="{BB962C8B-B14F-4D97-AF65-F5344CB8AC3E}">
        <p14:creationId xmlns:p14="http://schemas.microsoft.com/office/powerpoint/2010/main" val="2465390951"/>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a:solidFill>
                  <a:schemeClr val="bg1"/>
                </a:solidFill>
              </a:rPr>
              <a:t>03 </a:t>
            </a:r>
            <a:r>
              <a:rPr lang="en-US" sz="3400">
                <a:solidFill>
                  <a:schemeClr val="bg1"/>
                </a:solidFill>
              </a:rPr>
              <a:t>Identificación de las principales partes interesadas y gestión de las relaciones </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515605" y="1947242"/>
            <a:ext cx="3758144" cy="5262184"/>
          </a:xfrm>
        </p:spPr>
        <p:txBody>
          <a:bodyPr>
            <a:normAutofit/>
          </a:bodyPr>
          <a:lstStyle/>
          <a:p>
            <a:pPr marL="12700" indent="-12700">
              <a:lnSpc>
                <a:spcPct val="100000"/>
              </a:lnSpc>
            </a:pPr>
            <a:r>
              <a:rPr lang="en-GB" b="1">
                <a:solidFill>
                  <a:schemeClr val="bg1"/>
                </a:solidFill>
                <a:highlight>
                  <a:srgbClr val="F16924"/>
                </a:highlight>
                <a:latin typeface="Calibri" panose="020F0502020204030204" pitchFamily="34" charset="0"/>
                <a:ea typeface="Lato Light" panose="020F0502020204030203" pitchFamily="34" charset="0"/>
                <a:cs typeface="Calibri" panose="020F0502020204030204" pitchFamily="34" charset="0"/>
              </a:rPr>
              <a:t>EJERCICIO</a:t>
            </a:r>
          </a:p>
          <a:p>
            <a:pPr marL="12700" indent="-12700">
              <a:lnSpc>
                <a:spcPct val="100000"/>
              </a:lnSpc>
            </a:pPr>
            <a:endParaRPr lang="en-GB" b="1">
              <a:solidFill>
                <a:schemeClr val="bg1"/>
              </a:solidFill>
              <a:latin typeface="Calibri" panose="020F0502020204030204" pitchFamily="34" charset="0"/>
              <a:ea typeface="Lato Light" panose="020F0502020204030203" pitchFamily="34" charset="0"/>
              <a:cs typeface="Calibri" panose="020F0502020204030204" pitchFamily="34" charset="0"/>
            </a:endParaRPr>
          </a:p>
          <a:p>
            <a:pPr marL="12700" indent="-12700">
              <a:lnSpc>
                <a:spcPct val="100000"/>
              </a:lnSpc>
            </a:pPr>
            <a:r>
              <a:rPr lang="en-GB">
                <a:latin typeface="Calibri" panose="020F0502020204030204" pitchFamily="34" charset="0"/>
                <a:ea typeface="Lato Light" panose="020F0502020204030203" pitchFamily="34" charset="0"/>
                <a:cs typeface="Calibri" panose="020F0502020204030204" pitchFamily="34" charset="0"/>
              </a:rPr>
              <a:t>Ahora, crea tu propia versión, nombrando específicamente a quien debe participar.</a:t>
            </a:r>
          </a:p>
          <a:p>
            <a:pPr marL="12700" indent="-12700">
              <a:lnSpc>
                <a:spcPct val="100000"/>
              </a:lnSpc>
            </a:pPr>
            <a:endParaRPr lang="en-GB">
              <a:latin typeface="Calibri" panose="020F0502020204030204" pitchFamily="34" charset="0"/>
              <a:ea typeface="Lato Light" panose="020F0502020204030203" pitchFamily="34" charset="0"/>
              <a:cs typeface="Calibri" panose="020F0502020204030204" pitchFamily="34" charset="0"/>
            </a:endParaRPr>
          </a:p>
          <a:p>
            <a:pPr marL="12700" indent="-12700">
              <a:lnSpc>
                <a:spcPct val="100000"/>
              </a:lnSpc>
            </a:pPr>
            <a:r>
              <a:rPr lang="en-GB" b="1">
                <a:solidFill>
                  <a:schemeClr val="bg1"/>
                </a:solidFill>
                <a:highlight>
                  <a:srgbClr val="F16924"/>
                </a:highlight>
                <a:latin typeface="Calibri" panose="020F0502020204030204" pitchFamily="34" charset="0"/>
                <a:ea typeface="Lato Light" panose="020F0502020204030203" pitchFamily="34" charset="0"/>
                <a:cs typeface="Calibri" panose="020F0502020204030204" pitchFamily="34" charset="0"/>
              </a:rPr>
              <a:t>DESCARGAR y UTILIZAR NUESTRA PLANTILLA </a:t>
            </a:r>
          </a:p>
          <a:p>
            <a:pPr marL="12700" indent="-12700"/>
            <a:endParaRPr lang="en-GB">
              <a:latin typeface="Calibri" panose="020F0502020204030204" pitchFamily="34" charset="0"/>
              <a:ea typeface="Lato Light" panose="020F0502020204030203" pitchFamily="34" charset="0"/>
              <a:cs typeface="Calibri" panose="020F0502020204030204" pitchFamily="34" charset="0"/>
            </a:endParaRPr>
          </a:p>
        </p:txBody>
      </p:sp>
      <p:grpSp>
        <p:nvGrpSpPr>
          <p:cNvPr id="85" name="Group 84">
            <a:extLst>
              <a:ext uri="{FF2B5EF4-FFF2-40B4-BE49-F238E27FC236}">
                <a16:creationId xmlns:a16="http://schemas.microsoft.com/office/drawing/2014/main" id="{AD1F7C91-9436-7A5B-5669-28A7B3F9EE63}"/>
              </a:ext>
            </a:extLst>
          </p:cNvPr>
          <p:cNvGrpSpPr/>
          <p:nvPr/>
        </p:nvGrpSpPr>
        <p:grpSpPr>
          <a:xfrm>
            <a:off x="529758" y="1698059"/>
            <a:ext cx="885534" cy="895928"/>
            <a:chOff x="7190753" y="5365577"/>
            <a:chExt cx="745522" cy="754273"/>
          </a:xfrm>
          <a:solidFill>
            <a:srgbClr val="595959"/>
          </a:solidFill>
        </p:grpSpPr>
        <p:grpSp>
          <p:nvGrpSpPr>
            <p:cNvPr id="86" name="Graphic 2">
              <a:extLst>
                <a:ext uri="{FF2B5EF4-FFF2-40B4-BE49-F238E27FC236}">
                  <a16:creationId xmlns:a16="http://schemas.microsoft.com/office/drawing/2014/main" id="{DB0E133F-4814-5DC0-D753-CB01E518C8CF}"/>
                </a:ext>
              </a:extLst>
            </p:cNvPr>
            <p:cNvGrpSpPr/>
            <p:nvPr/>
          </p:nvGrpSpPr>
          <p:grpSpPr>
            <a:xfrm>
              <a:off x="7353351" y="5647412"/>
              <a:ext cx="420044" cy="75879"/>
              <a:chOff x="7353351" y="5647412"/>
              <a:chExt cx="420044" cy="75879"/>
            </a:xfrm>
            <a:grpFill/>
          </p:grpSpPr>
          <p:sp>
            <p:nvSpPr>
              <p:cNvPr id="97" name="Freeform 96">
                <a:extLst>
                  <a:ext uri="{FF2B5EF4-FFF2-40B4-BE49-F238E27FC236}">
                    <a16:creationId xmlns:a16="http://schemas.microsoft.com/office/drawing/2014/main" id="{41E69E48-97BD-CFA3-988B-353B1AB2679F}"/>
                  </a:ext>
                </a:extLst>
              </p:cNvPr>
              <p:cNvSpPr/>
              <p:nvPr/>
            </p:nvSpPr>
            <p:spPr>
              <a:xfrm>
                <a:off x="7353351" y="5649220"/>
                <a:ext cx="131884" cy="74071"/>
              </a:xfrm>
              <a:custGeom>
                <a:avLst/>
                <a:gdLst>
                  <a:gd name="connsiteX0" fmla="*/ 123755 w 131884"/>
                  <a:gd name="connsiteY0" fmla="*/ 23486 h 74071"/>
                  <a:gd name="connsiteX1" fmla="*/ 60523 w 131884"/>
                  <a:gd name="connsiteY1" fmla="*/ 74072 h 74071"/>
                  <a:gd name="connsiteX2" fmla="*/ 0 w 131884"/>
                  <a:gd name="connsiteY2" fmla="*/ 74072 h 74071"/>
                  <a:gd name="connsiteX3" fmla="*/ 0 w 131884"/>
                  <a:gd name="connsiteY3" fmla="*/ 63233 h 74071"/>
                  <a:gd name="connsiteX4" fmla="*/ 31616 w 131884"/>
                  <a:gd name="connsiteY4" fmla="*/ 27100 h 74071"/>
                  <a:gd name="connsiteX5" fmla="*/ 68652 w 131884"/>
                  <a:gd name="connsiteY5" fmla="*/ 18970 h 74071"/>
                  <a:gd name="connsiteX6" fmla="*/ 80396 w 131884"/>
                  <a:gd name="connsiteY6" fmla="*/ 5420 h 74071"/>
                  <a:gd name="connsiteX7" fmla="*/ 80396 w 131884"/>
                  <a:gd name="connsiteY7" fmla="*/ 0 h 74071"/>
                  <a:gd name="connsiteX8" fmla="*/ 89429 w 131884"/>
                  <a:gd name="connsiteY8" fmla="*/ 0 h 74071"/>
                  <a:gd name="connsiteX9" fmla="*/ 98462 w 131884"/>
                  <a:gd name="connsiteY9" fmla="*/ 0 h 74071"/>
                  <a:gd name="connsiteX10" fmla="*/ 98462 w 131884"/>
                  <a:gd name="connsiteY10" fmla="*/ 2709 h 74071"/>
                  <a:gd name="connsiteX11" fmla="*/ 103882 w 131884"/>
                  <a:gd name="connsiteY11" fmla="*/ 13550 h 74071"/>
                  <a:gd name="connsiteX12" fmla="*/ 109302 w 131884"/>
                  <a:gd name="connsiteY12" fmla="*/ 16259 h 74071"/>
                  <a:gd name="connsiteX13" fmla="*/ 131885 w 131884"/>
                  <a:gd name="connsiteY13" fmla="*/ 21680 h 74071"/>
                  <a:gd name="connsiteX14" fmla="*/ 123755 w 131884"/>
                  <a:gd name="connsiteY14" fmla="*/ 23486 h 7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884" h="74071">
                    <a:moveTo>
                      <a:pt x="123755" y="23486"/>
                    </a:moveTo>
                    <a:cubicBezTo>
                      <a:pt x="94849" y="28906"/>
                      <a:pt x="72266" y="48780"/>
                      <a:pt x="60523" y="74072"/>
                    </a:cubicBezTo>
                    <a:lnTo>
                      <a:pt x="0" y="74072"/>
                    </a:lnTo>
                    <a:lnTo>
                      <a:pt x="0" y="63233"/>
                    </a:lnTo>
                    <a:cubicBezTo>
                      <a:pt x="0" y="46069"/>
                      <a:pt x="11743" y="29809"/>
                      <a:pt x="31616" y="27100"/>
                    </a:cubicBezTo>
                    <a:lnTo>
                      <a:pt x="68652" y="18970"/>
                    </a:lnTo>
                    <a:cubicBezTo>
                      <a:pt x="74072" y="16259"/>
                      <a:pt x="80396" y="10839"/>
                      <a:pt x="80396" y="5420"/>
                    </a:cubicBezTo>
                    <a:lnTo>
                      <a:pt x="80396" y="0"/>
                    </a:lnTo>
                    <a:cubicBezTo>
                      <a:pt x="83106" y="0"/>
                      <a:pt x="85816" y="0"/>
                      <a:pt x="89429" y="0"/>
                    </a:cubicBezTo>
                    <a:cubicBezTo>
                      <a:pt x="93042" y="0"/>
                      <a:pt x="94849" y="0"/>
                      <a:pt x="98462" y="0"/>
                    </a:cubicBezTo>
                    <a:lnTo>
                      <a:pt x="98462" y="2709"/>
                    </a:lnTo>
                    <a:cubicBezTo>
                      <a:pt x="98462" y="8130"/>
                      <a:pt x="101172" y="10839"/>
                      <a:pt x="103882" y="13550"/>
                    </a:cubicBezTo>
                    <a:cubicBezTo>
                      <a:pt x="106592" y="13550"/>
                      <a:pt x="106592" y="16259"/>
                      <a:pt x="109302" y="16259"/>
                    </a:cubicBezTo>
                    <a:lnTo>
                      <a:pt x="131885" y="21680"/>
                    </a:lnTo>
                    <a:lnTo>
                      <a:pt x="123755" y="2348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8" name="Freeform 97">
                <a:extLst>
                  <a:ext uri="{FF2B5EF4-FFF2-40B4-BE49-F238E27FC236}">
                    <a16:creationId xmlns:a16="http://schemas.microsoft.com/office/drawing/2014/main" id="{6AB6600E-7D82-1048-8F16-AF2A122834A6}"/>
                  </a:ext>
                </a:extLst>
              </p:cNvPr>
              <p:cNvSpPr/>
              <p:nvPr/>
            </p:nvSpPr>
            <p:spPr>
              <a:xfrm>
                <a:off x="7640607" y="5647412"/>
                <a:ext cx="132788" cy="75879"/>
              </a:xfrm>
              <a:custGeom>
                <a:avLst/>
                <a:gdLst>
                  <a:gd name="connsiteX0" fmla="*/ 132788 w 132788"/>
                  <a:gd name="connsiteY0" fmla="*/ 75879 h 75879"/>
                  <a:gd name="connsiteX1" fmla="*/ 72266 w 132788"/>
                  <a:gd name="connsiteY1" fmla="*/ 75879 h 75879"/>
                  <a:gd name="connsiteX2" fmla="*/ 9033 w 132788"/>
                  <a:gd name="connsiteY2" fmla="*/ 27100 h 75879"/>
                  <a:gd name="connsiteX3" fmla="*/ 0 w 132788"/>
                  <a:gd name="connsiteY3" fmla="*/ 24390 h 75879"/>
                  <a:gd name="connsiteX4" fmla="*/ 22583 w 132788"/>
                  <a:gd name="connsiteY4" fmla="*/ 18971 h 75879"/>
                  <a:gd name="connsiteX5" fmla="*/ 28003 w 132788"/>
                  <a:gd name="connsiteY5" fmla="*/ 16260 h 75879"/>
                  <a:gd name="connsiteX6" fmla="*/ 33423 w 132788"/>
                  <a:gd name="connsiteY6" fmla="*/ 5421 h 75879"/>
                  <a:gd name="connsiteX7" fmla="*/ 33423 w 132788"/>
                  <a:gd name="connsiteY7" fmla="*/ 0 h 75879"/>
                  <a:gd name="connsiteX8" fmla="*/ 42456 w 132788"/>
                  <a:gd name="connsiteY8" fmla="*/ 0 h 75879"/>
                  <a:gd name="connsiteX9" fmla="*/ 51489 w 132788"/>
                  <a:gd name="connsiteY9" fmla="*/ 0 h 75879"/>
                  <a:gd name="connsiteX10" fmla="*/ 51489 w 132788"/>
                  <a:gd name="connsiteY10" fmla="*/ 5421 h 75879"/>
                  <a:gd name="connsiteX11" fmla="*/ 63233 w 132788"/>
                  <a:gd name="connsiteY11" fmla="*/ 18971 h 75879"/>
                  <a:gd name="connsiteX12" fmla="*/ 100269 w 132788"/>
                  <a:gd name="connsiteY12" fmla="*/ 27100 h 75879"/>
                  <a:gd name="connsiteX13" fmla="*/ 131885 w 132788"/>
                  <a:gd name="connsiteY13" fmla="*/ 62329 h 75879"/>
                  <a:gd name="connsiteX14" fmla="*/ 131885 w 132788"/>
                  <a:gd name="connsiteY14" fmla="*/ 75879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788" h="75879">
                    <a:moveTo>
                      <a:pt x="132788" y="75879"/>
                    </a:moveTo>
                    <a:lnTo>
                      <a:pt x="72266" y="75879"/>
                    </a:lnTo>
                    <a:cubicBezTo>
                      <a:pt x="60523" y="51490"/>
                      <a:pt x="37940" y="32520"/>
                      <a:pt x="9033" y="27100"/>
                    </a:cubicBezTo>
                    <a:lnTo>
                      <a:pt x="0" y="24390"/>
                    </a:lnTo>
                    <a:lnTo>
                      <a:pt x="22583" y="18971"/>
                    </a:lnTo>
                    <a:cubicBezTo>
                      <a:pt x="25293" y="18971"/>
                      <a:pt x="25293" y="18971"/>
                      <a:pt x="28003" y="16260"/>
                    </a:cubicBezTo>
                    <a:cubicBezTo>
                      <a:pt x="33423" y="13550"/>
                      <a:pt x="33423" y="8130"/>
                      <a:pt x="33423" y="5421"/>
                    </a:cubicBezTo>
                    <a:lnTo>
                      <a:pt x="33423" y="0"/>
                    </a:lnTo>
                    <a:cubicBezTo>
                      <a:pt x="36133" y="0"/>
                      <a:pt x="38843" y="0"/>
                      <a:pt x="42456" y="0"/>
                    </a:cubicBezTo>
                    <a:cubicBezTo>
                      <a:pt x="45166" y="0"/>
                      <a:pt x="47876" y="0"/>
                      <a:pt x="51489" y="0"/>
                    </a:cubicBezTo>
                    <a:lnTo>
                      <a:pt x="51489" y="5421"/>
                    </a:lnTo>
                    <a:cubicBezTo>
                      <a:pt x="51489" y="10841"/>
                      <a:pt x="56909" y="16260"/>
                      <a:pt x="63233" y="18971"/>
                    </a:cubicBezTo>
                    <a:lnTo>
                      <a:pt x="100269" y="27100"/>
                    </a:lnTo>
                    <a:cubicBezTo>
                      <a:pt x="117432" y="29810"/>
                      <a:pt x="131885" y="46070"/>
                      <a:pt x="131885" y="62329"/>
                    </a:cubicBezTo>
                    <a:lnTo>
                      <a:pt x="131885" y="75879"/>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87" name="Graphic 2">
              <a:extLst>
                <a:ext uri="{FF2B5EF4-FFF2-40B4-BE49-F238E27FC236}">
                  <a16:creationId xmlns:a16="http://schemas.microsoft.com/office/drawing/2014/main" id="{E57F3D64-0EBA-E14A-DED6-2513710802A9}"/>
                </a:ext>
              </a:extLst>
            </p:cNvPr>
            <p:cNvGrpSpPr/>
            <p:nvPr/>
          </p:nvGrpSpPr>
          <p:grpSpPr>
            <a:xfrm>
              <a:off x="7190753" y="5365577"/>
              <a:ext cx="745522" cy="754273"/>
              <a:chOff x="7190753" y="5365577"/>
              <a:chExt cx="745522" cy="754273"/>
            </a:xfrm>
            <a:grpFill/>
          </p:grpSpPr>
          <p:sp>
            <p:nvSpPr>
              <p:cNvPr id="88" name="Freeform 87">
                <a:extLst>
                  <a:ext uri="{FF2B5EF4-FFF2-40B4-BE49-F238E27FC236}">
                    <a16:creationId xmlns:a16="http://schemas.microsoft.com/office/drawing/2014/main" id="{29DDC427-6ED9-8FD5-5C3E-F36C8735D9E8}"/>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7">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9" name="Freeform 88">
                <a:extLst>
                  <a:ext uri="{FF2B5EF4-FFF2-40B4-BE49-F238E27FC236}">
                    <a16:creationId xmlns:a16="http://schemas.microsoft.com/office/drawing/2014/main" id="{7024CCE2-3584-22F9-E35E-5EDB1919503F}"/>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0" name="Freeform 89">
                <a:extLst>
                  <a:ext uri="{FF2B5EF4-FFF2-40B4-BE49-F238E27FC236}">
                    <a16:creationId xmlns:a16="http://schemas.microsoft.com/office/drawing/2014/main" id="{CABDE747-A1FB-EB1B-0A4C-06696183A8A9}"/>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1">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1" name="Freeform 90">
                <a:extLst>
                  <a:ext uri="{FF2B5EF4-FFF2-40B4-BE49-F238E27FC236}">
                    <a16:creationId xmlns:a16="http://schemas.microsoft.com/office/drawing/2014/main" id="{7BA79BE7-F808-C163-BAAE-F1FC5194A5BE}"/>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2" name="Freeform 91">
                <a:extLst>
                  <a:ext uri="{FF2B5EF4-FFF2-40B4-BE49-F238E27FC236}">
                    <a16:creationId xmlns:a16="http://schemas.microsoft.com/office/drawing/2014/main" id="{C648CE51-B36B-DC9A-3658-68E9FB4451BC}"/>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3" name="Freeform 92">
                <a:extLst>
                  <a:ext uri="{FF2B5EF4-FFF2-40B4-BE49-F238E27FC236}">
                    <a16:creationId xmlns:a16="http://schemas.microsoft.com/office/drawing/2014/main" id="{AE51240B-9764-1E00-458A-F73A4B330BA5}"/>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4" name="Freeform 93">
                <a:extLst>
                  <a:ext uri="{FF2B5EF4-FFF2-40B4-BE49-F238E27FC236}">
                    <a16:creationId xmlns:a16="http://schemas.microsoft.com/office/drawing/2014/main" id="{5E37E4EE-07A2-605B-2C31-A6F8AD5B2381}"/>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5" name="Freeform 94">
                <a:extLst>
                  <a:ext uri="{FF2B5EF4-FFF2-40B4-BE49-F238E27FC236}">
                    <a16:creationId xmlns:a16="http://schemas.microsoft.com/office/drawing/2014/main" id="{7BB3CB9C-1BB8-8300-5814-902E778922AF}"/>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6" name="Freeform 95">
                <a:extLst>
                  <a:ext uri="{FF2B5EF4-FFF2-40B4-BE49-F238E27FC236}">
                    <a16:creationId xmlns:a16="http://schemas.microsoft.com/office/drawing/2014/main" id="{40A4E8AA-F262-42A9-372E-2479DDFE691B}"/>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2" name="Group 1">
            <a:extLst>
              <a:ext uri="{FF2B5EF4-FFF2-40B4-BE49-F238E27FC236}">
                <a16:creationId xmlns:a16="http://schemas.microsoft.com/office/drawing/2014/main" id="{F3616EEE-7724-B313-0A33-0CE0E6DF6B54}"/>
              </a:ext>
            </a:extLst>
          </p:cNvPr>
          <p:cNvGrpSpPr/>
          <p:nvPr/>
        </p:nvGrpSpPr>
        <p:grpSpPr>
          <a:xfrm>
            <a:off x="5447500" y="2015657"/>
            <a:ext cx="5886600" cy="3826716"/>
            <a:chOff x="5447500" y="2015657"/>
            <a:chExt cx="5886600" cy="3826716"/>
          </a:xfrm>
        </p:grpSpPr>
        <p:cxnSp>
          <p:nvCxnSpPr>
            <p:cNvPr id="99" name="Straight Connector 21">
              <a:extLst>
                <a:ext uri="{FF2B5EF4-FFF2-40B4-BE49-F238E27FC236}">
                  <a16:creationId xmlns:a16="http://schemas.microsoft.com/office/drawing/2014/main" id="{E097A8D9-BA93-945B-BF6C-7F3FE7032FE8}"/>
                </a:ext>
              </a:extLst>
            </p:cNvPr>
            <p:cNvCxnSpPr/>
            <p:nvPr/>
          </p:nvCxnSpPr>
          <p:spPr>
            <a:xfrm>
              <a:off x="6693995" y="3822443"/>
              <a:ext cx="1346117" cy="4370"/>
            </a:xfrm>
            <a:prstGeom prst="line">
              <a:avLst/>
            </a:prstGeom>
            <a:ln w="38100">
              <a:solidFill>
                <a:srgbClr val="245473"/>
              </a:solidFill>
              <a:headEnd type="oval"/>
            </a:ln>
          </p:spPr>
          <p:style>
            <a:lnRef idx="1">
              <a:schemeClr val="accent1"/>
            </a:lnRef>
            <a:fillRef idx="0">
              <a:schemeClr val="accent1"/>
            </a:fillRef>
            <a:effectRef idx="0">
              <a:schemeClr val="accent1"/>
            </a:effectRef>
            <a:fontRef idx="minor">
              <a:schemeClr val="tx1"/>
            </a:fontRef>
          </p:style>
        </p:cxnSp>
        <p:cxnSp>
          <p:nvCxnSpPr>
            <p:cNvPr id="100" name="Straight Connector 25">
              <a:extLst>
                <a:ext uri="{FF2B5EF4-FFF2-40B4-BE49-F238E27FC236}">
                  <a16:creationId xmlns:a16="http://schemas.microsoft.com/office/drawing/2014/main" id="{E5393A7E-5C77-DF17-14BE-D20D4520A849}"/>
                </a:ext>
              </a:extLst>
            </p:cNvPr>
            <p:cNvCxnSpPr/>
            <p:nvPr/>
          </p:nvCxnSpPr>
          <p:spPr>
            <a:xfrm flipH="1">
              <a:off x="9040674" y="3646969"/>
              <a:ext cx="1343509" cy="5866"/>
            </a:xfrm>
            <a:prstGeom prst="line">
              <a:avLst/>
            </a:prstGeom>
            <a:ln w="38100">
              <a:solidFill>
                <a:srgbClr val="7F1C58"/>
              </a:solidFill>
              <a:headEnd type="oval"/>
            </a:ln>
          </p:spPr>
          <p:style>
            <a:lnRef idx="1">
              <a:schemeClr val="accent1"/>
            </a:lnRef>
            <a:fillRef idx="0">
              <a:schemeClr val="accent1"/>
            </a:fillRef>
            <a:effectRef idx="0">
              <a:schemeClr val="accent1"/>
            </a:effectRef>
            <a:fontRef idx="minor">
              <a:schemeClr val="tx1"/>
            </a:fontRef>
          </p:style>
        </p:cxnSp>
        <p:sp>
          <p:nvSpPr>
            <p:cNvPr id="101" name="Shape 23">
              <a:extLst>
                <a:ext uri="{FF2B5EF4-FFF2-40B4-BE49-F238E27FC236}">
                  <a16:creationId xmlns:a16="http://schemas.microsoft.com/office/drawing/2014/main" id="{D9493DFD-09F6-9E4C-6CFE-700A3BF66824}"/>
                </a:ext>
              </a:extLst>
            </p:cNvPr>
            <p:cNvSpPr/>
            <p:nvPr/>
          </p:nvSpPr>
          <p:spPr>
            <a:xfrm>
              <a:off x="9005664" y="2409200"/>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245473"/>
              </a:solidFill>
              <a:prstDash val="solid"/>
              <a:miter lim="400000"/>
              <a:tailEnd type="oval"/>
            </a:ln>
            <a:effectLst/>
          </p:spPr>
          <p:txBody>
            <a:bodyPr wrap="square" lIns="38100" tIns="38100" rIns="38100" bIns="38100" numCol="1" anchor="ctr">
              <a:noAutofit/>
            </a:bodyPr>
            <a:lstStyle/>
            <a:p>
              <a:pPr lvl="0"/>
              <a:endParaRPr lang="en-GB" sz="1600">
                <a:latin typeface="+mj-lt"/>
              </a:endParaRPr>
            </a:p>
          </p:txBody>
        </p:sp>
        <p:sp>
          <p:nvSpPr>
            <p:cNvPr id="102" name="Shape 24">
              <a:extLst>
                <a:ext uri="{FF2B5EF4-FFF2-40B4-BE49-F238E27FC236}">
                  <a16:creationId xmlns:a16="http://schemas.microsoft.com/office/drawing/2014/main" id="{FC0DC615-4508-19F3-4913-D654DB94F799}"/>
                </a:ext>
              </a:extLst>
            </p:cNvPr>
            <p:cNvSpPr/>
            <p:nvPr/>
          </p:nvSpPr>
          <p:spPr>
            <a:xfrm rot="10800000" flipH="1">
              <a:off x="9005664" y="4751534"/>
              <a:ext cx="1378518" cy="18595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914" y="0"/>
                  </a:lnTo>
                  <a:lnTo>
                    <a:pt x="2160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a:latin typeface="+mj-lt"/>
              </a:endParaRPr>
            </a:p>
          </p:txBody>
        </p:sp>
        <p:sp>
          <p:nvSpPr>
            <p:cNvPr id="103" name="Shape 26">
              <a:extLst>
                <a:ext uri="{FF2B5EF4-FFF2-40B4-BE49-F238E27FC236}">
                  <a16:creationId xmlns:a16="http://schemas.microsoft.com/office/drawing/2014/main" id="{260B500D-5474-C867-D255-21A39E6B8225}"/>
                </a:ext>
              </a:extLst>
            </p:cNvPr>
            <p:cNvSpPr/>
            <p:nvPr/>
          </p:nvSpPr>
          <p:spPr>
            <a:xfrm>
              <a:off x="6749147" y="2409200"/>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8686" y="0"/>
                  </a:lnTo>
                  <a:lnTo>
                    <a:pt x="0" y="0"/>
                  </a:lnTo>
                </a:path>
              </a:pathLst>
            </a:custGeom>
            <a:noFill/>
            <a:ln w="38100" cap="flat">
              <a:solidFill>
                <a:srgbClr val="B41F7A"/>
              </a:solidFill>
              <a:prstDash val="solid"/>
              <a:miter lim="400000"/>
              <a:tailEnd type="oval"/>
            </a:ln>
            <a:effectLst/>
          </p:spPr>
          <p:txBody>
            <a:bodyPr wrap="square" lIns="38100" tIns="38100" rIns="38100" bIns="38100" numCol="1" anchor="ctr">
              <a:noAutofit/>
            </a:bodyPr>
            <a:lstStyle/>
            <a:p>
              <a:pPr lvl="0"/>
              <a:endParaRPr lang="en-GB" sz="1600">
                <a:latin typeface="+mj-lt"/>
              </a:endParaRPr>
            </a:p>
          </p:txBody>
        </p:sp>
        <p:sp>
          <p:nvSpPr>
            <p:cNvPr id="104" name="Shape 27">
              <a:extLst>
                <a:ext uri="{FF2B5EF4-FFF2-40B4-BE49-F238E27FC236}">
                  <a16:creationId xmlns:a16="http://schemas.microsoft.com/office/drawing/2014/main" id="{C6126BC1-B3EE-55BC-BCEC-F938BC431F56}"/>
                </a:ext>
              </a:extLst>
            </p:cNvPr>
            <p:cNvSpPr/>
            <p:nvPr/>
          </p:nvSpPr>
          <p:spPr>
            <a:xfrm>
              <a:off x="6749147" y="4751534"/>
              <a:ext cx="1378517" cy="18595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EDA13E"/>
              </a:solidFill>
              <a:prstDash val="solid"/>
              <a:miter lim="400000"/>
              <a:tailEnd type="oval"/>
            </a:ln>
            <a:effectLst/>
          </p:spPr>
          <p:txBody>
            <a:bodyPr wrap="square" lIns="38100" tIns="38100" rIns="38100" bIns="38100" numCol="1" anchor="ctr">
              <a:noAutofit/>
            </a:bodyPr>
            <a:lstStyle/>
            <a:p>
              <a:pPr lvl="0"/>
              <a:endParaRPr lang="en-GB" sz="1600">
                <a:latin typeface="+mj-lt"/>
              </a:endParaRPr>
            </a:p>
          </p:txBody>
        </p:sp>
        <p:sp>
          <p:nvSpPr>
            <p:cNvPr id="105" name="Shape 6">
              <a:extLst>
                <a:ext uri="{FF2B5EF4-FFF2-40B4-BE49-F238E27FC236}">
                  <a16:creationId xmlns:a16="http://schemas.microsoft.com/office/drawing/2014/main" id="{A2338C70-815F-C544-BDD1-9997E25BA547}"/>
                </a:ext>
              </a:extLst>
            </p:cNvPr>
            <p:cNvSpPr/>
            <p:nvPr/>
          </p:nvSpPr>
          <p:spPr>
            <a:xfrm>
              <a:off x="7132126" y="2015657"/>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10802"/>
                  </a:lnTo>
                  <a:lnTo>
                    <a:pt x="21600" y="21600"/>
                  </a:lnTo>
                  <a:lnTo>
                    <a:pt x="21600" y="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a:latin typeface="+mj-lt"/>
              </a:endParaRPr>
            </a:p>
          </p:txBody>
        </p:sp>
        <p:sp>
          <p:nvSpPr>
            <p:cNvPr id="106" name="Shape 7">
              <a:extLst>
                <a:ext uri="{FF2B5EF4-FFF2-40B4-BE49-F238E27FC236}">
                  <a16:creationId xmlns:a16="http://schemas.microsoft.com/office/drawing/2014/main" id="{DC11393E-D3F3-233F-147D-B11D8CF5C85A}"/>
                </a:ext>
              </a:extLst>
            </p:cNvPr>
            <p:cNvSpPr/>
            <p:nvPr/>
          </p:nvSpPr>
          <p:spPr>
            <a:xfrm>
              <a:off x="7135626"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 y="21600"/>
                  </a:lnTo>
                  <a:lnTo>
                    <a:pt x="21600" y="10801"/>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a:latin typeface="+mj-lt"/>
              </a:endParaRPr>
            </a:p>
          </p:txBody>
        </p:sp>
        <p:sp>
          <p:nvSpPr>
            <p:cNvPr id="107" name="Shape 8">
              <a:extLst>
                <a:ext uri="{FF2B5EF4-FFF2-40B4-BE49-F238E27FC236}">
                  <a16:creationId xmlns:a16="http://schemas.microsoft.com/office/drawing/2014/main" id="{0262A2E2-E32D-48B1-2230-4093EBF8C5F1}"/>
                </a:ext>
              </a:extLst>
            </p:cNvPr>
            <p:cNvSpPr/>
            <p:nvPr/>
          </p:nvSpPr>
          <p:spPr>
            <a:xfrm>
              <a:off x="7132126" y="3650044"/>
              <a:ext cx="1422996" cy="164341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0798"/>
                  </a:lnTo>
                  <a:lnTo>
                    <a:pt x="21600" y="0"/>
                  </a:lnTo>
                  <a:lnTo>
                    <a:pt x="21600" y="21600"/>
                  </a:lnTo>
                  <a:close/>
                </a:path>
              </a:pathLst>
            </a:custGeom>
            <a:solidFill>
              <a:srgbClr val="EDA13E"/>
            </a:solidFill>
            <a:ln w="12700" cap="flat">
              <a:noFill/>
              <a:miter lim="400000"/>
            </a:ln>
            <a:effectLst/>
          </p:spPr>
          <p:txBody>
            <a:bodyPr wrap="square" lIns="0" tIns="0" rIns="0" bIns="0" numCol="1" anchor="t">
              <a:noAutofit/>
            </a:bodyPr>
            <a:lstStyle/>
            <a:p>
              <a:pPr lvl="0"/>
              <a:endParaRPr lang="en-GB" sz="1600">
                <a:latin typeface="+mj-lt"/>
              </a:endParaRPr>
            </a:p>
          </p:txBody>
        </p:sp>
        <p:sp>
          <p:nvSpPr>
            <p:cNvPr id="108" name="Shape 9">
              <a:extLst>
                <a:ext uri="{FF2B5EF4-FFF2-40B4-BE49-F238E27FC236}">
                  <a16:creationId xmlns:a16="http://schemas.microsoft.com/office/drawing/2014/main" id="{20B2D86F-8CC9-1943-0964-B23BDAB8C58E}"/>
                </a:ext>
              </a:extLst>
            </p:cNvPr>
            <p:cNvSpPr/>
            <p:nvPr/>
          </p:nvSpPr>
          <p:spPr>
            <a:xfrm>
              <a:off x="8558869" y="2015657"/>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0802"/>
                  </a:lnTo>
                  <a:lnTo>
                    <a:pt x="0" y="21600"/>
                  </a:lnTo>
                  <a:lnTo>
                    <a:pt x="0" y="0"/>
                  </a:lnTo>
                  <a:close/>
                </a:path>
              </a:pathLst>
            </a:custGeom>
            <a:solidFill>
              <a:srgbClr val="245473"/>
            </a:solidFill>
            <a:ln w="12700" cap="flat">
              <a:noFill/>
              <a:miter lim="400000"/>
            </a:ln>
            <a:effectLst/>
          </p:spPr>
          <p:txBody>
            <a:bodyPr wrap="square" lIns="0" tIns="0" rIns="0" bIns="0" numCol="1" anchor="t">
              <a:noAutofit/>
            </a:bodyPr>
            <a:lstStyle/>
            <a:p>
              <a:pPr lvl="0"/>
              <a:endParaRPr lang="en-GB" sz="1600">
                <a:latin typeface="+mj-lt"/>
              </a:endParaRPr>
            </a:p>
          </p:txBody>
        </p:sp>
        <p:sp>
          <p:nvSpPr>
            <p:cNvPr id="109" name="Shape 10">
              <a:extLst>
                <a:ext uri="{FF2B5EF4-FFF2-40B4-BE49-F238E27FC236}">
                  <a16:creationId xmlns:a16="http://schemas.microsoft.com/office/drawing/2014/main" id="{38CED5F9-4260-12D4-3C1A-546EBEC51810}"/>
                </a:ext>
              </a:extLst>
            </p:cNvPr>
            <p:cNvSpPr/>
            <p:nvPr/>
          </p:nvSpPr>
          <p:spPr>
            <a:xfrm>
              <a:off x="8555122" y="2831197"/>
              <a:ext cx="1423242" cy="16432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596" y="21600"/>
                  </a:lnTo>
                  <a:lnTo>
                    <a:pt x="0" y="10801"/>
                  </a:lnTo>
                  <a:lnTo>
                    <a:pt x="21600" y="0"/>
                  </a:lnTo>
                  <a:close/>
                </a:path>
              </a:pathLst>
            </a:custGeom>
            <a:solidFill>
              <a:srgbClr val="7F1C58"/>
            </a:solidFill>
            <a:ln w="12700" cap="flat">
              <a:noFill/>
              <a:miter lim="400000"/>
            </a:ln>
            <a:effectLst/>
          </p:spPr>
          <p:txBody>
            <a:bodyPr wrap="square" lIns="0" tIns="0" rIns="0" bIns="0" numCol="1" anchor="t">
              <a:noAutofit/>
            </a:bodyPr>
            <a:lstStyle/>
            <a:p>
              <a:pPr lvl="0"/>
              <a:endParaRPr lang="en-GB" sz="1600">
                <a:latin typeface="+mj-lt"/>
              </a:endParaRPr>
            </a:p>
          </p:txBody>
        </p:sp>
        <p:sp>
          <p:nvSpPr>
            <p:cNvPr id="110" name="Shape 11">
              <a:extLst>
                <a:ext uri="{FF2B5EF4-FFF2-40B4-BE49-F238E27FC236}">
                  <a16:creationId xmlns:a16="http://schemas.microsoft.com/office/drawing/2014/main" id="{B551EE73-5EC5-4B0E-0337-B11D13662282}"/>
                </a:ext>
              </a:extLst>
            </p:cNvPr>
            <p:cNvSpPr/>
            <p:nvPr/>
          </p:nvSpPr>
          <p:spPr>
            <a:xfrm>
              <a:off x="8558869" y="3650044"/>
              <a:ext cx="1422997" cy="16434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0798"/>
                  </a:lnTo>
                  <a:lnTo>
                    <a:pt x="0" y="0"/>
                  </a:lnTo>
                  <a:lnTo>
                    <a:pt x="0" y="21600"/>
                  </a:lnTo>
                  <a:close/>
                </a:path>
              </a:pathLst>
            </a:custGeom>
            <a:solidFill>
              <a:srgbClr val="B41F7A"/>
            </a:solidFill>
            <a:ln w="12700" cap="flat">
              <a:noFill/>
              <a:miter lim="400000"/>
            </a:ln>
            <a:effectLst/>
          </p:spPr>
          <p:txBody>
            <a:bodyPr wrap="square" lIns="0" tIns="0" rIns="0" bIns="0" numCol="1" anchor="t">
              <a:noAutofit/>
            </a:bodyPr>
            <a:lstStyle/>
            <a:p>
              <a:pPr lvl="0"/>
              <a:endParaRPr lang="en-GB" sz="1600">
                <a:latin typeface="+mj-lt"/>
              </a:endParaRPr>
            </a:p>
          </p:txBody>
        </p:sp>
        <p:sp>
          <p:nvSpPr>
            <p:cNvPr id="111" name="Shape 13">
              <a:extLst>
                <a:ext uri="{FF2B5EF4-FFF2-40B4-BE49-F238E27FC236}">
                  <a16:creationId xmlns:a16="http://schemas.microsoft.com/office/drawing/2014/main" id="{64587873-53E7-D65B-FB60-67B4D1312078}"/>
                </a:ext>
              </a:extLst>
            </p:cNvPr>
            <p:cNvSpPr/>
            <p:nvPr/>
          </p:nvSpPr>
          <p:spPr>
            <a:xfrm>
              <a:off x="7843500" y="2837366"/>
              <a:ext cx="1423242" cy="1643418"/>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5400"/>
                  </a:lnTo>
                  <a:lnTo>
                    <a:pt x="21600" y="16200"/>
                  </a:lnTo>
                  <a:lnTo>
                    <a:pt x="10800" y="21600"/>
                  </a:lnTo>
                  <a:lnTo>
                    <a:pt x="0" y="16200"/>
                  </a:lnTo>
                  <a:lnTo>
                    <a:pt x="0" y="5400"/>
                  </a:lnTo>
                  <a:close/>
                </a:path>
              </a:pathLst>
            </a:custGeom>
            <a:solidFill>
              <a:srgbClr val="FFFFFF">
                <a:alpha val="83000"/>
              </a:srgbClr>
            </a:solidFill>
            <a:ln w="12700" cap="flat">
              <a:noFill/>
              <a:miter lim="400000"/>
            </a:ln>
            <a:effectLst/>
          </p:spPr>
          <p:txBody>
            <a:bodyPr wrap="square" lIns="0" tIns="0" rIns="0" bIns="0" numCol="1" anchor="t">
              <a:noAutofit/>
            </a:bodyPr>
            <a:lstStyle/>
            <a:p>
              <a:pPr lvl="0"/>
              <a:endParaRPr lang="en-GB" sz="1600">
                <a:latin typeface="+mj-lt"/>
              </a:endParaRPr>
            </a:p>
          </p:txBody>
        </p:sp>
        <p:sp>
          <p:nvSpPr>
            <p:cNvPr id="113" name="TextBox 29">
              <a:extLst>
                <a:ext uri="{FF2B5EF4-FFF2-40B4-BE49-F238E27FC236}">
                  <a16:creationId xmlns:a16="http://schemas.microsoft.com/office/drawing/2014/main" id="{9E76CAD8-24A2-4663-3A4B-E084154786EA}"/>
                </a:ext>
              </a:extLst>
            </p:cNvPr>
            <p:cNvSpPr txBox="1"/>
            <p:nvPr/>
          </p:nvSpPr>
          <p:spPr>
            <a:xfrm>
              <a:off x="10513041" y="2246316"/>
              <a:ext cx="728084" cy="338554"/>
            </a:xfrm>
            <a:prstGeom prst="rect">
              <a:avLst/>
            </a:prstGeom>
            <a:noFill/>
          </p:spPr>
          <p:txBody>
            <a:bodyPr wrap="none" rtlCol="0" anchor="t" anchorCtr="0">
              <a:spAutoFit/>
            </a:bodyPr>
            <a:lstStyle/>
            <a:p>
              <a:r>
                <a:rPr lang="en-GB" sz="1600" b="1">
                  <a:solidFill>
                    <a:srgbClr val="245473"/>
                  </a:solidFill>
                  <a:ea typeface="League Spartan" charset="0"/>
                  <a:cs typeface="Poppins" pitchFamily="2" charset="77"/>
                </a:rPr>
                <a:t>Medios de comunicación</a:t>
              </a:r>
            </a:p>
          </p:txBody>
        </p:sp>
        <p:sp>
          <p:nvSpPr>
            <p:cNvPr id="115" name="TextBox 31">
              <a:extLst>
                <a:ext uri="{FF2B5EF4-FFF2-40B4-BE49-F238E27FC236}">
                  <a16:creationId xmlns:a16="http://schemas.microsoft.com/office/drawing/2014/main" id="{605B58D5-7415-7AF9-23ED-070DFD4E6161}"/>
                </a:ext>
              </a:extLst>
            </p:cNvPr>
            <p:cNvSpPr txBox="1"/>
            <p:nvPr/>
          </p:nvSpPr>
          <p:spPr>
            <a:xfrm>
              <a:off x="10513041" y="3455088"/>
              <a:ext cx="821059" cy="338554"/>
            </a:xfrm>
            <a:prstGeom prst="rect">
              <a:avLst/>
            </a:prstGeom>
            <a:noFill/>
          </p:spPr>
          <p:txBody>
            <a:bodyPr wrap="none" rtlCol="0" anchor="t" anchorCtr="0">
              <a:spAutoFit/>
            </a:bodyPr>
            <a:lstStyle/>
            <a:p>
              <a:r>
                <a:rPr lang="en-GB" sz="1600" b="1">
                  <a:solidFill>
                    <a:srgbClr val="7F1C58"/>
                  </a:solidFill>
                  <a:ea typeface="League Spartan" charset="0"/>
                  <a:cs typeface="Poppins" pitchFamily="2" charset="77"/>
                </a:rPr>
                <a:t>Ciencia</a:t>
              </a:r>
            </a:p>
          </p:txBody>
        </p:sp>
        <p:sp>
          <p:nvSpPr>
            <p:cNvPr id="117" name="TextBox 33">
              <a:extLst>
                <a:ext uri="{FF2B5EF4-FFF2-40B4-BE49-F238E27FC236}">
                  <a16:creationId xmlns:a16="http://schemas.microsoft.com/office/drawing/2014/main" id="{5117FA5C-C3A2-05EF-BE6A-803B1E866F43}"/>
                </a:ext>
              </a:extLst>
            </p:cNvPr>
            <p:cNvSpPr txBox="1"/>
            <p:nvPr/>
          </p:nvSpPr>
          <p:spPr>
            <a:xfrm>
              <a:off x="10496877" y="4791016"/>
              <a:ext cx="788870" cy="338554"/>
            </a:xfrm>
            <a:prstGeom prst="rect">
              <a:avLst/>
            </a:prstGeom>
            <a:noFill/>
          </p:spPr>
          <p:txBody>
            <a:bodyPr wrap="none" rtlCol="0" anchor="t" anchorCtr="0">
              <a:spAutoFit/>
            </a:bodyPr>
            <a:lstStyle/>
            <a:p>
              <a:r>
                <a:rPr lang="en-GB" sz="1600" b="1">
                  <a:solidFill>
                    <a:srgbClr val="B41F7A"/>
                  </a:solidFill>
                  <a:ea typeface="League Spartan" charset="0"/>
                  <a:cs typeface="Poppins" pitchFamily="2" charset="77"/>
                </a:rPr>
                <a:t>Política</a:t>
              </a:r>
            </a:p>
          </p:txBody>
        </p:sp>
        <p:sp>
          <p:nvSpPr>
            <p:cNvPr id="119" name="TextBox 118">
              <a:extLst>
                <a:ext uri="{FF2B5EF4-FFF2-40B4-BE49-F238E27FC236}">
                  <a16:creationId xmlns:a16="http://schemas.microsoft.com/office/drawing/2014/main" id="{FCD597D7-0E0C-9E5C-74B8-E3A3AC1C9E6D}"/>
                </a:ext>
              </a:extLst>
            </p:cNvPr>
            <p:cNvSpPr txBox="1"/>
            <p:nvPr/>
          </p:nvSpPr>
          <p:spPr>
            <a:xfrm>
              <a:off x="5489739" y="2170320"/>
              <a:ext cx="798808" cy="338554"/>
            </a:xfrm>
            <a:prstGeom prst="rect">
              <a:avLst/>
            </a:prstGeom>
            <a:noFill/>
          </p:spPr>
          <p:txBody>
            <a:bodyPr wrap="none" rtlCol="0" anchor="t" anchorCtr="0">
              <a:spAutoFit/>
            </a:bodyPr>
            <a:lstStyle/>
            <a:p>
              <a:pPr algn="r"/>
              <a:r>
                <a:rPr lang="en-GB" sz="1600" b="1">
                  <a:solidFill>
                    <a:srgbClr val="B41F7A"/>
                  </a:solidFill>
                  <a:ea typeface="League Spartan" charset="0"/>
                  <a:cs typeface="Poppins" pitchFamily="2" charset="77"/>
                </a:rPr>
                <a:t>Sociedad</a:t>
              </a:r>
            </a:p>
          </p:txBody>
        </p:sp>
        <p:sp>
          <p:nvSpPr>
            <p:cNvPr id="121" name="TextBox 120">
              <a:extLst>
                <a:ext uri="{FF2B5EF4-FFF2-40B4-BE49-F238E27FC236}">
                  <a16:creationId xmlns:a16="http://schemas.microsoft.com/office/drawing/2014/main" id="{68499D3F-92D1-ACD1-351E-94FF23C805D1}"/>
                </a:ext>
              </a:extLst>
            </p:cNvPr>
            <p:cNvSpPr txBox="1"/>
            <p:nvPr/>
          </p:nvSpPr>
          <p:spPr>
            <a:xfrm>
              <a:off x="5483105" y="3651860"/>
              <a:ext cx="893386" cy="338554"/>
            </a:xfrm>
            <a:prstGeom prst="rect">
              <a:avLst/>
            </a:prstGeom>
            <a:noFill/>
          </p:spPr>
          <p:txBody>
            <a:bodyPr wrap="none" rtlCol="0" anchor="t" anchorCtr="0">
              <a:spAutoFit/>
            </a:bodyPr>
            <a:lstStyle/>
            <a:p>
              <a:pPr algn="r"/>
              <a:r>
                <a:rPr lang="en-GB" sz="1600" b="1">
                  <a:solidFill>
                    <a:srgbClr val="245473"/>
                  </a:solidFill>
                  <a:ea typeface="League Spartan" charset="0"/>
                  <a:cs typeface="Poppins" pitchFamily="2" charset="77"/>
                </a:rPr>
                <a:t>Industria</a:t>
              </a:r>
            </a:p>
          </p:txBody>
        </p:sp>
        <p:sp>
          <p:nvSpPr>
            <p:cNvPr id="123" name="TextBox 122">
              <a:extLst>
                <a:ext uri="{FF2B5EF4-FFF2-40B4-BE49-F238E27FC236}">
                  <a16:creationId xmlns:a16="http://schemas.microsoft.com/office/drawing/2014/main" id="{97B799D6-AA59-5876-5374-F3D64129E4B7}"/>
                </a:ext>
              </a:extLst>
            </p:cNvPr>
            <p:cNvSpPr txBox="1"/>
            <p:nvPr/>
          </p:nvSpPr>
          <p:spPr>
            <a:xfrm>
              <a:off x="5447500" y="4767685"/>
              <a:ext cx="1042978" cy="338554"/>
            </a:xfrm>
            <a:prstGeom prst="rect">
              <a:avLst/>
            </a:prstGeom>
            <a:noFill/>
          </p:spPr>
          <p:txBody>
            <a:bodyPr wrap="none" rtlCol="0" anchor="t" anchorCtr="0">
              <a:spAutoFit/>
            </a:bodyPr>
            <a:lstStyle/>
            <a:p>
              <a:pPr algn="r"/>
              <a:r>
                <a:rPr lang="en-GB" sz="1600" b="1">
                  <a:solidFill>
                    <a:srgbClr val="EDA13E"/>
                  </a:solidFill>
                  <a:ea typeface="League Spartan" charset="0"/>
                  <a:cs typeface="Poppins" pitchFamily="2" charset="77"/>
                </a:rPr>
                <a:t>Financieros</a:t>
              </a:r>
            </a:p>
          </p:txBody>
        </p:sp>
        <p:sp>
          <p:nvSpPr>
            <p:cNvPr id="124" name="Fünfeck 2">
              <a:extLst>
                <a:ext uri="{FF2B5EF4-FFF2-40B4-BE49-F238E27FC236}">
                  <a16:creationId xmlns:a16="http://schemas.microsoft.com/office/drawing/2014/main" id="{10266DC1-FECD-0DB1-E7CA-04CC894ED1A7}"/>
                </a:ext>
              </a:extLst>
            </p:cNvPr>
            <p:cNvSpPr/>
            <p:nvPr/>
          </p:nvSpPr>
          <p:spPr>
            <a:xfrm>
              <a:off x="8027303" y="3211700"/>
              <a:ext cx="1042444" cy="882269"/>
            </a:xfrm>
            <a:prstGeom prst="pentagon">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125" name="TextBox 29">
              <a:extLst>
                <a:ext uri="{FF2B5EF4-FFF2-40B4-BE49-F238E27FC236}">
                  <a16:creationId xmlns:a16="http://schemas.microsoft.com/office/drawing/2014/main" id="{283FCEDC-A23D-9622-5C19-22A964129890}"/>
                </a:ext>
              </a:extLst>
            </p:cNvPr>
            <p:cNvSpPr txBox="1"/>
            <p:nvPr/>
          </p:nvSpPr>
          <p:spPr>
            <a:xfrm>
              <a:off x="8030651" y="3491617"/>
              <a:ext cx="1077218" cy="338554"/>
            </a:xfrm>
            <a:prstGeom prst="rect">
              <a:avLst/>
            </a:prstGeom>
            <a:noFill/>
          </p:spPr>
          <p:txBody>
            <a:bodyPr wrap="none" rtlCol="0" anchor="t" anchorCtr="0">
              <a:spAutoFit/>
            </a:bodyPr>
            <a:lstStyle/>
            <a:p>
              <a:r>
                <a:rPr lang="en-GB" sz="1600" b="1">
                  <a:solidFill>
                    <a:schemeClr val="bg1"/>
                  </a:solidFill>
                  <a:latin typeface="+mj-lt"/>
                  <a:ea typeface="League Spartan" charset="0"/>
                  <a:cs typeface="Poppins" pitchFamily="2" charset="77"/>
                </a:rPr>
                <a:t>Empleados</a:t>
              </a:r>
            </a:p>
          </p:txBody>
        </p:sp>
        <p:sp>
          <p:nvSpPr>
            <p:cNvPr id="126" name="Shape 27">
              <a:extLst>
                <a:ext uri="{FF2B5EF4-FFF2-40B4-BE49-F238E27FC236}">
                  <a16:creationId xmlns:a16="http://schemas.microsoft.com/office/drawing/2014/main" id="{6DD2D7E0-E4C1-F352-B42A-C1005B25F0D9}"/>
                </a:ext>
              </a:extLst>
            </p:cNvPr>
            <p:cNvSpPr/>
            <p:nvPr/>
          </p:nvSpPr>
          <p:spPr>
            <a:xfrm>
              <a:off x="8407468" y="3884489"/>
              <a:ext cx="165570" cy="18081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18686" y="21600"/>
                  </a:lnTo>
                  <a:lnTo>
                    <a:pt x="0" y="21600"/>
                  </a:lnTo>
                </a:path>
              </a:pathLst>
            </a:custGeom>
            <a:noFill/>
            <a:ln w="38100" cap="flat">
              <a:solidFill>
                <a:srgbClr val="F16924"/>
              </a:solidFill>
              <a:prstDash val="solid"/>
              <a:miter lim="400000"/>
              <a:tailEnd type="oval"/>
            </a:ln>
            <a:effectLst/>
          </p:spPr>
          <p:txBody>
            <a:bodyPr wrap="square" lIns="38100" tIns="38100" rIns="38100" bIns="38100" numCol="1" anchor="ctr">
              <a:noAutofit/>
            </a:bodyPr>
            <a:lstStyle/>
            <a:p>
              <a:pPr lvl="0"/>
              <a:endParaRPr lang="en-GB" sz="1600">
                <a:latin typeface="+mj-lt"/>
              </a:endParaRPr>
            </a:p>
          </p:txBody>
        </p:sp>
        <p:sp>
          <p:nvSpPr>
            <p:cNvPr id="128" name="TextBox 40">
              <a:extLst>
                <a:ext uri="{FF2B5EF4-FFF2-40B4-BE49-F238E27FC236}">
                  <a16:creationId xmlns:a16="http://schemas.microsoft.com/office/drawing/2014/main" id="{CB170EFA-DEA5-57C7-35F9-5FB782EC5EC8}"/>
                </a:ext>
              </a:extLst>
            </p:cNvPr>
            <p:cNvSpPr txBox="1"/>
            <p:nvPr/>
          </p:nvSpPr>
          <p:spPr>
            <a:xfrm>
              <a:off x="7191324" y="5503819"/>
              <a:ext cx="1102867" cy="338554"/>
            </a:xfrm>
            <a:prstGeom prst="rect">
              <a:avLst/>
            </a:prstGeom>
            <a:noFill/>
          </p:spPr>
          <p:txBody>
            <a:bodyPr wrap="none" rtlCol="0" anchor="t" anchorCtr="0">
              <a:spAutoFit/>
            </a:bodyPr>
            <a:lstStyle/>
            <a:p>
              <a:pPr algn="r"/>
              <a:r>
                <a:rPr lang="en-GB" sz="1600" b="1">
                  <a:solidFill>
                    <a:srgbClr val="F16924"/>
                  </a:solidFill>
                  <a:ea typeface="League Spartan" charset="0"/>
                  <a:cs typeface="Poppins" pitchFamily="2" charset="77"/>
                </a:rPr>
                <a:t>Empleados</a:t>
              </a:r>
            </a:p>
          </p:txBody>
        </p:sp>
      </p:grpSp>
    </p:spTree>
    <p:extLst>
      <p:ext uri="{BB962C8B-B14F-4D97-AF65-F5344CB8AC3E}">
        <p14:creationId xmlns:p14="http://schemas.microsoft.com/office/powerpoint/2010/main" val="310203268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11A9AD-2D5B-A34E-9FC6-7EABDA526717}"/>
              </a:ext>
            </a:extLst>
          </p:cNvPr>
          <p:cNvSpPr>
            <a:spLocks noGrp="1"/>
          </p:cNvSpPr>
          <p:nvPr>
            <p:ph type="body" sz="quarter" idx="14"/>
          </p:nvPr>
        </p:nvSpPr>
        <p:spPr/>
        <p:txBody>
          <a:bodyPr/>
          <a:lstStyle/>
          <a:p>
            <a:r>
              <a:rPr lang="en-US" sz="2400">
                <a:effectLst/>
                <a:latin typeface="Calibri" panose="020F0502020204030204" pitchFamily="34" charset="0"/>
                <a:ea typeface="Calibri" panose="020F0502020204030204" pitchFamily="34" charset="0"/>
                <a:cs typeface="Calibri" panose="020F0502020204030204" pitchFamily="34" charset="0"/>
              </a:rPr>
              <a:t>¿Qué es una crisis empresarial?</a:t>
            </a:r>
            <a:endParaRPr lang="en-US"/>
          </a:p>
        </p:txBody>
      </p:sp>
      <p:sp>
        <p:nvSpPr>
          <p:cNvPr id="19" name="Text Placeholder 18">
            <a:extLst>
              <a:ext uri="{FF2B5EF4-FFF2-40B4-BE49-F238E27FC236}">
                <a16:creationId xmlns:a16="http://schemas.microsoft.com/office/drawing/2014/main" id="{15572CB1-27BF-DE4B-A1AF-F6112200952C}"/>
              </a:ext>
            </a:extLst>
          </p:cNvPr>
          <p:cNvSpPr>
            <a:spLocks noGrp="1"/>
          </p:cNvSpPr>
          <p:nvPr>
            <p:ph type="body" sz="quarter" idx="20"/>
          </p:nvPr>
        </p:nvSpPr>
        <p:spPr>
          <a:xfrm>
            <a:off x="6894861" y="1874137"/>
            <a:ext cx="5251752" cy="822373"/>
          </a:xfrm>
        </p:spPr>
        <p:txBody>
          <a:bodyPr/>
          <a:lstStyle/>
          <a:p>
            <a:r>
              <a:rPr lang="en-GB"/>
              <a:t>El proceso vital del reconocimiento</a:t>
            </a:r>
          </a:p>
          <a:p>
            <a:r>
              <a:rPr lang="en-GB" sz="1800"/>
              <a:t>Establecer las 5 etapas claras para reconocer una crisis</a:t>
            </a:r>
          </a:p>
          <a:p>
            <a:endParaRPr lang="en-US"/>
          </a:p>
        </p:txBody>
      </p:sp>
      <p:sp>
        <p:nvSpPr>
          <p:cNvPr id="21" name="Text Placeholder 20">
            <a:extLst>
              <a:ext uri="{FF2B5EF4-FFF2-40B4-BE49-F238E27FC236}">
                <a16:creationId xmlns:a16="http://schemas.microsoft.com/office/drawing/2014/main" id="{26F080BC-DC74-EB43-8DFA-6A8C1EDBECDD}"/>
              </a:ext>
            </a:extLst>
          </p:cNvPr>
          <p:cNvSpPr>
            <a:spLocks noGrp="1"/>
          </p:cNvSpPr>
          <p:nvPr>
            <p:ph type="body" sz="quarter" idx="22"/>
          </p:nvPr>
        </p:nvSpPr>
        <p:spPr/>
        <p:txBody>
          <a:bodyPr/>
          <a:lstStyle/>
          <a:p>
            <a:r>
              <a:rPr lang="en-US" sz="2400">
                <a:latin typeface="Calibri" panose="020F0502020204030204" pitchFamily="34" charset="0"/>
                <a:ea typeface="Calibri" panose="020F0502020204030204" pitchFamily="34" charset="0"/>
              </a:rPr>
              <a:t>La línea de tiempo de una crisis empresarial</a:t>
            </a:r>
          </a:p>
        </p:txBody>
      </p:sp>
      <p:sp>
        <p:nvSpPr>
          <p:cNvPr id="14" name="Text Placeholder 13">
            <a:extLst>
              <a:ext uri="{FF2B5EF4-FFF2-40B4-BE49-F238E27FC236}">
                <a16:creationId xmlns:a16="http://schemas.microsoft.com/office/drawing/2014/main" id="{7CDBC330-3592-B462-617E-F5DF418A2BE6}"/>
              </a:ext>
            </a:extLst>
          </p:cNvPr>
          <p:cNvSpPr>
            <a:spLocks noGrp="1"/>
          </p:cNvSpPr>
          <p:nvPr>
            <p:ph type="body" sz="quarter" idx="24"/>
          </p:nvPr>
        </p:nvSpPr>
        <p:spPr>
          <a:xfrm>
            <a:off x="6926393" y="3715281"/>
            <a:ext cx="4768390" cy="822373"/>
          </a:xfrm>
        </p:spPr>
        <p:txBody>
          <a:bodyPr/>
          <a:lstStyle/>
          <a:p>
            <a:r>
              <a:rPr lang="en-US" sz="2400"/>
              <a:t>Búsqueda de señales de alerta temprana:                 4 áreas clave </a:t>
            </a:r>
          </a:p>
        </p:txBody>
      </p:sp>
      <p:sp>
        <p:nvSpPr>
          <p:cNvPr id="18" name="Text Placeholder 17">
            <a:extLst>
              <a:ext uri="{FF2B5EF4-FFF2-40B4-BE49-F238E27FC236}">
                <a16:creationId xmlns:a16="http://schemas.microsoft.com/office/drawing/2014/main" id="{4746FADA-D744-DE61-A10B-1F5E6137454D}"/>
              </a:ext>
            </a:extLst>
          </p:cNvPr>
          <p:cNvSpPr>
            <a:spLocks noGrp="1"/>
          </p:cNvSpPr>
          <p:nvPr>
            <p:ph type="body" sz="quarter" idx="26"/>
          </p:nvPr>
        </p:nvSpPr>
        <p:spPr/>
        <p:txBody>
          <a:bodyPr/>
          <a:lstStyle/>
          <a:p>
            <a:r>
              <a:rPr lang="en-US" sz="2400"/>
              <a:t>Visión general de las 3 fases de la crisis de las PYME/empresas</a:t>
            </a:r>
          </a:p>
        </p:txBody>
      </p:sp>
      <p:sp>
        <p:nvSpPr>
          <p:cNvPr id="2" name="Text Placeholder 1">
            <a:extLst>
              <a:ext uri="{FF2B5EF4-FFF2-40B4-BE49-F238E27FC236}">
                <a16:creationId xmlns:a16="http://schemas.microsoft.com/office/drawing/2014/main" id="{9ED4EE6E-0627-C435-C4F4-BE21D3EF5D2D}"/>
              </a:ext>
            </a:extLst>
          </p:cNvPr>
          <p:cNvSpPr>
            <a:spLocks noGrp="1"/>
          </p:cNvSpPr>
          <p:nvPr>
            <p:ph type="body" sz="quarter" idx="15"/>
          </p:nvPr>
        </p:nvSpPr>
        <p:spPr>
          <a:xfrm>
            <a:off x="6078323" y="658730"/>
            <a:ext cx="830393" cy="635000"/>
          </a:xfrm>
        </p:spPr>
        <p:txBody>
          <a:bodyPr/>
          <a:lstStyle/>
          <a:p>
            <a:r>
              <a:rPr lang="en-US" sz="3600" b="1"/>
              <a:t>01</a:t>
            </a:r>
          </a:p>
        </p:txBody>
      </p:sp>
      <p:sp>
        <p:nvSpPr>
          <p:cNvPr id="4" name="Text Placeholder 3">
            <a:extLst>
              <a:ext uri="{FF2B5EF4-FFF2-40B4-BE49-F238E27FC236}">
                <a16:creationId xmlns:a16="http://schemas.microsoft.com/office/drawing/2014/main" id="{21CA9178-1D21-572B-8CFC-76B5694AA2D4}"/>
              </a:ext>
            </a:extLst>
          </p:cNvPr>
          <p:cNvSpPr>
            <a:spLocks noGrp="1"/>
          </p:cNvSpPr>
          <p:nvPr>
            <p:ph type="body" sz="quarter" idx="19"/>
          </p:nvPr>
        </p:nvSpPr>
        <p:spPr>
          <a:xfrm>
            <a:off x="6078323" y="1733356"/>
            <a:ext cx="830393" cy="635000"/>
          </a:xfrm>
        </p:spPr>
        <p:txBody>
          <a:bodyPr/>
          <a:lstStyle/>
          <a:p>
            <a:r>
              <a:rPr lang="en-US" sz="3600" b="1"/>
              <a:t>02</a:t>
            </a:r>
          </a:p>
        </p:txBody>
      </p:sp>
      <p:sp>
        <p:nvSpPr>
          <p:cNvPr id="5" name="Text Placeholder 4">
            <a:extLst>
              <a:ext uri="{FF2B5EF4-FFF2-40B4-BE49-F238E27FC236}">
                <a16:creationId xmlns:a16="http://schemas.microsoft.com/office/drawing/2014/main" id="{9D2849BF-4E96-B8A8-6A4F-171BBA77DB10}"/>
              </a:ext>
            </a:extLst>
          </p:cNvPr>
          <p:cNvSpPr>
            <a:spLocks noGrp="1"/>
          </p:cNvSpPr>
          <p:nvPr>
            <p:ph type="body" sz="quarter" idx="21"/>
          </p:nvPr>
        </p:nvSpPr>
        <p:spPr>
          <a:xfrm>
            <a:off x="6078323" y="2793120"/>
            <a:ext cx="830393" cy="635000"/>
          </a:xfrm>
        </p:spPr>
        <p:txBody>
          <a:bodyPr/>
          <a:lstStyle/>
          <a:p>
            <a:r>
              <a:rPr lang="en-US" sz="3600" b="1"/>
              <a:t>03</a:t>
            </a:r>
          </a:p>
        </p:txBody>
      </p:sp>
      <p:sp>
        <p:nvSpPr>
          <p:cNvPr id="8" name="Text Placeholder 7">
            <a:extLst>
              <a:ext uri="{FF2B5EF4-FFF2-40B4-BE49-F238E27FC236}">
                <a16:creationId xmlns:a16="http://schemas.microsoft.com/office/drawing/2014/main" id="{2F9D1749-E12B-1EB4-7C5F-1FA1B1D4847F}"/>
              </a:ext>
            </a:extLst>
          </p:cNvPr>
          <p:cNvSpPr>
            <a:spLocks noGrp="1"/>
          </p:cNvSpPr>
          <p:nvPr>
            <p:ph type="body" sz="quarter" idx="23"/>
          </p:nvPr>
        </p:nvSpPr>
        <p:spPr>
          <a:xfrm>
            <a:off x="6064468" y="3772476"/>
            <a:ext cx="830393" cy="635000"/>
          </a:xfrm>
        </p:spPr>
        <p:txBody>
          <a:bodyPr/>
          <a:lstStyle/>
          <a:p>
            <a:r>
              <a:rPr lang="en-US" sz="3600" b="1"/>
              <a:t>04</a:t>
            </a:r>
          </a:p>
        </p:txBody>
      </p:sp>
      <p:sp>
        <p:nvSpPr>
          <p:cNvPr id="15" name="Text Placeholder 14">
            <a:extLst>
              <a:ext uri="{FF2B5EF4-FFF2-40B4-BE49-F238E27FC236}">
                <a16:creationId xmlns:a16="http://schemas.microsoft.com/office/drawing/2014/main" id="{EB139003-DA25-81F2-6B14-01DD1DACEE69}"/>
              </a:ext>
            </a:extLst>
          </p:cNvPr>
          <p:cNvSpPr>
            <a:spLocks noGrp="1"/>
          </p:cNvSpPr>
          <p:nvPr>
            <p:ph type="body" sz="quarter" idx="25"/>
          </p:nvPr>
        </p:nvSpPr>
        <p:spPr>
          <a:xfrm>
            <a:off x="6078323" y="4928608"/>
            <a:ext cx="830393" cy="635000"/>
          </a:xfrm>
        </p:spPr>
        <p:txBody>
          <a:bodyPr/>
          <a:lstStyle/>
          <a:p>
            <a:r>
              <a:rPr lang="en-US" sz="3600" b="1"/>
              <a:t>05</a:t>
            </a:r>
          </a:p>
        </p:txBody>
      </p:sp>
      <p:sp>
        <p:nvSpPr>
          <p:cNvPr id="22" name="Text Placeholder 21">
            <a:extLst>
              <a:ext uri="{FF2B5EF4-FFF2-40B4-BE49-F238E27FC236}">
                <a16:creationId xmlns:a16="http://schemas.microsoft.com/office/drawing/2014/main" id="{57539EDE-FD43-231A-4B65-BE71D87D4A71}"/>
              </a:ext>
            </a:extLst>
          </p:cNvPr>
          <p:cNvSpPr>
            <a:spLocks noGrp="1"/>
          </p:cNvSpPr>
          <p:nvPr>
            <p:ph type="body" sz="quarter" idx="16"/>
          </p:nvPr>
        </p:nvSpPr>
        <p:spPr>
          <a:xfrm>
            <a:off x="918629" y="773723"/>
            <a:ext cx="4378451" cy="822373"/>
          </a:xfrm>
        </p:spPr>
        <p:txBody>
          <a:bodyPr>
            <a:normAutofit/>
          </a:bodyPr>
          <a:lstStyle/>
          <a:p>
            <a:r>
              <a:rPr lang="en-US" b="1">
                <a:latin typeface="Calibri" panose="020F0502020204030204" pitchFamily="34" charset="0"/>
                <a:ea typeface="Calibri" panose="020F0502020204030204" pitchFamily="34" charset="0"/>
                <a:cs typeface="Calibri" panose="020F0502020204030204" pitchFamily="34" charset="0"/>
              </a:rPr>
              <a:t>Los fundamentos</a:t>
            </a:r>
            <a:endParaRPr lang="en-IE">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a:extLst>
              <a:ext uri="{FF2B5EF4-FFF2-40B4-BE49-F238E27FC236}">
                <a16:creationId xmlns:a16="http://schemas.microsoft.com/office/drawing/2014/main" id="{37CD072B-C565-E1B1-3658-B1F1A8079FF3}"/>
              </a:ext>
            </a:extLst>
          </p:cNvPr>
          <p:cNvSpPr/>
          <p:nvPr/>
        </p:nvSpPr>
        <p:spPr>
          <a:xfrm>
            <a:off x="918629" y="1682548"/>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25" name="Text Placeholder 24">
            <a:extLst>
              <a:ext uri="{FF2B5EF4-FFF2-40B4-BE49-F238E27FC236}">
                <a16:creationId xmlns:a16="http://schemas.microsoft.com/office/drawing/2014/main" id="{BC269653-15BF-D403-3FF4-14368E38C74D}"/>
              </a:ext>
            </a:extLst>
          </p:cNvPr>
          <p:cNvSpPr>
            <a:spLocks noGrp="1"/>
          </p:cNvSpPr>
          <p:nvPr>
            <p:ph type="body" sz="quarter" idx="18"/>
          </p:nvPr>
        </p:nvSpPr>
        <p:spPr/>
        <p:txBody>
          <a:bodyPr>
            <a:noAutofit/>
          </a:bodyPr>
          <a:lstStyle/>
          <a:p>
            <a:pPr marL="0" indent="0">
              <a:lnSpc>
                <a:spcPts val="2280"/>
              </a:lnSpc>
              <a:spcBef>
                <a:spcPct val="0"/>
              </a:spcBef>
            </a:pPr>
            <a:r>
              <a:rPr lang="en-US" sz="2200">
                <a:ea typeface="Calibri" panose="020F0502020204030204" pitchFamily="34" charset="0"/>
                <a:cs typeface="Times New Roman" panose="02020603050405020304" pitchFamily="18" charset="0"/>
              </a:rPr>
              <a:t>Dada nuestra dinámica económica, política y medioambiental, siempre turbulenta, está claro que las crisis son inevitables. Una crisis empresarial puede adoptar muchas formas; </a:t>
            </a:r>
            <a:r>
              <a:rPr lang="en-GB" sz="2200">
                <a:ea typeface="Lato Light" panose="020F0502020204030203" pitchFamily="34" charset="0"/>
                <a:cs typeface="Lato Light" panose="020F0502020204030203" pitchFamily="34" charset="0"/>
              </a:rPr>
              <a:t>cada empresa y cada crisis corporativa es diferente) </a:t>
            </a:r>
            <a:r>
              <a:rPr lang="en-GB" sz="2200" err="1"/>
              <a:t>Algunas son temporales. Algunas pueden provocar la desaparición de una empresa.</a:t>
            </a:r>
          </a:p>
          <a:p>
            <a:pPr marL="0" indent="0" algn="just">
              <a:lnSpc>
                <a:spcPts val="2280"/>
              </a:lnSpc>
              <a:spcBef>
                <a:spcPct val="0"/>
              </a:spcBef>
            </a:pPr>
            <a:endParaRPr lang="en-US" sz="2200">
              <a:ea typeface="Calibri" panose="020F0502020204030204" pitchFamily="34" charset="0"/>
              <a:cs typeface="Times New Roman" panose="02020603050405020304" pitchFamily="18" charset="0"/>
            </a:endParaRPr>
          </a:p>
          <a:p>
            <a:pPr marL="0" indent="0" algn="just">
              <a:lnSpc>
                <a:spcPts val="2280"/>
              </a:lnSpc>
              <a:spcBef>
                <a:spcPct val="0"/>
              </a:spcBef>
            </a:pPr>
            <a:r>
              <a:rPr lang="en-IE" sz="2200"/>
              <a:t>Redactado por algunos de los mejores expertos en crisis empresariales de Europa y recopilando las mejores fuentes especializadas, </a:t>
            </a:r>
            <a:r>
              <a:rPr lang="en-IE" sz="2200" b="1"/>
              <a:t>el Módulo 1 </a:t>
            </a:r>
            <a:r>
              <a:rPr lang="en-GB" sz="2200">
                <a:ea typeface="Open Sans Light" panose="020B0306030504020204" pitchFamily="34" charset="0"/>
                <a:cs typeface="Open Sans Light" panose="020B0306030504020204" pitchFamily="34" charset="0"/>
              </a:rPr>
              <a:t>le ofrece un aprendizaje conciso y valioso sobre las bases de una crisis empresarial. </a:t>
            </a:r>
            <a:endParaRPr lang="en-US" sz="2200"/>
          </a:p>
          <a:p>
            <a:pPr>
              <a:lnSpc>
                <a:spcPts val="2280"/>
              </a:lnSpc>
              <a:spcBef>
                <a:spcPct val="0"/>
              </a:spcBef>
            </a:pPr>
            <a:endParaRPr lang="en-US" sz="2200"/>
          </a:p>
        </p:txBody>
      </p:sp>
      <p:sp>
        <p:nvSpPr>
          <p:cNvPr id="26" name="Text Placeholder 4">
            <a:extLst>
              <a:ext uri="{FF2B5EF4-FFF2-40B4-BE49-F238E27FC236}">
                <a16:creationId xmlns:a16="http://schemas.microsoft.com/office/drawing/2014/main" id="{73435531-E56A-B9BB-B9F5-7AE9CE06AF63}"/>
              </a:ext>
            </a:extLst>
          </p:cNvPr>
          <p:cNvSpPr txBox="1"/>
          <p:nvPr/>
        </p:nvSpPr>
        <p:spPr>
          <a:xfrm rot="16200000">
            <a:off x="-558292" y="1178495"/>
            <a:ext cx="2129000" cy="511077"/>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ct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2800">
                <a:solidFill>
                  <a:schemeClr val="bg1"/>
                </a:solidFill>
                <a:latin typeface="Calibri" panose="020F0502020204030204" pitchFamily="34" charset="0"/>
                <a:cs typeface="Calibri" panose="020F0502020204030204" pitchFamily="34" charset="0"/>
              </a:rPr>
              <a:t>MÓDULO 01</a:t>
            </a:r>
            <a:endParaRPr lang="en-US" sz="2800">
              <a:solidFill>
                <a:schemeClr val="bg1"/>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79D7256D-408C-036D-DE51-70E036A44190}"/>
              </a:ext>
            </a:extLst>
          </p:cNvPr>
          <p:cNvCxnSpPr/>
          <p:nvPr/>
        </p:nvCxnSpPr>
        <p:spPr>
          <a:xfrm>
            <a:off x="5753686" y="1423908"/>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EFA2F40-4413-6420-4A76-DFCB2052FA73}"/>
              </a:ext>
            </a:extLst>
          </p:cNvPr>
          <p:cNvCxnSpPr/>
          <p:nvPr/>
        </p:nvCxnSpPr>
        <p:spPr>
          <a:xfrm>
            <a:off x="5753686" y="249926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E5E9ADA-D0D4-4679-4A85-2A6F87C3EE8D}"/>
              </a:ext>
            </a:extLst>
          </p:cNvPr>
          <p:cNvCxnSpPr/>
          <p:nvPr/>
        </p:nvCxnSpPr>
        <p:spPr>
          <a:xfrm>
            <a:off x="5753686" y="461648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8ADC83B-DC97-7C1F-5925-23681AF59E3B}"/>
              </a:ext>
            </a:extLst>
          </p:cNvPr>
          <p:cNvCxnSpPr/>
          <p:nvPr/>
        </p:nvCxnSpPr>
        <p:spPr>
          <a:xfrm>
            <a:off x="5753686" y="355902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0054308"/>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a:solidFill>
                  <a:schemeClr val="bg1"/>
                </a:solidFill>
              </a:rPr>
              <a:t>03 </a:t>
            </a:r>
            <a:r>
              <a:rPr lang="en-US">
                <a:solidFill>
                  <a:schemeClr val="bg1"/>
                </a:solidFill>
              </a:rPr>
              <a:t>Identificación de las principales partes interesadas y gestión de las relaciones </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719966" y="1822120"/>
            <a:ext cx="3893411" cy="4887024"/>
          </a:xfrm>
        </p:spPr>
        <p:txBody>
          <a:bodyPr>
            <a:normAutofit fontScale="92500"/>
          </a:bodyPr>
          <a:lstStyle/>
          <a:p>
            <a:pPr marL="12700" indent="-12700"/>
            <a:r>
              <a:rPr lang="en-GB">
                <a:latin typeface="Calibri" panose="020F0502020204030204" pitchFamily="34" charset="0"/>
                <a:ea typeface="Lato Light" panose="020F0502020204030203" pitchFamily="34" charset="0"/>
                <a:cs typeface="Calibri" panose="020F0502020204030204" pitchFamily="34" charset="0"/>
              </a:rPr>
              <a:t>La gestión de las partes interesadas es un proceso global esencial.  Tiene una importancia inestimable en la gestión de crisis para alinear sus propuestas de reestructuración con los intereses de las personas afectadas e implicadas.</a:t>
            </a:r>
          </a:p>
          <a:p>
            <a:pPr marL="12700" indent="-12700"/>
            <a:r>
              <a:rPr lang="en-GB">
                <a:latin typeface="Calibri" panose="020F0502020204030204" pitchFamily="34" charset="0"/>
                <a:ea typeface="Lato Light" panose="020F0502020204030203" pitchFamily="34" charset="0"/>
                <a:cs typeface="Calibri" panose="020F0502020204030204" pitchFamily="34" charset="0"/>
              </a:rPr>
              <a:t>La resistencia de las partes interesadas puede tener un impacto directo en el éxito de cualquier reestructuración o nuevos enfoques La gestión de las partes interesadas debe llevarse a cabo a un nivel profundo, ya que más partes interesadas se ven afectadas y pueden influir en el éxito.</a:t>
            </a:r>
          </a:p>
        </p:txBody>
      </p:sp>
      <p:grpSp>
        <p:nvGrpSpPr>
          <p:cNvPr id="85" name="Group 84">
            <a:extLst>
              <a:ext uri="{FF2B5EF4-FFF2-40B4-BE49-F238E27FC236}">
                <a16:creationId xmlns:a16="http://schemas.microsoft.com/office/drawing/2014/main" id="{AD1F7C91-9436-7A5B-5669-28A7B3F9EE63}"/>
              </a:ext>
            </a:extLst>
          </p:cNvPr>
          <p:cNvGrpSpPr/>
          <p:nvPr/>
        </p:nvGrpSpPr>
        <p:grpSpPr>
          <a:xfrm>
            <a:off x="529758" y="1698059"/>
            <a:ext cx="885534" cy="895928"/>
            <a:chOff x="7190753" y="5365577"/>
            <a:chExt cx="745522" cy="754273"/>
          </a:xfrm>
          <a:solidFill>
            <a:srgbClr val="595959"/>
          </a:solidFill>
        </p:grpSpPr>
        <p:grpSp>
          <p:nvGrpSpPr>
            <p:cNvPr id="86" name="Graphic 2">
              <a:extLst>
                <a:ext uri="{FF2B5EF4-FFF2-40B4-BE49-F238E27FC236}">
                  <a16:creationId xmlns:a16="http://schemas.microsoft.com/office/drawing/2014/main" id="{DB0E133F-4814-5DC0-D753-CB01E518C8CF}"/>
                </a:ext>
              </a:extLst>
            </p:cNvPr>
            <p:cNvGrpSpPr/>
            <p:nvPr/>
          </p:nvGrpSpPr>
          <p:grpSpPr>
            <a:xfrm>
              <a:off x="7353351" y="5647412"/>
              <a:ext cx="420044" cy="75879"/>
              <a:chOff x="7353351" y="5647412"/>
              <a:chExt cx="420044" cy="75879"/>
            </a:xfrm>
            <a:grpFill/>
          </p:grpSpPr>
          <p:sp>
            <p:nvSpPr>
              <p:cNvPr id="97" name="Freeform 96">
                <a:extLst>
                  <a:ext uri="{FF2B5EF4-FFF2-40B4-BE49-F238E27FC236}">
                    <a16:creationId xmlns:a16="http://schemas.microsoft.com/office/drawing/2014/main" id="{41E69E48-97BD-CFA3-988B-353B1AB2679F}"/>
                  </a:ext>
                </a:extLst>
              </p:cNvPr>
              <p:cNvSpPr/>
              <p:nvPr/>
            </p:nvSpPr>
            <p:spPr>
              <a:xfrm>
                <a:off x="7353351" y="5649220"/>
                <a:ext cx="131884" cy="74071"/>
              </a:xfrm>
              <a:custGeom>
                <a:avLst/>
                <a:gdLst>
                  <a:gd name="connsiteX0" fmla="*/ 123755 w 131884"/>
                  <a:gd name="connsiteY0" fmla="*/ 23486 h 74071"/>
                  <a:gd name="connsiteX1" fmla="*/ 60523 w 131884"/>
                  <a:gd name="connsiteY1" fmla="*/ 74072 h 74071"/>
                  <a:gd name="connsiteX2" fmla="*/ 0 w 131884"/>
                  <a:gd name="connsiteY2" fmla="*/ 74072 h 74071"/>
                  <a:gd name="connsiteX3" fmla="*/ 0 w 131884"/>
                  <a:gd name="connsiteY3" fmla="*/ 63233 h 74071"/>
                  <a:gd name="connsiteX4" fmla="*/ 31616 w 131884"/>
                  <a:gd name="connsiteY4" fmla="*/ 27100 h 74071"/>
                  <a:gd name="connsiteX5" fmla="*/ 68652 w 131884"/>
                  <a:gd name="connsiteY5" fmla="*/ 18970 h 74071"/>
                  <a:gd name="connsiteX6" fmla="*/ 80396 w 131884"/>
                  <a:gd name="connsiteY6" fmla="*/ 5420 h 74071"/>
                  <a:gd name="connsiteX7" fmla="*/ 80396 w 131884"/>
                  <a:gd name="connsiteY7" fmla="*/ 0 h 74071"/>
                  <a:gd name="connsiteX8" fmla="*/ 89429 w 131884"/>
                  <a:gd name="connsiteY8" fmla="*/ 0 h 74071"/>
                  <a:gd name="connsiteX9" fmla="*/ 98462 w 131884"/>
                  <a:gd name="connsiteY9" fmla="*/ 0 h 74071"/>
                  <a:gd name="connsiteX10" fmla="*/ 98462 w 131884"/>
                  <a:gd name="connsiteY10" fmla="*/ 2709 h 74071"/>
                  <a:gd name="connsiteX11" fmla="*/ 103882 w 131884"/>
                  <a:gd name="connsiteY11" fmla="*/ 13550 h 74071"/>
                  <a:gd name="connsiteX12" fmla="*/ 109302 w 131884"/>
                  <a:gd name="connsiteY12" fmla="*/ 16259 h 74071"/>
                  <a:gd name="connsiteX13" fmla="*/ 131885 w 131884"/>
                  <a:gd name="connsiteY13" fmla="*/ 21680 h 74071"/>
                  <a:gd name="connsiteX14" fmla="*/ 123755 w 131884"/>
                  <a:gd name="connsiteY14" fmla="*/ 23486 h 7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1884" h="74071">
                    <a:moveTo>
                      <a:pt x="123755" y="23486"/>
                    </a:moveTo>
                    <a:cubicBezTo>
                      <a:pt x="94849" y="28906"/>
                      <a:pt x="72266" y="48780"/>
                      <a:pt x="60523" y="74072"/>
                    </a:cubicBezTo>
                    <a:lnTo>
                      <a:pt x="0" y="74072"/>
                    </a:lnTo>
                    <a:lnTo>
                      <a:pt x="0" y="63233"/>
                    </a:lnTo>
                    <a:cubicBezTo>
                      <a:pt x="0" y="46069"/>
                      <a:pt x="11743" y="29809"/>
                      <a:pt x="31616" y="27100"/>
                    </a:cubicBezTo>
                    <a:lnTo>
                      <a:pt x="68652" y="18970"/>
                    </a:lnTo>
                    <a:cubicBezTo>
                      <a:pt x="74072" y="16259"/>
                      <a:pt x="80396" y="10839"/>
                      <a:pt x="80396" y="5420"/>
                    </a:cubicBezTo>
                    <a:lnTo>
                      <a:pt x="80396" y="0"/>
                    </a:lnTo>
                    <a:cubicBezTo>
                      <a:pt x="83106" y="0"/>
                      <a:pt x="85816" y="0"/>
                      <a:pt x="89429" y="0"/>
                    </a:cubicBezTo>
                    <a:cubicBezTo>
                      <a:pt x="93042" y="0"/>
                      <a:pt x="94849" y="0"/>
                      <a:pt x="98462" y="0"/>
                    </a:cubicBezTo>
                    <a:lnTo>
                      <a:pt x="98462" y="2709"/>
                    </a:lnTo>
                    <a:cubicBezTo>
                      <a:pt x="98462" y="8130"/>
                      <a:pt x="101172" y="10839"/>
                      <a:pt x="103882" y="13550"/>
                    </a:cubicBezTo>
                    <a:cubicBezTo>
                      <a:pt x="106592" y="13550"/>
                      <a:pt x="106592" y="16259"/>
                      <a:pt x="109302" y="16259"/>
                    </a:cubicBezTo>
                    <a:lnTo>
                      <a:pt x="131885" y="21680"/>
                    </a:lnTo>
                    <a:lnTo>
                      <a:pt x="123755" y="2348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8" name="Freeform 97">
                <a:extLst>
                  <a:ext uri="{FF2B5EF4-FFF2-40B4-BE49-F238E27FC236}">
                    <a16:creationId xmlns:a16="http://schemas.microsoft.com/office/drawing/2014/main" id="{6AB6600E-7D82-1048-8F16-AF2A122834A6}"/>
                  </a:ext>
                </a:extLst>
              </p:cNvPr>
              <p:cNvSpPr/>
              <p:nvPr/>
            </p:nvSpPr>
            <p:spPr>
              <a:xfrm>
                <a:off x="7640607" y="5647412"/>
                <a:ext cx="132788" cy="75879"/>
              </a:xfrm>
              <a:custGeom>
                <a:avLst/>
                <a:gdLst>
                  <a:gd name="connsiteX0" fmla="*/ 132788 w 132788"/>
                  <a:gd name="connsiteY0" fmla="*/ 75879 h 75879"/>
                  <a:gd name="connsiteX1" fmla="*/ 72266 w 132788"/>
                  <a:gd name="connsiteY1" fmla="*/ 75879 h 75879"/>
                  <a:gd name="connsiteX2" fmla="*/ 9033 w 132788"/>
                  <a:gd name="connsiteY2" fmla="*/ 27100 h 75879"/>
                  <a:gd name="connsiteX3" fmla="*/ 0 w 132788"/>
                  <a:gd name="connsiteY3" fmla="*/ 24390 h 75879"/>
                  <a:gd name="connsiteX4" fmla="*/ 22583 w 132788"/>
                  <a:gd name="connsiteY4" fmla="*/ 18971 h 75879"/>
                  <a:gd name="connsiteX5" fmla="*/ 28003 w 132788"/>
                  <a:gd name="connsiteY5" fmla="*/ 16260 h 75879"/>
                  <a:gd name="connsiteX6" fmla="*/ 33423 w 132788"/>
                  <a:gd name="connsiteY6" fmla="*/ 5421 h 75879"/>
                  <a:gd name="connsiteX7" fmla="*/ 33423 w 132788"/>
                  <a:gd name="connsiteY7" fmla="*/ 0 h 75879"/>
                  <a:gd name="connsiteX8" fmla="*/ 42456 w 132788"/>
                  <a:gd name="connsiteY8" fmla="*/ 0 h 75879"/>
                  <a:gd name="connsiteX9" fmla="*/ 51489 w 132788"/>
                  <a:gd name="connsiteY9" fmla="*/ 0 h 75879"/>
                  <a:gd name="connsiteX10" fmla="*/ 51489 w 132788"/>
                  <a:gd name="connsiteY10" fmla="*/ 5421 h 75879"/>
                  <a:gd name="connsiteX11" fmla="*/ 63233 w 132788"/>
                  <a:gd name="connsiteY11" fmla="*/ 18971 h 75879"/>
                  <a:gd name="connsiteX12" fmla="*/ 100269 w 132788"/>
                  <a:gd name="connsiteY12" fmla="*/ 27100 h 75879"/>
                  <a:gd name="connsiteX13" fmla="*/ 131885 w 132788"/>
                  <a:gd name="connsiteY13" fmla="*/ 62329 h 75879"/>
                  <a:gd name="connsiteX14" fmla="*/ 131885 w 132788"/>
                  <a:gd name="connsiteY14" fmla="*/ 75879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788" h="75879">
                    <a:moveTo>
                      <a:pt x="132788" y="75879"/>
                    </a:moveTo>
                    <a:lnTo>
                      <a:pt x="72266" y="75879"/>
                    </a:lnTo>
                    <a:cubicBezTo>
                      <a:pt x="60523" y="51490"/>
                      <a:pt x="37940" y="32520"/>
                      <a:pt x="9033" y="27100"/>
                    </a:cubicBezTo>
                    <a:lnTo>
                      <a:pt x="0" y="24390"/>
                    </a:lnTo>
                    <a:lnTo>
                      <a:pt x="22583" y="18971"/>
                    </a:lnTo>
                    <a:cubicBezTo>
                      <a:pt x="25293" y="18971"/>
                      <a:pt x="25293" y="18971"/>
                      <a:pt x="28003" y="16260"/>
                    </a:cubicBezTo>
                    <a:cubicBezTo>
                      <a:pt x="33423" y="13550"/>
                      <a:pt x="33423" y="8130"/>
                      <a:pt x="33423" y="5421"/>
                    </a:cubicBezTo>
                    <a:lnTo>
                      <a:pt x="33423" y="0"/>
                    </a:lnTo>
                    <a:cubicBezTo>
                      <a:pt x="36133" y="0"/>
                      <a:pt x="38843" y="0"/>
                      <a:pt x="42456" y="0"/>
                    </a:cubicBezTo>
                    <a:cubicBezTo>
                      <a:pt x="45166" y="0"/>
                      <a:pt x="47876" y="0"/>
                      <a:pt x="51489" y="0"/>
                    </a:cubicBezTo>
                    <a:lnTo>
                      <a:pt x="51489" y="5421"/>
                    </a:lnTo>
                    <a:cubicBezTo>
                      <a:pt x="51489" y="10841"/>
                      <a:pt x="56909" y="16260"/>
                      <a:pt x="63233" y="18971"/>
                    </a:cubicBezTo>
                    <a:lnTo>
                      <a:pt x="100269" y="27100"/>
                    </a:lnTo>
                    <a:cubicBezTo>
                      <a:pt x="117432" y="29810"/>
                      <a:pt x="131885" y="46070"/>
                      <a:pt x="131885" y="62329"/>
                    </a:cubicBezTo>
                    <a:lnTo>
                      <a:pt x="131885" y="75879"/>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nvGrpSpPr>
            <p:cNvPr id="87" name="Graphic 2">
              <a:extLst>
                <a:ext uri="{FF2B5EF4-FFF2-40B4-BE49-F238E27FC236}">
                  <a16:creationId xmlns:a16="http://schemas.microsoft.com/office/drawing/2014/main" id="{E57F3D64-0EBA-E14A-DED6-2513710802A9}"/>
                </a:ext>
              </a:extLst>
            </p:cNvPr>
            <p:cNvGrpSpPr/>
            <p:nvPr/>
          </p:nvGrpSpPr>
          <p:grpSpPr>
            <a:xfrm>
              <a:off x="7190753" y="5365577"/>
              <a:ext cx="745522" cy="754273"/>
              <a:chOff x="7190753" y="5365577"/>
              <a:chExt cx="745522" cy="754273"/>
            </a:xfrm>
            <a:grpFill/>
          </p:grpSpPr>
          <p:sp>
            <p:nvSpPr>
              <p:cNvPr id="88" name="Freeform 87">
                <a:extLst>
                  <a:ext uri="{FF2B5EF4-FFF2-40B4-BE49-F238E27FC236}">
                    <a16:creationId xmlns:a16="http://schemas.microsoft.com/office/drawing/2014/main" id="{29DDC427-6ED9-8FD5-5C3E-F36C8735D9E8}"/>
                  </a:ext>
                </a:extLst>
              </p:cNvPr>
              <p:cNvSpPr/>
              <p:nvPr/>
            </p:nvSpPr>
            <p:spPr>
              <a:xfrm>
                <a:off x="7304327" y="6055729"/>
                <a:ext cx="49268" cy="63218"/>
              </a:xfrm>
              <a:custGeom>
                <a:avLst/>
                <a:gdLst>
                  <a:gd name="connsiteX0" fmla="*/ 46314 w 49268"/>
                  <a:gd name="connsiteY0" fmla="*/ 38828 h 63218"/>
                  <a:gd name="connsiteX1" fmla="*/ 24634 w 49268"/>
                  <a:gd name="connsiteY1" fmla="*/ 6309 h 63218"/>
                  <a:gd name="connsiteX2" fmla="*/ 5664 w 49268"/>
                  <a:gd name="connsiteY2" fmla="*/ 3599 h 63218"/>
                  <a:gd name="connsiteX3" fmla="*/ 2955 w 49268"/>
                  <a:gd name="connsiteY3" fmla="*/ 24375 h 63218"/>
                  <a:gd name="connsiteX4" fmla="*/ 24634 w 49268"/>
                  <a:gd name="connsiteY4" fmla="*/ 56894 h 63218"/>
                  <a:gd name="connsiteX5" fmla="*/ 35474 w 49268"/>
                  <a:gd name="connsiteY5" fmla="*/ 63218 h 63218"/>
                  <a:gd name="connsiteX6" fmla="*/ 43604 w 49268"/>
                  <a:gd name="connsiteY6" fmla="*/ 60508 h 63218"/>
                  <a:gd name="connsiteX7" fmla="*/ 46314 w 49268"/>
                  <a:gd name="connsiteY7" fmla="*/ 38828 h 6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68" h="63217">
                    <a:moveTo>
                      <a:pt x="46314" y="38828"/>
                    </a:moveTo>
                    <a:lnTo>
                      <a:pt x="24634" y="6309"/>
                    </a:lnTo>
                    <a:cubicBezTo>
                      <a:pt x="19214" y="-14"/>
                      <a:pt x="11084" y="-2725"/>
                      <a:pt x="5664" y="3599"/>
                    </a:cubicBezTo>
                    <a:cubicBezTo>
                      <a:pt x="244" y="9922"/>
                      <a:pt x="-2466" y="18052"/>
                      <a:pt x="2955" y="24375"/>
                    </a:cubicBezTo>
                    <a:lnTo>
                      <a:pt x="24634" y="56894"/>
                    </a:lnTo>
                    <a:cubicBezTo>
                      <a:pt x="27344" y="59605"/>
                      <a:pt x="32764" y="63218"/>
                      <a:pt x="35474" y="63218"/>
                    </a:cubicBezTo>
                    <a:cubicBezTo>
                      <a:pt x="38184" y="63218"/>
                      <a:pt x="40894" y="63218"/>
                      <a:pt x="43604" y="60508"/>
                    </a:cubicBezTo>
                    <a:cubicBezTo>
                      <a:pt x="49024" y="53282"/>
                      <a:pt x="51734" y="44249"/>
                      <a:pt x="46314" y="38828"/>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89" name="Freeform 88">
                <a:extLst>
                  <a:ext uri="{FF2B5EF4-FFF2-40B4-BE49-F238E27FC236}">
                    <a16:creationId xmlns:a16="http://schemas.microsoft.com/office/drawing/2014/main" id="{7024CCE2-3584-22F9-E35E-5EDB1919503F}"/>
                  </a:ext>
                </a:extLst>
              </p:cNvPr>
              <p:cNvSpPr/>
              <p:nvPr/>
            </p:nvSpPr>
            <p:spPr>
              <a:xfrm>
                <a:off x="7190753" y="5591308"/>
                <a:ext cx="332214" cy="524928"/>
              </a:xfrm>
              <a:custGeom>
                <a:avLst/>
                <a:gdLst>
                  <a:gd name="connsiteX0" fmla="*/ 331519 w 332214"/>
                  <a:gd name="connsiteY0" fmla="*/ 506862 h 524928"/>
                  <a:gd name="connsiteX1" fmla="*/ 308032 w 332214"/>
                  <a:gd name="connsiteY1" fmla="*/ 392141 h 524928"/>
                  <a:gd name="connsiteX2" fmla="*/ 214990 w 332214"/>
                  <a:gd name="connsiteY2" fmla="*/ 257546 h 524928"/>
                  <a:gd name="connsiteX3" fmla="*/ 162598 w 332214"/>
                  <a:gd name="connsiteY3" fmla="*/ 223219 h 524928"/>
                  <a:gd name="connsiteX4" fmla="*/ 95752 w 332214"/>
                  <a:gd name="connsiteY4" fmla="*/ 228640 h 524928"/>
                  <a:gd name="connsiteX5" fmla="*/ 95752 w 332214"/>
                  <a:gd name="connsiteY5" fmla="*/ 49782 h 524928"/>
                  <a:gd name="connsiteX6" fmla="*/ 57813 w 332214"/>
                  <a:gd name="connsiteY6" fmla="*/ 1002 h 524928"/>
                  <a:gd name="connsiteX7" fmla="*/ 17163 w 332214"/>
                  <a:gd name="connsiteY7" fmla="*/ 10035 h 524928"/>
                  <a:gd name="connsiteX8" fmla="*/ 0 w 332214"/>
                  <a:gd name="connsiteY8" fmla="*/ 47071 h 524928"/>
                  <a:gd name="connsiteX9" fmla="*/ 0 w 332214"/>
                  <a:gd name="connsiteY9" fmla="*/ 273806 h 524928"/>
                  <a:gd name="connsiteX10" fmla="*/ 26197 w 332214"/>
                  <a:gd name="connsiteY10" fmla="*/ 356911 h 524928"/>
                  <a:gd name="connsiteX11" fmla="*/ 52393 w 332214"/>
                  <a:gd name="connsiteY11" fmla="*/ 393947 h 524928"/>
                  <a:gd name="connsiteX12" fmla="*/ 64136 w 332214"/>
                  <a:gd name="connsiteY12" fmla="*/ 399367 h 524928"/>
                  <a:gd name="connsiteX13" fmla="*/ 73169 w 332214"/>
                  <a:gd name="connsiteY13" fmla="*/ 396658 h 524928"/>
                  <a:gd name="connsiteX14" fmla="*/ 75879 w 332214"/>
                  <a:gd name="connsiteY14" fmla="*/ 376784 h 524928"/>
                  <a:gd name="connsiteX15" fmla="*/ 49683 w 332214"/>
                  <a:gd name="connsiteY15" fmla="*/ 339748 h 524928"/>
                  <a:gd name="connsiteX16" fmla="*/ 28906 w 332214"/>
                  <a:gd name="connsiteY16" fmla="*/ 273806 h 524928"/>
                  <a:gd name="connsiteX17" fmla="*/ 28906 w 332214"/>
                  <a:gd name="connsiteY17" fmla="*/ 47071 h 524928"/>
                  <a:gd name="connsiteX18" fmla="*/ 37940 w 332214"/>
                  <a:gd name="connsiteY18" fmla="*/ 32619 h 524928"/>
                  <a:gd name="connsiteX19" fmla="*/ 55102 w 332214"/>
                  <a:gd name="connsiteY19" fmla="*/ 29909 h 524928"/>
                  <a:gd name="connsiteX20" fmla="*/ 69556 w 332214"/>
                  <a:gd name="connsiteY20" fmla="*/ 49782 h 524928"/>
                  <a:gd name="connsiteX21" fmla="*/ 69556 w 332214"/>
                  <a:gd name="connsiteY21" fmla="*/ 230446 h 524928"/>
                  <a:gd name="connsiteX22" fmla="*/ 95752 w 332214"/>
                  <a:gd name="connsiteY22" fmla="*/ 299098 h 524928"/>
                  <a:gd name="connsiteX23" fmla="*/ 98462 w 332214"/>
                  <a:gd name="connsiteY23" fmla="*/ 301809 h 524928"/>
                  <a:gd name="connsiteX24" fmla="*/ 130079 w 332214"/>
                  <a:gd name="connsiteY24" fmla="*/ 336134 h 524928"/>
                  <a:gd name="connsiteX25" fmla="*/ 144531 w 332214"/>
                  <a:gd name="connsiteY25" fmla="*/ 353298 h 524928"/>
                  <a:gd name="connsiteX26" fmla="*/ 168018 w 332214"/>
                  <a:gd name="connsiteY26" fmla="*/ 375881 h 524928"/>
                  <a:gd name="connsiteX27" fmla="*/ 188794 w 332214"/>
                  <a:gd name="connsiteY27" fmla="*/ 375881 h 524928"/>
                  <a:gd name="connsiteX28" fmla="*/ 188794 w 332214"/>
                  <a:gd name="connsiteY28" fmla="*/ 356008 h 524928"/>
                  <a:gd name="connsiteX29" fmla="*/ 150855 w 332214"/>
                  <a:gd name="connsiteY29" fmla="*/ 315359 h 524928"/>
                  <a:gd name="connsiteX30" fmla="*/ 115625 w 332214"/>
                  <a:gd name="connsiteY30" fmla="*/ 281032 h 524928"/>
                  <a:gd name="connsiteX31" fmla="*/ 115625 w 332214"/>
                  <a:gd name="connsiteY31" fmla="*/ 249416 h 524928"/>
                  <a:gd name="connsiteX32" fmla="*/ 144531 w 332214"/>
                  <a:gd name="connsiteY32" fmla="*/ 246706 h 524928"/>
                  <a:gd name="connsiteX33" fmla="*/ 196924 w 332214"/>
                  <a:gd name="connsiteY33" fmla="*/ 281032 h 524928"/>
                  <a:gd name="connsiteX34" fmla="*/ 278223 w 332214"/>
                  <a:gd name="connsiteY34" fmla="*/ 398464 h 524928"/>
                  <a:gd name="connsiteX35" fmla="*/ 301710 w 332214"/>
                  <a:gd name="connsiteY35" fmla="*/ 513186 h 524928"/>
                  <a:gd name="connsiteX36" fmla="*/ 316163 w 332214"/>
                  <a:gd name="connsiteY36" fmla="*/ 524929 h 524928"/>
                  <a:gd name="connsiteX37" fmla="*/ 318872 w 332214"/>
                  <a:gd name="connsiteY37" fmla="*/ 524929 h 524928"/>
                  <a:gd name="connsiteX38" fmla="*/ 331519 w 332214"/>
                  <a:gd name="connsiteY38" fmla="*/ 506862 h 524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2214" h="524928">
                    <a:moveTo>
                      <a:pt x="331519" y="506862"/>
                    </a:moveTo>
                    <a:lnTo>
                      <a:pt x="308032" y="392141"/>
                    </a:lnTo>
                    <a:cubicBezTo>
                      <a:pt x="296289" y="337942"/>
                      <a:pt x="264673" y="289162"/>
                      <a:pt x="214990" y="257546"/>
                    </a:cubicBezTo>
                    <a:lnTo>
                      <a:pt x="162598" y="223219"/>
                    </a:lnTo>
                    <a:cubicBezTo>
                      <a:pt x="141822" y="208766"/>
                      <a:pt x="112915" y="211477"/>
                      <a:pt x="95752" y="228640"/>
                    </a:cubicBezTo>
                    <a:lnTo>
                      <a:pt x="95752" y="49782"/>
                    </a:lnTo>
                    <a:cubicBezTo>
                      <a:pt x="95752" y="27199"/>
                      <a:pt x="78589" y="6422"/>
                      <a:pt x="57813" y="1002"/>
                    </a:cubicBezTo>
                    <a:cubicBezTo>
                      <a:pt x="43359" y="-1707"/>
                      <a:pt x="28906" y="1002"/>
                      <a:pt x="17163" y="10035"/>
                    </a:cubicBezTo>
                    <a:cubicBezTo>
                      <a:pt x="5420" y="19069"/>
                      <a:pt x="0" y="32619"/>
                      <a:pt x="0" y="47071"/>
                    </a:cubicBezTo>
                    <a:lnTo>
                      <a:pt x="0" y="273806"/>
                    </a:lnTo>
                    <a:cubicBezTo>
                      <a:pt x="0" y="302712"/>
                      <a:pt x="9033" y="331618"/>
                      <a:pt x="26197" y="356911"/>
                    </a:cubicBezTo>
                    <a:lnTo>
                      <a:pt x="52393" y="393947"/>
                    </a:lnTo>
                    <a:cubicBezTo>
                      <a:pt x="55102" y="396658"/>
                      <a:pt x="61426" y="399367"/>
                      <a:pt x="64136" y="399367"/>
                    </a:cubicBezTo>
                    <a:cubicBezTo>
                      <a:pt x="66846" y="399367"/>
                      <a:pt x="69556" y="399367"/>
                      <a:pt x="73169" y="396658"/>
                    </a:cubicBezTo>
                    <a:cubicBezTo>
                      <a:pt x="78589" y="391238"/>
                      <a:pt x="82202" y="382205"/>
                      <a:pt x="75879" y="376784"/>
                    </a:cubicBezTo>
                    <a:lnTo>
                      <a:pt x="49683" y="339748"/>
                    </a:lnTo>
                    <a:cubicBezTo>
                      <a:pt x="35230" y="319875"/>
                      <a:pt x="28906" y="296389"/>
                      <a:pt x="28906" y="273806"/>
                    </a:cubicBezTo>
                    <a:lnTo>
                      <a:pt x="28906" y="47071"/>
                    </a:lnTo>
                    <a:cubicBezTo>
                      <a:pt x="28906" y="41652"/>
                      <a:pt x="31616" y="35329"/>
                      <a:pt x="37940" y="32619"/>
                    </a:cubicBezTo>
                    <a:cubicBezTo>
                      <a:pt x="43359" y="29909"/>
                      <a:pt x="49683" y="27199"/>
                      <a:pt x="55102" y="29909"/>
                    </a:cubicBezTo>
                    <a:cubicBezTo>
                      <a:pt x="64136" y="32619"/>
                      <a:pt x="69556" y="38942"/>
                      <a:pt x="69556" y="49782"/>
                    </a:cubicBezTo>
                    <a:lnTo>
                      <a:pt x="69556" y="230446"/>
                    </a:lnTo>
                    <a:cubicBezTo>
                      <a:pt x="69556" y="256643"/>
                      <a:pt x="78589" y="279226"/>
                      <a:pt x="95752" y="299098"/>
                    </a:cubicBezTo>
                    <a:lnTo>
                      <a:pt x="98462" y="301809"/>
                    </a:lnTo>
                    <a:cubicBezTo>
                      <a:pt x="107495" y="313551"/>
                      <a:pt x="119239" y="324392"/>
                      <a:pt x="130079" y="336134"/>
                    </a:cubicBezTo>
                    <a:lnTo>
                      <a:pt x="144531" y="353298"/>
                    </a:lnTo>
                    <a:cubicBezTo>
                      <a:pt x="158984" y="367751"/>
                      <a:pt x="168018" y="375881"/>
                      <a:pt x="168018" y="375881"/>
                    </a:cubicBezTo>
                    <a:cubicBezTo>
                      <a:pt x="173438" y="381300"/>
                      <a:pt x="182471" y="381300"/>
                      <a:pt x="188794" y="375881"/>
                    </a:cubicBezTo>
                    <a:cubicBezTo>
                      <a:pt x="194214" y="370461"/>
                      <a:pt x="194214" y="361428"/>
                      <a:pt x="188794" y="356008"/>
                    </a:cubicBezTo>
                    <a:cubicBezTo>
                      <a:pt x="188794" y="356008"/>
                      <a:pt x="171631" y="338845"/>
                      <a:pt x="150855" y="315359"/>
                    </a:cubicBezTo>
                    <a:lnTo>
                      <a:pt x="115625" y="281032"/>
                    </a:lnTo>
                    <a:cubicBezTo>
                      <a:pt x="106592" y="271999"/>
                      <a:pt x="106592" y="258449"/>
                      <a:pt x="115625" y="249416"/>
                    </a:cubicBezTo>
                    <a:cubicBezTo>
                      <a:pt x="124658" y="240382"/>
                      <a:pt x="136401" y="240382"/>
                      <a:pt x="144531" y="246706"/>
                    </a:cubicBezTo>
                    <a:lnTo>
                      <a:pt x="196924" y="281032"/>
                    </a:lnTo>
                    <a:cubicBezTo>
                      <a:pt x="237573" y="309939"/>
                      <a:pt x="266480" y="349684"/>
                      <a:pt x="278223" y="398464"/>
                    </a:cubicBezTo>
                    <a:lnTo>
                      <a:pt x="301710" y="513186"/>
                    </a:lnTo>
                    <a:cubicBezTo>
                      <a:pt x="304419" y="518606"/>
                      <a:pt x="310743" y="524929"/>
                      <a:pt x="316163" y="524929"/>
                    </a:cubicBezTo>
                    <a:lnTo>
                      <a:pt x="318872" y="524929"/>
                    </a:lnTo>
                    <a:cubicBezTo>
                      <a:pt x="328809" y="521315"/>
                      <a:pt x="334229" y="512282"/>
                      <a:pt x="331519" y="506862"/>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0" name="Freeform 89">
                <a:extLst>
                  <a:ext uri="{FF2B5EF4-FFF2-40B4-BE49-F238E27FC236}">
                    <a16:creationId xmlns:a16="http://schemas.microsoft.com/office/drawing/2014/main" id="{CABDE747-A1FB-EB1B-0A4C-06696183A8A9}"/>
                  </a:ext>
                </a:extLst>
              </p:cNvPr>
              <p:cNvSpPr/>
              <p:nvPr/>
            </p:nvSpPr>
            <p:spPr>
              <a:xfrm>
                <a:off x="7272067" y="6011466"/>
                <a:ext cx="31338" cy="31602"/>
              </a:xfrm>
              <a:custGeom>
                <a:avLst/>
                <a:gdLst>
                  <a:gd name="connsiteX0" fmla="*/ 27988 w 31338"/>
                  <a:gd name="connsiteY0" fmla="*/ 6309 h 31602"/>
                  <a:gd name="connsiteX1" fmla="*/ 27988 w 31338"/>
                  <a:gd name="connsiteY1" fmla="*/ 6309 h 31602"/>
                  <a:gd name="connsiteX2" fmla="*/ 6309 w 31338"/>
                  <a:gd name="connsiteY2" fmla="*/ 3599 h 31602"/>
                  <a:gd name="connsiteX3" fmla="*/ 3599 w 31338"/>
                  <a:gd name="connsiteY3" fmla="*/ 25279 h 31602"/>
                  <a:gd name="connsiteX4" fmla="*/ 16245 w 31338"/>
                  <a:gd name="connsiteY4" fmla="*/ 31602 h 31602"/>
                  <a:gd name="connsiteX5" fmla="*/ 25278 w 31338"/>
                  <a:gd name="connsiteY5" fmla="*/ 28892 h 31602"/>
                  <a:gd name="connsiteX6" fmla="*/ 27988 w 31338"/>
                  <a:gd name="connsiteY6" fmla="*/ 6309 h 31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338" h="31601">
                    <a:moveTo>
                      <a:pt x="27988" y="6309"/>
                    </a:moveTo>
                    <a:lnTo>
                      <a:pt x="27988" y="6309"/>
                    </a:lnTo>
                    <a:cubicBezTo>
                      <a:pt x="21666" y="-14"/>
                      <a:pt x="12632" y="-2725"/>
                      <a:pt x="6309" y="3599"/>
                    </a:cubicBezTo>
                    <a:cubicBezTo>
                      <a:pt x="-14" y="9922"/>
                      <a:pt x="-2724" y="18955"/>
                      <a:pt x="3599" y="25279"/>
                    </a:cubicBezTo>
                    <a:cubicBezTo>
                      <a:pt x="6309" y="27989"/>
                      <a:pt x="12632" y="31602"/>
                      <a:pt x="16245" y="31602"/>
                    </a:cubicBezTo>
                    <a:cubicBezTo>
                      <a:pt x="18955" y="31602"/>
                      <a:pt x="22569" y="31602"/>
                      <a:pt x="25278" y="28892"/>
                    </a:cubicBezTo>
                    <a:cubicBezTo>
                      <a:pt x="30699" y="22569"/>
                      <a:pt x="34312" y="12633"/>
                      <a:pt x="27988" y="630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1" name="Freeform 90">
                <a:extLst>
                  <a:ext uri="{FF2B5EF4-FFF2-40B4-BE49-F238E27FC236}">
                    <a16:creationId xmlns:a16="http://schemas.microsoft.com/office/drawing/2014/main" id="{7BA79BE7-F808-C163-BAAE-F1FC5194A5BE}"/>
                  </a:ext>
                </a:extLst>
              </p:cNvPr>
              <p:cNvSpPr/>
              <p:nvPr/>
            </p:nvSpPr>
            <p:spPr>
              <a:xfrm>
                <a:off x="7610098" y="5598136"/>
                <a:ext cx="326177" cy="521713"/>
              </a:xfrm>
              <a:custGeom>
                <a:avLst/>
                <a:gdLst>
                  <a:gd name="connsiteX0" fmla="*/ 308732 w 326177"/>
                  <a:gd name="connsiteY0" fmla="*/ 9531 h 521713"/>
                  <a:gd name="connsiteX1" fmla="*/ 268987 w 326177"/>
                  <a:gd name="connsiteY1" fmla="*/ 1401 h 521713"/>
                  <a:gd name="connsiteX2" fmla="*/ 231950 w 326177"/>
                  <a:gd name="connsiteY2" fmla="*/ 50180 h 521713"/>
                  <a:gd name="connsiteX3" fmla="*/ 231950 w 326177"/>
                  <a:gd name="connsiteY3" fmla="*/ 227231 h 521713"/>
                  <a:gd name="connsiteX4" fmla="*/ 166008 w 326177"/>
                  <a:gd name="connsiteY4" fmla="*/ 221811 h 521713"/>
                  <a:gd name="connsiteX5" fmla="*/ 114518 w 326177"/>
                  <a:gd name="connsiteY5" fmla="*/ 256137 h 521713"/>
                  <a:gd name="connsiteX6" fmla="*/ 23283 w 326177"/>
                  <a:gd name="connsiteY6" fmla="*/ 390732 h 521713"/>
                  <a:gd name="connsiteX7" fmla="*/ 700 w 326177"/>
                  <a:gd name="connsiteY7" fmla="*/ 504550 h 521713"/>
                  <a:gd name="connsiteX8" fmla="*/ 12443 w 326177"/>
                  <a:gd name="connsiteY8" fmla="*/ 521714 h 521713"/>
                  <a:gd name="connsiteX9" fmla="*/ 15153 w 326177"/>
                  <a:gd name="connsiteY9" fmla="*/ 521714 h 521713"/>
                  <a:gd name="connsiteX10" fmla="*/ 29606 w 326177"/>
                  <a:gd name="connsiteY10" fmla="*/ 509970 h 521713"/>
                  <a:gd name="connsiteX11" fmla="*/ 52189 w 326177"/>
                  <a:gd name="connsiteY11" fmla="*/ 396152 h 521713"/>
                  <a:gd name="connsiteX12" fmla="*/ 131682 w 326177"/>
                  <a:gd name="connsiteY12" fmla="*/ 278720 h 521713"/>
                  <a:gd name="connsiteX13" fmla="*/ 183171 w 326177"/>
                  <a:gd name="connsiteY13" fmla="*/ 244394 h 521713"/>
                  <a:gd name="connsiteX14" fmla="*/ 212077 w 326177"/>
                  <a:gd name="connsiteY14" fmla="*/ 247104 h 521713"/>
                  <a:gd name="connsiteX15" fmla="*/ 212077 w 326177"/>
                  <a:gd name="connsiteY15" fmla="*/ 278720 h 521713"/>
                  <a:gd name="connsiteX16" fmla="*/ 140715 w 326177"/>
                  <a:gd name="connsiteY16" fmla="*/ 352793 h 521713"/>
                  <a:gd name="connsiteX17" fmla="*/ 140715 w 326177"/>
                  <a:gd name="connsiteY17" fmla="*/ 372666 h 521713"/>
                  <a:gd name="connsiteX18" fmla="*/ 160588 w 326177"/>
                  <a:gd name="connsiteY18" fmla="*/ 372666 h 521713"/>
                  <a:gd name="connsiteX19" fmla="*/ 229240 w 326177"/>
                  <a:gd name="connsiteY19" fmla="*/ 298594 h 521713"/>
                  <a:gd name="connsiteX20" fmla="*/ 231950 w 326177"/>
                  <a:gd name="connsiteY20" fmla="*/ 295883 h 521713"/>
                  <a:gd name="connsiteX21" fmla="*/ 257243 w 326177"/>
                  <a:gd name="connsiteY21" fmla="*/ 227231 h 521713"/>
                  <a:gd name="connsiteX22" fmla="*/ 257243 w 326177"/>
                  <a:gd name="connsiteY22" fmla="*/ 47470 h 521713"/>
                  <a:gd name="connsiteX23" fmla="*/ 271696 w 326177"/>
                  <a:gd name="connsiteY23" fmla="*/ 27597 h 521713"/>
                  <a:gd name="connsiteX24" fmla="*/ 288860 w 326177"/>
                  <a:gd name="connsiteY24" fmla="*/ 30307 h 521713"/>
                  <a:gd name="connsiteX25" fmla="*/ 296989 w 326177"/>
                  <a:gd name="connsiteY25" fmla="*/ 44759 h 521713"/>
                  <a:gd name="connsiteX26" fmla="*/ 296989 w 326177"/>
                  <a:gd name="connsiteY26" fmla="*/ 270590 h 521713"/>
                  <a:gd name="connsiteX27" fmla="*/ 277116 w 326177"/>
                  <a:gd name="connsiteY27" fmla="*/ 336533 h 521713"/>
                  <a:gd name="connsiteX28" fmla="*/ 166008 w 326177"/>
                  <a:gd name="connsiteY28" fmla="*/ 491001 h 521713"/>
                  <a:gd name="connsiteX29" fmla="*/ 168718 w 326177"/>
                  <a:gd name="connsiteY29" fmla="*/ 510874 h 521713"/>
                  <a:gd name="connsiteX30" fmla="*/ 176848 w 326177"/>
                  <a:gd name="connsiteY30" fmla="*/ 513584 h 521713"/>
                  <a:gd name="connsiteX31" fmla="*/ 188591 w 326177"/>
                  <a:gd name="connsiteY31" fmla="*/ 508164 h 521713"/>
                  <a:gd name="connsiteX32" fmla="*/ 299699 w 326177"/>
                  <a:gd name="connsiteY32" fmla="*/ 353696 h 521713"/>
                  <a:gd name="connsiteX33" fmla="*/ 324993 w 326177"/>
                  <a:gd name="connsiteY33" fmla="*/ 270590 h 521713"/>
                  <a:gd name="connsiteX34" fmla="*/ 324993 w 326177"/>
                  <a:gd name="connsiteY34" fmla="*/ 44759 h 521713"/>
                  <a:gd name="connsiteX35" fmla="*/ 308732 w 326177"/>
                  <a:gd name="connsiteY35" fmla="*/ 9531 h 521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26177" h="521713">
                    <a:moveTo>
                      <a:pt x="308732" y="9531"/>
                    </a:moveTo>
                    <a:cubicBezTo>
                      <a:pt x="296989" y="1401"/>
                      <a:pt x="283439" y="-2213"/>
                      <a:pt x="268987" y="1401"/>
                    </a:cubicBezTo>
                    <a:cubicBezTo>
                      <a:pt x="246404" y="6820"/>
                      <a:pt x="231950" y="26693"/>
                      <a:pt x="231950" y="50180"/>
                    </a:cubicBezTo>
                    <a:lnTo>
                      <a:pt x="231950" y="227231"/>
                    </a:lnTo>
                    <a:cubicBezTo>
                      <a:pt x="214787" y="210068"/>
                      <a:pt x="186784" y="207357"/>
                      <a:pt x="166008" y="221811"/>
                    </a:cubicBezTo>
                    <a:lnTo>
                      <a:pt x="114518" y="256137"/>
                    </a:lnTo>
                    <a:cubicBezTo>
                      <a:pt x="69352" y="287753"/>
                      <a:pt x="35026" y="335630"/>
                      <a:pt x="23283" y="390732"/>
                    </a:cubicBezTo>
                    <a:lnTo>
                      <a:pt x="700" y="504550"/>
                    </a:lnTo>
                    <a:cubicBezTo>
                      <a:pt x="-2010" y="512680"/>
                      <a:pt x="3410" y="519003"/>
                      <a:pt x="12443" y="521714"/>
                    </a:cubicBezTo>
                    <a:lnTo>
                      <a:pt x="15153" y="521714"/>
                    </a:lnTo>
                    <a:cubicBezTo>
                      <a:pt x="20573" y="521714"/>
                      <a:pt x="26897" y="516294"/>
                      <a:pt x="29606" y="509970"/>
                    </a:cubicBezTo>
                    <a:lnTo>
                      <a:pt x="52189" y="396152"/>
                    </a:lnTo>
                    <a:cubicBezTo>
                      <a:pt x="63932" y="347372"/>
                      <a:pt x="89225" y="307627"/>
                      <a:pt x="131682" y="278720"/>
                    </a:cubicBezTo>
                    <a:lnTo>
                      <a:pt x="183171" y="244394"/>
                    </a:lnTo>
                    <a:cubicBezTo>
                      <a:pt x="191301" y="238974"/>
                      <a:pt x="205754" y="238974"/>
                      <a:pt x="212077" y="247104"/>
                    </a:cubicBezTo>
                    <a:cubicBezTo>
                      <a:pt x="220207" y="255234"/>
                      <a:pt x="220207" y="269687"/>
                      <a:pt x="212077" y="278720"/>
                    </a:cubicBezTo>
                    <a:lnTo>
                      <a:pt x="140715" y="352793"/>
                    </a:lnTo>
                    <a:cubicBezTo>
                      <a:pt x="135295" y="358213"/>
                      <a:pt x="135295" y="367246"/>
                      <a:pt x="140715" y="372666"/>
                    </a:cubicBezTo>
                    <a:cubicBezTo>
                      <a:pt x="146135" y="378085"/>
                      <a:pt x="155168" y="378085"/>
                      <a:pt x="160588" y="372666"/>
                    </a:cubicBezTo>
                    <a:cubicBezTo>
                      <a:pt x="160588" y="372666"/>
                      <a:pt x="220207" y="309433"/>
                      <a:pt x="229240" y="298594"/>
                    </a:cubicBezTo>
                    <a:lnTo>
                      <a:pt x="231950" y="295883"/>
                    </a:lnTo>
                    <a:cubicBezTo>
                      <a:pt x="249113" y="276011"/>
                      <a:pt x="257243" y="253428"/>
                      <a:pt x="257243" y="227231"/>
                    </a:cubicBezTo>
                    <a:lnTo>
                      <a:pt x="257243" y="47470"/>
                    </a:lnTo>
                    <a:cubicBezTo>
                      <a:pt x="257243" y="39340"/>
                      <a:pt x="262663" y="30307"/>
                      <a:pt x="271696" y="27597"/>
                    </a:cubicBezTo>
                    <a:cubicBezTo>
                      <a:pt x="277116" y="27597"/>
                      <a:pt x="283439" y="27597"/>
                      <a:pt x="288860" y="30307"/>
                    </a:cubicBezTo>
                    <a:cubicBezTo>
                      <a:pt x="294279" y="33017"/>
                      <a:pt x="296989" y="38437"/>
                      <a:pt x="296989" y="44759"/>
                    </a:cubicBezTo>
                    <a:lnTo>
                      <a:pt x="296989" y="270590"/>
                    </a:lnTo>
                    <a:cubicBezTo>
                      <a:pt x="296989" y="293173"/>
                      <a:pt x="288860" y="316660"/>
                      <a:pt x="277116" y="336533"/>
                    </a:cubicBezTo>
                    <a:lnTo>
                      <a:pt x="166008" y="491001"/>
                    </a:lnTo>
                    <a:cubicBezTo>
                      <a:pt x="160588" y="496420"/>
                      <a:pt x="163298" y="505453"/>
                      <a:pt x="168718" y="510874"/>
                    </a:cubicBezTo>
                    <a:cubicBezTo>
                      <a:pt x="171428" y="513584"/>
                      <a:pt x="174138" y="513584"/>
                      <a:pt x="176848" y="513584"/>
                    </a:cubicBezTo>
                    <a:cubicBezTo>
                      <a:pt x="182267" y="513584"/>
                      <a:pt x="184978" y="510874"/>
                      <a:pt x="188591" y="508164"/>
                    </a:cubicBezTo>
                    <a:lnTo>
                      <a:pt x="299699" y="353696"/>
                    </a:lnTo>
                    <a:cubicBezTo>
                      <a:pt x="316862" y="331113"/>
                      <a:pt x="324993" y="302206"/>
                      <a:pt x="324993" y="270590"/>
                    </a:cubicBezTo>
                    <a:lnTo>
                      <a:pt x="324993" y="44759"/>
                    </a:lnTo>
                    <a:cubicBezTo>
                      <a:pt x="329509" y="32114"/>
                      <a:pt x="320476" y="17660"/>
                      <a:pt x="308732" y="9531"/>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2" name="Freeform 91">
                <a:extLst>
                  <a:ext uri="{FF2B5EF4-FFF2-40B4-BE49-F238E27FC236}">
                    <a16:creationId xmlns:a16="http://schemas.microsoft.com/office/drawing/2014/main" id="{C648CE51-B36B-DC9A-3658-68E9FB4451BC}"/>
                  </a:ext>
                </a:extLst>
              </p:cNvPr>
              <p:cNvSpPr/>
              <p:nvPr/>
            </p:nvSpPr>
            <p:spPr>
              <a:xfrm>
                <a:off x="7328058" y="5441456"/>
                <a:ext cx="477856" cy="383008"/>
              </a:xfrm>
              <a:custGeom>
                <a:avLst/>
                <a:gdLst>
                  <a:gd name="connsiteX0" fmla="*/ 448047 w 477856"/>
                  <a:gd name="connsiteY0" fmla="*/ 284546 h 383008"/>
                  <a:gd name="connsiteX1" fmla="*/ 387525 w 477856"/>
                  <a:gd name="connsiteY1" fmla="*/ 284546 h 383008"/>
                  <a:gd name="connsiteX2" fmla="*/ 324292 w 477856"/>
                  <a:gd name="connsiteY2" fmla="*/ 233056 h 383008"/>
                  <a:gd name="connsiteX3" fmla="*/ 315259 w 477856"/>
                  <a:gd name="connsiteY3" fmla="*/ 230347 h 383008"/>
                  <a:gd name="connsiteX4" fmla="*/ 337842 w 477856"/>
                  <a:gd name="connsiteY4" fmla="*/ 224927 h 383008"/>
                  <a:gd name="connsiteX5" fmla="*/ 343262 w 477856"/>
                  <a:gd name="connsiteY5" fmla="*/ 222217 h 383008"/>
                  <a:gd name="connsiteX6" fmla="*/ 348682 w 477856"/>
                  <a:gd name="connsiteY6" fmla="*/ 210473 h 383008"/>
                  <a:gd name="connsiteX7" fmla="*/ 348682 w 477856"/>
                  <a:gd name="connsiteY7" fmla="*/ 205054 h 383008"/>
                  <a:gd name="connsiteX8" fmla="*/ 357715 w 477856"/>
                  <a:gd name="connsiteY8" fmla="*/ 205054 h 383008"/>
                  <a:gd name="connsiteX9" fmla="*/ 366748 w 477856"/>
                  <a:gd name="connsiteY9" fmla="*/ 205054 h 383008"/>
                  <a:gd name="connsiteX10" fmla="*/ 366748 w 477856"/>
                  <a:gd name="connsiteY10" fmla="*/ 210473 h 383008"/>
                  <a:gd name="connsiteX11" fmla="*/ 378491 w 477856"/>
                  <a:gd name="connsiteY11" fmla="*/ 224927 h 383008"/>
                  <a:gd name="connsiteX12" fmla="*/ 415528 w 477856"/>
                  <a:gd name="connsiteY12" fmla="*/ 233056 h 383008"/>
                  <a:gd name="connsiteX13" fmla="*/ 447144 w 477856"/>
                  <a:gd name="connsiteY13" fmla="*/ 270093 h 383008"/>
                  <a:gd name="connsiteX14" fmla="*/ 447144 w 477856"/>
                  <a:gd name="connsiteY14" fmla="*/ 284546 h 383008"/>
                  <a:gd name="connsiteX15" fmla="*/ 284546 w 477856"/>
                  <a:gd name="connsiteY15" fmla="*/ 207764 h 383008"/>
                  <a:gd name="connsiteX16" fmla="*/ 284546 w 477856"/>
                  <a:gd name="connsiteY16" fmla="*/ 207764 h 383008"/>
                  <a:gd name="connsiteX17" fmla="*/ 310742 w 477856"/>
                  <a:gd name="connsiteY17" fmla="*/ 182471 h 383008"/>
                  <a:gd name="connsiteX18" fmla="*/ 322486 w 477856"/>
                  <a:gd name="connsiteY18" fmla="*/ 194214 h 383008"/>
                  <a:gd name="connsiteX19" fmla="*/ 322486 w 477856"/>
                  <a:gd name="connsiteY19" fmla="*/ 199634 h 383008"/>
                  <a:gd name="connsiteX20" fmla="*/ 296289 w 477856"/>
                  <a:gd name="connsiteY20" fmla="*/ 205054 h 383008"/>
                  <a:gd name="connsiteX21" fmla="*/ 284546 w 477856"/>
                  <a:gd name="connsiteY21" fmla="*/ 207764 h 383008"/>
                  <a:gd name="connsiteX22" fmla="*/ 238477 w 477856"/>
                  <a:gd name="connsiteY22" fmla="*/ 193311 h 383008"/>
                  <a:gd name="connsiteX23" fmla="*/ 180664 w 477856"/>
                  <a:gd name="connsiteY23" fmla="*/ 136401 h 383008"/>
                  <a:gd name="connsiteX24" fmla="*/ 180664 w 477856"/>
                  <a:gd name="connsiteY24" fmla="*/ 121948 h 383008"/>
                  <a:gd name="connsiteX25" fmla="*/ 200537 w 477856"/>
                  <a:gd name="connsiteY25" fmla="*/ 121948 h 383008"/>
                  <a:gd name="connsiteX26" fmla="*/ 263770 w 477856"/>
                  <a:gd name="connsiteY26" fmla="*/ 99365 h 383008"/>
                  <a:gd name="connsiteX27" fmla="*/ 295386 w 477856"/>
                  <a:gd name="connsiteY27" fmla="*/ 116529 h 383008"/>
                  <a:gd name="connsiteX28" fmla="*/ 295386 w 477856"/>
                  <a:gd name="connsiteY28" fmla="*/ 139112 h 383008"/>
                  <a:gd name="connsiteX29" fmla="*/ 238477 w 477856"/>
                  <a:gd name="connsiteY29" fmla="*/ 193311 h 383008"/>
                  <a:gd name="connsiteX30" fmla="*/ 255640 w 477856"/>
                  <a:gd name="connsiteY30" fmla="*/ 230347 h 383008"/>
                  <a:gd name="connsiteX31" fmla="*/ 238477 w 477856"/>
                  <a:gd name="connsiteY31" fmla="*/ 270093 h 383008"/>
                  <a:gd name="connsiteX32" fmla="*/ 221314 w 477856"/>
                  <a:gd name="connsiteY32" fmla="*/ 230347 h 383008"/>
                  <a:gd name="connsiteX33" fmla="*/ 221314 w 477856"/>
                  <a:gd name="connsiteY33" fmla="*/ 218603 h 383008"/>
                  <a:gd name="connsiteX34" fmla="*/ 238477 w 477856"/>
                  <a:gd name="connsiteY34" fmla="*/ 221314 h 383008"/>
                  <a:gd name="connsiteX35" fmla="*/ 255640 w 477856"/>
                  <a:gd name="connsiteY35" fmla="*/ 218603 h 383008"/>
                  <a:gd name="connsiteX36" fmla="*/ 255640 w 477856"/>
                  <a:gd name="connsiteY36" fmla="*/ 230347 h 383008"/>
                  <a:gd name="connsiteX37" fmla="*/ 193310 w 477856"/>
                  <a:gd name="connsiteY37" fmla="*/ 207764 h 383008"/>
                  <a:gd name="connsiteX38" fmla="*/ 181567 w 477856"/>
                  <a:gd name="connsiteY38" fmla="*/ 205054 h 383008"/>
                  <a:gd name="connsiteX39" fmla="*/ 155371 w 477856"/>
                  <a:gd name="connsiteY39" fmla="*/ 199634 h 383008"/>
                  <a:gd name="connsiteX40" fmla="*/ 155371 w 477856"/>
                  <a:gd name="connsiteY40" fmla="*/ 194214 h 383008"/>
                  <a:gd name="connsiteX41" fmla="*/ 167114 w 477856"/>
                  <a:gd name="connsiteY41" fmla="*/ 182471 h 383008"/>
                  <a:gd name="connsiteX42" fmla="*/ 193310 w 477856"/>
                  <a:gd name="connsiteY42" fmla="*/ 207764 h 383008"/>
                  <a:gd name="connsiteX43" fmla="*/ 149951 w 477856"/>
                  <a:gd name="connsiteY43" fmla="*/ 230347 h 383008"/>
                  <a:gd name="connsiteX44" fmla="*/ 86719 w 477856"/>
                  <a:gd name="connsiteY44" fmla="*/ 281836 h 383008"/>
                  <a:gd name="connsiteX45" fmla="*/ 26196 w 477856"/>
                  <a:gd name="connsiteY45" fmla="*/ 281836 h 383008"/>
                  <a:gd name="connsiteX46" fmla="*/ 26196 w 477856"/>
                  <a:gd name="connsiteY46" fmla="*/ 270093 h 383008"/>
                  <a:gd name="connsiteX47" fmla="*/ 57812 w 477856"/>
                  <a:gd name="connsiteY47" fmla="*/ 233056 h 383008"/>
                  <a:gd name="connsiteX48" fmla="*/ 94849 w 477856"/>
                  <a:gd name="connsiteY48" fmla="*/ 224927 h 383008"/>
                  <a:gd name="connsiteX49" fmla="*/ 106592 w 477856"/>
                  <a:gd name="connsiteY49" fmla="*/ 210473 h 383008"/>
                  <a:gd name="connsiteX50" fmla="*/ 106592 w 477856"/>
                  <a:gd name="connsiteY50" fmla="*/ 205054 h 383008"/>
                  <a:gd name="connsiteX51" fmla="*/ 115625 w 477856"/>
                  <a:gd name="connsiteY51" fmla="*/ 205054 h 383008"/>
                  <a:gd name="connsiteX52" fmla="*/ 124658 w 477856"/>
                  <a:gd name="connsiteY52" fmla="*/ 205054 h 383008"/>
                  <a:gd name="connsiteX53" fmla="*/ 124658 w 477856"/>
                  <a:gd name="connsiteY53" fmla="*/ 207764 h 383008"/>
                  <a:gd name="connsiteX54" fmla="*/ 130078 w 477856"/>
                  <a:gd name="connsiteY54" fmla="*/ 219506 h 383008"/>
                  <a:gd name="connsiteX55" fmla="*/ 135498 w 477856"/>
                  <a:gd name="connsiteY55" fmla="*/ 222217 h 383008"/>
                  <a:gd name="connsiteX56" fmla="*/ 158081 w 477856"/>
                  <a:gd name="connsiteY56" fmla="*/ 227637 h 383008"/>
                  <a:gd name="connsiteX57" fmla="*/ 149951 w 477856"/>
                  <a:gd name="connsiteY57" fmla="*/ 230347 h 383008"/>
                  <a:gd name="connsiteX58" fmla="*/ 81299 w 477856"/>
                  <a:gd name="connsiteY58" fmla="*/ 133691 h 383008"/>
                  <a:gd name="connsiteX59" fmla="*/ 101172 w 477856"/>
                  <a:gd name="connsiteY59" fmla="*/ 133691 h 383008"/>
                  <a:gd name="connsiteX60" fmla="*/ 152661 w 477856"/>
                  <a:gd name="connsiteY60" fmla="*/ 121948 h 383008"/>
                  <a:gd name="connsiteX61" fmla="*/ 152661 w 477856"/>
                  <a:gd name="connsiteY61" fmla="*/ 139112 h 383008"/>
                  <a:gd name="connsiteX62" fmla="*/ 115625 w 477856"/>
                  <a:gd name="connsiteY62" fmla="*/ 176148 h 383008"/>
                  <a:gd name="connsiteX63" fmla="*/ 78589 w 477856"/>
                  <a:gd name="connsiteY63" fmla="*/ 139112 h 383008"/>
                  <a:gd name="connsiteX64" fmla="*/ 78589 w 477856"/>
                  <a:gd name="connsiteY64" fmla="*/ 133691 h 383008"/>
                  <a:gd name="connsiteX65" fmla="*/ 81299 w 477856"/>
                  <a:gd name="connsiteY65" fmla="*/ 133691 h 383008"/>
                  <a:gd name="connsiteX66" fmla="*/ 115625 w 477856"/>
                  <a:gd name="connsiteY66" fmla="*/ 70458 h 383008"/>
                  <a:gd name="connsiteX67" fmla="*/ 149951 w 477856"/>
                  <a:gd name="connsiteY67" fmla="*/ 93041 h 383008"/>
                  <a:gd name="connsiteX68" fmla="*/ 101172 w 477856"/>
                  <a:gd name="connsiteY68" fmla="*/ 104785 h 383008"/>
                  <a:gd name="connsiteX69" fmla="*/ 81299 w 477856"/>
                  <a:gd name="connsiteY69" fmla="*/ 104785 h 383008"/>
                  <a:gd name="connsiteX70" fmla="*/ 115625 w 477856"/>
                  <a:gd name="connsiteY70" fmla="*/ 70458 h 383008"/>
                  <a:gd name="connsiteX71" fmla="*/ 181567 w 477856"/>
                  <a:gd name="connsiteY71" fmla="*/ 87622 h 383008"/>
                  <a:gd name="connsiteX72" fmla="*/ 181567 w 477856"/>
                  <a:gd name="connsiteY72" fmla="*/ 87622 h 383008"/>
                  <a:gd name="connsiteX73" fmla="*/ 239380 w 477856"/>
                  <a:gd name="connsiteY73" fmla="*/ 30713 h 383008"/>
                  <a:gd name="connsiteX74" fmla="*/ 293579 w 477856"/>
                  <a:gd name="connsiteY74" fmla="*/ 79492 h 383008"/>
                  <a:gd name="connsiteX75" fmla="*/ 267383 w 477856"/>
                  <a:gd name="connsiteY75" fmla="*/ 65039 h 383008"/>
                  <a:gd name="connsiteX76" fmla="*/ 247510 w 477856"/>
                  <a:gd name="connsiteY76" fmla="*/ 67749 h 383008"/>
                  <a:gd name="connsiteX77" fmla="*/ 198731 w 477856"/>
                  <a:gd name="connsiteY77" fmla="*/ 90332 h 383008"/>
                  <a:gd name="connsiteX78" fmla="*/ 181567 w 477856"/>
                  <a:gd name="connsiteY78" fmla="*/ 87622 h 383008"/>
                  <a:gd name="connsiteX79" fmla="*/ 325196 w 477856"/>
                  <a:gd name="connsiteY79" fmla="*/ 139112 h 383008"/>
                  <a:gd name="connsiteX80" fmla="*/ 325196 w 477856"/>
                  <a:gd name="connsiteY80" fmla="*/ 139112 h 383008"/>
                  <a:gd name="connsiteX81" fmla="*/ 325196 w 477856"/>
                  <a:gd name="connsiteY81" fmla="*/ 124658 h 383008"/>
                  <a:gd name="connsiteX82" fmla="*/ 376685 w 477856"/>
                  <a:gd name="connsiteY82" fmla="*/ 136401 h 383008"/>
                  <a:gd name="connsiteX83" fmla="*/ 396558 w 477856"/>
                  <a:gd name="connsiteY83" fmla="*/ 136401 h 383008"/>
                  <a:gd name="connsiteX84" fmla="*/ 396558 w 477856"/>
                  <a:gd name="connsiteY84" fmla="*/ 141821 h 383008"/>
                  <a:gd name="connsiteX85" fmla="*/ 359522 w 477856"/>
                  <a:gd name="connsiteY85" fmla="*/ 178857 h 383008"/>
                  <a:gd name="connsiteX86" fmla="*/ 325196 w 477856"/>
                  <a:gd name="connsiteY86" fmla="*/ 139112 h 383008"/>
                  <a:gd name="connsiteX87" fmla="*/ 359522 w 477856"/>
                  <a:gd name="connsiteY87" fmla="*/ 70458 h 383008"/>
                  <a:gd name="connsiteX88" fmla="*/ 396558 w 477856"/>
                  <a:gd name="connsiteY88" fmla="*/ 104785 h 383008"/>
                  <a:gd name="connsiteX89" fmla="*/ 376685 w 477856"/>
                  <a:gd name="connsiteY89" fmla="*/ 104785 h 383008"/>
                  <a:gd name="connsiteX90" fmla="*/ 327906 w 477856"/>
                  <a:gd name="connsiteY90" fmla="*/ 93041 h 383008"/>
                  <a:gd name="connsiteX91" fmla="*/ 359522 w 477856"/>
                  <a:gd name="connsiteY91" fmla="*/ 70458 h 383008"/>
                  <a:gd name="connsiteX92" fmla="*/ 425464 w 477856"/>
                  <a:gd name="connsiteY92" fmla="*/ 205054 h 383008"/>
                  <a:gd name="connsiteX93" fmla="*/ 399268 w 477856"/>
                  <a:gd name="connsiteY93" fmla="*/ 199634 h 383008"/>
                  <a:gd name="connsiteX94" fmla="*/ 399268 w 477856"/>
                  <a:gd name="connsiteY94" fmla="*/ 194214 h 383008"/>
                  <a:gd name="connsiteX95" fmla="*/ 428174 w 477856"/>
                  <a:gd name="connsiteY95" fmla="*/ 140015 h 383008"/>
                  <a:gd name="connsiteX96" fmla="*/ 428174 w 477856"/>
                  <a:gd name="connsiteY96" fmla="*/ 105688 h 383008"/>
                  <a:gd name="connsiteX97" fmla="*/ 362232 w 477856"/>
                  <a:gd name="connsiteY97" fmla="*/ 39746 h 383008"/>
                  <a:gd name="connsiteX98" fmla="*/ 318872 w 477856"/>
                  <a:gd name="connsiteY98" fmla="*/ 54199 h 383008"/>
                  <a:gd name="connsiteX99" fmla="*/ 238477 w 477856"/>
                  <a:gd name="connsiteY99" fmla="*/ 0 h 383008"/>
                  <a:gd name="connsiteX100" fmla="*/ 158081 w 477856"/>
                  <a:gd name="connsiteY100" fmla="*/ 54199 h 383008"/>
                  <a:gd name="connsiteX101" fmla="*/ 114722 w 477856"/>
                  <a:gd name="connsiteY101" fmla="*/ 37036 h 383008"/>
                  <a:gd name="connsiteX102" fmla="*/ 48779 w 477856"/>
                  <a:gd name="connsiteY102" fmla="*/ 102979 h 383008"/>
                  <a:gd name="connsiteX103" fmla="*/ 48779 w 477856"/>
                  <a:gd name="connsiteY103" fmla="*/ 105688 h 383008"/>
                  <a:gd name="connsiteX104" fmla="*/ 48779 w 477856"/>
                  <a:gd name="connsiteY104" fmla="*/ 137304 h 383008"/>
                  <a:gd name="connsiteX105" fmla="*/ 77685 w 477856"/>
                  <a:gd name="connsiteY105" fmla="*/ 191504 h 383008"/>
                  <a:gd name="connsiteX106" fmla="*/ 77685 w 477856"/>
                  <a:gd name="connsiteY106" fmla="*/ 196923 h 383008"/>
                  <a:gd name="connsiteX107" fmla="*/ 51489 w 477856"/>
                  <a:gd name="connsiteY107" fmla="*/ 202344 h 383008"/>
                  <a:gd name="connsiteX108" fmla="*/ 0 w 477856"/>
                  <a:gd name="connsiteY108" fmla="*/ 268286 h 383008"/>
                  <a:gd name="connsiteX109" fmla="*/ 0 w 477856"/>
                  <a:gd name="connsiteY109" fmla="*/ 297193 h 383008"/>
                  <a:gd name="connsiteX110" fmla="*/ 14453 w 477856"/>
                  <a:gd name="connsiteY110" fmla="*/ 311646 h 383008"/>
                  <a:gd name="connsiteX111" fmla="*/ 80395 w 477856"/>
                  <a:gd name="connsiteY111" fmla="*/ 311646 h 383008"/>
                  <a:gd name="connsiteX112" fmla="*/ 80395 w 477856"/>
                  <a:gd name="connsiteY112" fmla="*/ 317066 h 383008"/>
                  <a:gd name="connsiteX113" fmla="*/ 80395 w 477856"/>
                  <a:gd name="connsiteY113" fmla="*/ 368555 h 383008"/>
                  <a:gd name="connsiteX114" fmla="*/ 94849 w 477856"/>
                  <a:gd name="connsiteY114" fmla="*/ 383009 h 383008"/>
                  <a:gd name="connsiteX115" fmla="*/ 184277 w 477856"/>
                  <a:gd name="connsiteY115" fmla="*/ 383009 h 383008"/>
                  <a:gd name="connsiteX116" fmla="*/ 198731 w 477856"/>
                  <a:gd name="connsiteY116" fmla="*/ 368555 h 383008"/>
                  <a:gd name="connsiteX117" fmla="*/ 184277 w 477856"/>
                  <a:gd name="connsiteY117" fmla="*/ 354102 h 383008"/>
                  <a:gd name="connsiteX118" fmla="*/ 169824 w 477856"/>
                  <a:gd name="connsiteY118" fmla="*/ 354102 h 383008"/>
                  <a:gd name="connsiteX119" fmla="*/ 169824 w 477856"/>
                  <a:gd name="connsiteY119" fmla="*/ 322485 h 383008"/>
                  <a:gd name="connsiteX120" fmla="*/ 155371 w 477856"/>
                  <a:gd name="connsiteY120" fmla="*/ 308032 h 383008"/>
                  <a:gd name="connsiteX121" fmla="*/ 140918 w 477856"/>
                  <a:gd name="connsiteY121" fmla="*/ 322485 h 383008"/>
                  <a:gd name="connsiteX122" fmla="*/ 140918 w 477856"/>
                  <a:gd name="connsiteY122" fmla="*/ 354102 h 383008"/>
                  <a:gd name="connsiteX123" fmla="*/ 112012 w 477856"/>
                  <a:gd name="connsiteY123" fmla="*/ 354102 h 383008"/>
                  <a:gd name="connsiteX124" fmla="*/ 112012 w 477856"/>
                  <a:gd name="connsiteY124" fmla="*/ 317066 h 383008"/>
                  <a:gd name="connsiteX125" fmla="*/ 158081 w 477856"/>
                  <a:gd name="connsiteY125" fmla="*/ 257447 h 383008"/>
                  <a:gd name="connsiteX126" fmla="*/ 197827 w 477856"/>
                  <a:gd name="connsiteY126" fmla="*/ 249317 h 383008"/>
                  <a:gd name="connsiteX127" fmla="*/ 224024 w 477856"/>
                  <a:gd name="connsiteY127" fmla="*/ 308936 h 383008"/>
                  <a:gd name="connsiteX128" fmla="*/ 238477 w 477856"/>
                  <a:gd name="connsiteY128" fmla="*/ 317066 h 383008"/>
                  <a:gd name="connsiteX129" fmla="*/ 252930 w 477856"/>
                  <a:gd name="connsiteY129" fmla="*/ 308936 h 383008"/>
                  <a:gd name="connsiteX130" fmla="*/ 279126 w 477856"/>
                  <a:gd name="connsiteY130" fmla="*/ 249317 h 383008"/>
                  <a:gd name="connsiteX131" fmla="*/ 319775 w 477856"/>
                  <a:gd name="connsiteY131" fmla="*/ 257447 h 383008"/>
                  <a:gd name="connsiteX132" fmla="*/ 365845 w 477856"/>
                  <a:gd name="connsiteY132" fmla="*/ 317066 h 383008"/>
                  <a:gd name="connsiteX133" fmla="*/ 365845 w 477856"/>
                  <a:gd name="connsiteY133" fmla="*/ 354102 h 383008"/>
                  <a:gd name="connsiteX134" fmla="*/ 336939 w 477856"/>
                  <a:gd name="connsiteY134" fmla="*/ 354102 h 383008"/>
                  <a:gd name="connsiteX135" fmla="*/ 336939 w 477856"/>
                  <a:gd name="connsiteY135" fmla="*/ 322485 h 383008"/>
                  <a:gd name="connsiteX136" fmla="*/ 322486 w 477856"/>
                  <a:gd name="connsiteY136" fmla="*/ 308032 h 383008"/>
                  <a:gd name="connsiteX137" fmla="*/ 308032 w 477856"/>
                  <a:gd name="connsiteY137" fmla="*/ 322485 h 383008"/>
                  <a:gd name="connsiteX138" fmla="*/ 308032 w 477856"/>
                  <a:gd name="connsiteY138" fmla="*/ 354102 h 383008"/>
                  <a:gd name="connsiteX139" fmla="*/ 290870 w 477856"/>
                  <a:gd name="connsiteY139" fmla="*/ 354102 h 383008"/>
                  <a:gd name="connsiteX140" fmla="*/ 276416 w 477856"/>
                  <a:gd name="connsiteY140" fmla="*/ 368555 h 383008"/>
                  <a:gd name="connsiteX141" fmla="*/ 290870 w 477856"/>
                  <a:gd name="connsiteY141" fmla="*/ 383009 h 383008"/>
                  <a:gd name="connsiteX142" fmla="*/ 380298 w 477856"/>
                  <a:gd name="connsiteY142" fmla="*/ 383009 h 383008"/>
                  <a:gd name="connsiteX143" fmla="*/ 394752 w 477856"/>
                  <a:gd name="connsiteY143" fmla="*/ 368555 h 383008"/>
                  <a:gd name="connsiteX144" fmla="*/ 394752 w 477856"/>
                  <a:gd name="connsiteY144" fmla="*/ 317066 h 383008"/>
                  <a:gd name="connsiteX145" fmla="*/ 394752 w 477856"/>
                  <a:gd name="connsiteY145" fmla="*/ 311646 h 383008"/>
                  <a:gd name="connsiteX146" fmla="*/ 463404 w 477856"/>
                  <a:gd name="connsiteY146" fmla="*/ 311646 h 383008"/>
                  <a:gd name="connsiteX147" fmla="*/ 477857 w 477856"/>
                  <a:gd name="connsiteY147" fmla="*/ 297193 h 383008"/>
                  <a:gd name="connsiteX148" fmla="*/ 477857 w 477856"/>
                  <a:gd name="connsiteY148" fmla="*/ 268286 h 383008"/>
                  <a:gd name="connsiteX149" fmla="*/ 425464 w 477856"/>
                  <a:gd name="connsiteY149" fmla="*/ 205054 h 38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477856" h="383008">
                    <a:moveTo>
                      <a:pt x="448047" y="284546"/>
                    </a:moveTo>
                    <a:lnTo>
                      <a:pt x="387525" y="284546"/>
                    </a:lnTo>
                    <a:cubicBezTo>
                      <a:pt x="375782" y="259253"/>
                      <a:pt x="353198" y="238477"/>
                      <a:pt x="324292" y="233056"/>
                    </a:cubicBezTo>
                    <a:lnTo>
                      <a:pt x="315259" y="230347"/>
                    </a:lnTo>
                    <a:lnTo>
                      <a:pt x="337842" y="224927"/>
                    </a:lnTo>
                    <a:cubicBezTo>
                      <a:pt x="340552" y="224927"/>
                      <a:pt x="340552" y="224927"/>
                      <a:pt x="343262" y="222217"/>
                    </a:cubicBezTo>
                    <a:cubicBezTo>
                      <a:pt x="348682" y="219506"/>
                      <a:pt x="348682" y="214087"/>
                      <a:pt x="348682" y="210473"/>
                    </a:cubicBezTo>
                    <a:lnTo>
                      <a:pt x="348682" y="205054"/>
                    </a:lnTo>
                    <a:cubicBezTo>
                      <a:pt x="351392" y="205054"/>
                      <a:pt x="354102" y="205054"/>
                      <a:pt x="357715" y="205054"/>
                    </a:cubicBezTo>
                    <a:cubicBezTo>
                      <a:pt x="361329" y="205054"/>
                      <a:pt x="363135" y="205054"/>
                      <a:pt x="366748" y="205054"/>
                    </a:cubicBezTo>
                    <a:lnTo>
                      <a:pt x="366748" y="210473"/>
                    </a:lnTo>
                    <a:cubicBezTo>
                      <a:pt x="366748" y="215894"/>
                      <a:pt x="372169" y="222217"/>
                      <a:pt x="378491" y="224927"/>
                    </a:cubicBezTo>
                    <a:lnTo>
                      <a:pt x="415528" y="233056"/>
                    </a:lnTo>
                    <a:cubicBezTo>
                      <a:pt x="432691" y="235767"/>
                      <a:pt x="447144" y="252930"/>
                      <a:pt x="447144" y="270093"/>
                    </a:cubicBezTo>
                    <a:lnTo>
                      <a:pt x="447144" y="284546"/>
                    </a:lnTo>
                    <a:close/>
                    <a:moveTo>
                      <a:pt x="284546" y="207764"/>
                    </a:moveTo>
                    <a:lnTo>
                      <a:pt x="284546" y="207764"/>
                    </a:lnTo>
                    <a:cubicBezTo>
                      <a:pt x="296289" y="199634"/>
                      <a:pt x="304419" y="190601"/>
                      <a:pt x="310742" y="182471"/>
                    </a:cubicBezTo>
                    <a:cubicBezTo>
                      <a:pt x="313453" y="187890"/>
                      <a:pt x="319775" y="190601"/>
                      <a:pt x="322486" y="194214"/>
                    </a:cubicBezTo>
                    <a:lnTo>
                      <a:pt x="322486" y="199634"/>
                    </a:lnTo>
                    <a:lnTo>
                      <a:pt x="296289" y="205054"/>
                    </a:lnTo>
                    <a:cubicBezTo>
                      <a:pt x="293579" y="205054"/>
                      <a:pt x="287256" y="207764"/>
                      <a:pt x="284546" y="207764"/>
                    </a:cubicBezTo>
                    <a:close/>
                    <a:moveTo>
                      <a:pt x="238477" y="193311"/>
                    </a:moveTo>
                    <a:cubicBezTo>
                      <a:pt x="206860" y="193311"/>
                      <a:pt x="180664" y="168018"/>
                      <a:pt x="180664" y="136401"/>
                    </a:cubicBezTo>
                    <a:lnTo>
                      <a:pt x="180664" y="121948"/>
                    </a:lnTo>
                    <a:lnTo>
                      <a:pt x="200537" y="121948"/>
                    </a:lnTo>
                    <a:cubicBezTo>
                      <a:pt x="223121" y="121948"/>
                      <a:pt x="246607" y="113818"/>
                      <a:pt x="263770" y="99365"/>
                    </a:cubicBezTo>
                    <a:lnTo>
                      <a:pt x="295386" y="116529"/>
                    </a:lnTo>
                    <a:lnTo>
                      <a:pt x="295386" y="139112"/>
                    </a:lnTo>
                    <a:cubicBezTo>
                      <a:pt x="293579" y="168018"/>
                      <a:pt x="270093" y="193311"/>
                      <a:pt x="238477" y="193311"/>
                    </a:cubicBezTo>
                    <a:close/>
                    <a:moveTo>
                      <a:pt x="255640" y="230347"/>
                    </a:moveTo>
                    <a:lnTo>
                      <a:pt x="238477" y="270093"/>
                    </a:lnTo>
                    <a:lnTo>
                      <a:pt x="221314" y="230347"/>
                    </a:lnTo>
                    <a:lnTo>
                      <a:pt x="221314" y="218603"/>
                    </a:lnTo>
                    <a:cubicBezTo>
                      <a:pt x="226733" y="218603"/>
                      <a:pt x="233057" y="221314"/>
                      <a:pt x="238477" y="221314"/>
                    </a:cubicBezTo>
                    <a:cubicBezTo>
                      <a:pt x="243897" y="221314"/>
                      <a:pt x="250220" y="221314"/>
                      <a:pt x="255640" y="218603"/>
                    </a:cubicBezTo>
                    <a:lnTo>
                      <a:pt x="255640" y="230347"/>
                    </a:lnTo>
                    <a:close/>
                    <a:moveTo>
                      <a:pt x="193310" y="207764"/>
                    </a:moveTo>
                    <a:cubicBezTo>
                      <a:pt x="190601" y="205054"/>
                      <a:pt x="184277" y="205054"/>
                      <a:pt x="181567" y="205054"/>
                    </a:cubicBezTo>
                    <a:lnTo>
                      <a:pt x="155371" y="199634"/>
                    </a:lnTo>
                    <a:lnTo>
                      <a:pt x="155371" y="194214"/>
                    </a:lnTo>
                    <a:cubicBezTo>
                      <a:pt x="160791" y="191504"/>
                      <a:pt x="164405" y="186084"/>
                      <a:pt x="167114" y="182471"/>
                    </a:cubicBezTo>
                    <a:cubicBezTo>
                      <a:pt x="172534" y="193311"/>
                      <a:pt x="181567" y="202344"/>
                      <a:pt x="193310" y="207764"/>
                    </a:cubicBezTo>
                    <a:close/>
                    <a:moveTo>
                      <a:pt x="149951" y="230347"/>
                    </a:moveTo>
                    <a:cubicBezTo>
                      <a:pt x="121045" y="235767"/>
                      <a:pt x="98462" y="255639"/>
                      <a:pt x="86719" y="281836"/>
                    </a:cubicBezTo>
                    <a:lnTo>
                      <a:pt x="26196" y="281836"/>
                    </a:lnTo>
                    <a:lnTo>
                      <a:pt x="26196" y="270093"/>
                    </a:lnTo>
                    <a:cubicBezTo>
                      <a:pt x="26196" y="252930"/>
                      <a:pt x="37940" y="235767"/>
                      <a:pt x="57812" y="233056"/>
                    </a:cubicBezTo>
                    <a:lnTo>
                      <a:pt x="94849" y="224927"/>
                    </a:lnTo>
                    <a:cubicBezTo>
                      <a:pt x="100268" y="222217"/>
                      <a:pt x="106592" y="216797"/>
                      <a:pt x="106592" y="210473"/>
                    </a:cubicBezTo>
                    <a:lnTo>
                      <a:pt x="106592" y="205054"/>
                    </a:lnTo>
                    <a:cubicBezTo>
                      <a:pt x="109302" y="205054"/>
                      <a:pt x="112012" y="205054"/>
                      <a:pt x="115625" y="205054"/>
                    </a:cubicBezTo>
                    <a:cubicBezTo>
                      <a:pt x="118335" y="205054"/>
                      <a:pt x="121045" y="205054"/>
                      <a:pt x="124658" y="205054"/>
                    </a:cubicBezTo>
                    <a:lnTo>
                      <a:pt x="124658" y="207764"/>
                    </a:lnTo>
                    <a:cubicBezTo>
                      <a:pt x="124658" y="213184"/>
                      <a:pt x="127368" y="215894"/>
                      <a:pt x="130078" y="219506"/>
                    </a:cubicBezTo>
                    <a:cubicBezTo>
                      <a:pt x="132788" y="219506"/>
                      <a:pt x="132788" y="222217"/>
                      <a:pt x="135498" y="222217"/>
                    </a:cubicBezTo>
                    <a:lnTo>
                      <a:pt x="158081" y="227637"/>
                    </a:lnTo>
                    <a:lnTo>
                      <a:pt x="149951" y="230347"/>
                    </a:lnTo>
                    <a:close/>
                    <a:moveTo>
                      <a:pt x="81299" y="133691"/>
                    </a:moveTo>
                    <a:lnTo>
                      <a:pt x="101172" y="133691"/>
                    </a:lnTo>
                    <a:cubicBezTo>
                      <a:pt x="118335" y="133691"/>
                      <a:pt x="135498" y="130982"/>
                      <a:pt x="152661" y="121948"/>
                    </a:cubicBezTo>
                    <a:lnTo>
                      <a:pt x="152661" y="139112"/>
                    </a:lnTo>
                    <a:cubicBezTo>
                      <a:pt x="152661" y="158984"/>
                      <a:pt x="135498" y="176148"/>
                      <a:pt x="115625" y="176148"/>
                    </a:cubicBezTo>
                    <a:cubicBezTo>
                      <a:pt x="95752" y="176148"/>
                      <a:pt x="78589" y="158984"/>
                      <a:pt x="78589" y="139112"/>
                    </a:cubicBezTo>
                    <a:lnTo>
                      <a:pt x="78589" y="133691"/>
                    </a:lnTo>
                    <a:lnTo>
                      <a:pt x="81299" y="133691"/>
                    </a:lnTo>
                    <a:close/>
                    <a:moveTo>
                      <a:pt x="115625" y="70458"/>
                    </a:moveTo>
                    <a:cubicBezTo>
                      <a:pt x="130078" y="70458"/>
                      <a:pt x="144531" y="78589"/>
                      <a:pt x="149951" y="93041"/>
                    </a:cubicBezTo>
                    <a:cubicBezTo>
                      <a:pt x="135498" y="101172"/>
                      <a:pt x="118335" y="104785"/>
                      <a:pt x="101172" y="104785"/>
                    </a:cubicBezTo>
                    <a:lnTo>
                      <a:pt x="81299" y="104785"/>
                    </a:lnTo>
                    <a:cubicBezTo>
                      <a:pt x="81299" y="84912"/>
                      <a:pt x="98462" y="70458"/>
                      <a:pt x="115625" y="70458"/>
                    </a:cubicBezTo>
                    <a:close/>
                    <a:moveTo>
                      <a:pt x="181567" y="87622"/>
                    </a:moveTo>
                    <a:lnTo>
                      <a:pt x="181567" y="87622"/>
                    </a:lnTo>
                    <a:cubicBezTo>
                      <a:pt x="181567" y="56005"/>
                      <a:pt x="207764" y="30713"/>
                      <a:pt x="239380" y="30713"/>
                    </a:cubicBezTo>
                    <a:cubicBezTo>
                      <a:pt x="268287" y="30713"/>
                      <a:pt x="290870" y="50586"/>
                      <a:pt x="293579" y="79492"/>
                    </a:cubicBezTo>
                    <a:lnTo>
                      <a:pt x="267383" y="65039"/>
                    </a:lnTo>
                    <a:cubicBezTo>
                      <a:pt x="261963" y="62329"/>
                      <a:pt x="252930" y="62329"/>
                      <a:pt x="247510" y="67749"/>
                    </a:cubicBezTo>
                    <a:cubicBezTo>
                      <a:pt x="235767" y="82202"/>
                      <a:pt x="218604" y="90332"/>
                      <a:pt x="198731" y="90332"/>
                    </a:cubicBezTo>
                    <a:lnTo>
                      <a:pt x="181567" y="87622"/>
                    </a:lnTo>
                    <a:close/>
                    <a:moveTo>
                      <a:pt x="325196" y="139112"/>
                    </a:moveTo>
                    <a:cubicBezTo>
                      <a:pt x="325196" y="136401"/>
                      <a:pt x="325196" y="136401"/>
                      <a:pt x="325196" y="139112"/>
                    </a:cubicBezTo>
                    <a:lnTo>
                      <a:pt x="325196" y="124658"/>
                    </a:lnTo>
                    <a:cubicBezTo>
                      <a:pt x="342359" y="130079"/>
                      <a:pt x="359522" y="136401"/>
                      <a:pt x="376685" y="136401"/>
                    </a:cubicBezTo>
                    <a:lnTo>
                      <a:pt x="396558" y="136401"/>
                    </a:lnTo>
                    <a:lnTo>
                      <a:pt x="396558" y="141821"/>
                    </a:lnTo>
                    <a:cubicBezTo>
                      <a:pt x="396558" y="161695"/>
                      <a:pt x="379395" y="178857"/>
                      <a:pt x="359522" y="178857"/>
                    </a:cubicBezTo>
                    <a:cubicBezTo>
                      <a:pt x="339649" y="178857"/>
                      <a:pt x="325196" y="158984"/>
                      <a:pt x="325196" y="139112"/>
                    </a:cubicBezTo>
                    <a:close/>
                    <a:moveTo>
                      <a:pt x="359522" y="70458"/>
                    </a:moveTo>
                    <a:cubicBezTo>
                      <a:pt x="379395" y="70458"/>
                      <a:pt x="393848" y="84912"/>
                      <a:pt x="396558" y="104785"/>
                    </a:cubicBezTo>
                    <a:lnTo>
                      <a:pt x="376685" y="104785"/>
                    </a:lnTo>
                    <a:cubicBezTo>
                      <a:pt x="359522" y="104785"/>
                      <a:pt x="342359" y="102075"/>
                      <a:pt x="327906" y="93041"/>
                    </a:cubicBezTo>
                    <a:cubicBezTo>
                      <a:pt x="333325" y="79492"/>
                      <a:pt x="345069" y="70458"/>
                      <a:pt x="359522" y="70458"/>
                    </a:cubicBezTo>
                    <a:close/>
                    <a:moveTo>
                      <a:pt x="425464" y="205054"/>
                    </a:moveTo>
                    <a:lnTo>
                      <a:pt x="399268" y="199634"/>
                    </a:lnTo>
                    <a:lnTo>
                      <a:pt x="399268" y="194214"/>
                    </a:lnTo>
                    <a:cubicBezTo>
                      <a:pt x="416431" y="182471"/>
                      <a:pt x="428174" y="162598"/>
                      <a:pt x="428174" y="140015"/>
                    </a:cubicBezTo>
                    <a:lnTo>
                      <a:pt x="428174" y="105688"/>
                    </a:lnTo>
                    <a:cubicBezTo>
                      <a:pt x="428174" y="68652"/>
                      <a:pt x="399268" y="39746"/>
                      <a:pt x="362232" y="39746"/>
                    </a:cubicBezTo>
                    <a:cubicBezTo>
                      <a:pt x="345069" y="39746"/>
                      <a:pt x="330615" y="45166"/>
                      <a:pt x="318872" y="54199"/>
                    </a:cubicBezTo>
                    <a:cubicBezTo>
                      <a:pt x="307129" y="22583"/>
                      <a:pt x="275513" y="0"/>
                      <a:pt x="238477" y="0"/>
                    </a:cubicBezTo>
                    <a:cubicBezTo>
                      <a:pt x="204150" y="0"/>
                      <a:pt x="172534" y="22583"/>
                      <a:pt x="158081" y="54199"/>
                    </a:cubicBezTo>
                    <a:cubicBezTo>
                      <a:pt x="146338" y="46069"/>
                      <a:pt x="131885" y="37036"/>
                      <a:pt x="114722" y="37036"/>
                    </a:cubicBezTo>
                    <a:cubicBezTo>
                      <a:pt x="77685" y="37036"/>
                      <a:pt x="48779" y="65942"/>
                      <a:pt x="48779" y="102979"/>
                    </a:cubicBezTo>
                    <a:lnTo>
                      <a:pt x="48779" y="105688"/>
                    </a:lnTo>
                    <a:lnTo>
                      <a:pt x="48779" y="137304"/>
                    </a:lnTo>
                    <a:cubicBezTo>
                      <a:pt x="48779" y="159887"/>
                      <a:pt x="60523" y="179761"/>
                      <a:pt x="77685" y="191504"/>
                    </a:cubicBezTo>
                    <a:lnTo>
                      <a:pt x="77685" y="196923"/>
                    </a:lnTo>
                    <a:lnTo>
                      <a:pt x="51489" y="202344"/>
                    </a:lnTo>
                    <a:cubicBezTo>
                      <a:pt x="19873" y="210473"/>
                      <a:pt x="0" y="236670"/>
                      <a:pt x="0" y="268286"/>
                    </a:cubicBezTo>
                    <a:lnTo>
                      <a:pt x="0" y="297193"/>
                    </a:lnTo>
                    <a:cubicBezTo>
                      <a:pt x="0" y="305322"/>
                      <a:pt x="5420" y="311646"/>
                      <a:pt x="14453" y="311646"/>
                    </a:cubicBezTo>
                    <a:lnTo>
                      <a:pt x="80395" y="311646"/>
                    </a:lnTo>
                    <a:cubicBezTo>
                      <a:pt x="80395" y="314355"/>
                      <a:pt x="80395" y="314355"/>
                      <a:pt x="80395" y="317066"/>
                    </a:cubicBezTo>
                    <a:lnTo>
                      <a:pt x="80395" y="368555"/>
                    </a:lnTo>
                    <a:cubicBezTo>
                      <a:pt x="80395" y="376685"/>
                      <a:pt x="85816" y="383009"/>
                      <a:pt x="94849" y="383009"/>
                    </a:cubicBezTo>
                    <a:lnTo>
                      <a:pt x="184277" y="383009"/>
                    </a:lnTo>
                    <a:cubicBezTo>
                      <a:pt x="193310" y="383009"/>
                      <a:pt x="198731" y="377588"/>
                      <a:pt x="198731" y="368555"/>
                    </a:cubicBezTo>
                    <a:cubicBezTo>
                      <a:pt x="198731" y="360425"/>
                      <a:pt x="193310" y="354102"/>
                      <a:pt x="184277" y="354102"/>
                    </a:cubicBezTo>
                    <a:lnTo>
                      <a:pt x="169824" y="354102"/>
                    </a:lnTo>
                    <a:lnTo>
                      <a:pt x="169824" y="322485"/>
                    </a:lnTo>
                    <a:cubicBezTo>
                      <a:pt x="169824" y="314355"/>
                      <a:pt x="164405" y="308032"/>
                      <a:pt x="155371" y="308032"/>
                    </a:cubicBezTo>
                    <a:cubicBezTo>
                      <a:pt x="146338" y="308032"/>
                      <a:pt x="140918" y="313452"/>
                      <a:pt x="140918" y="322485"/>
                    </a:cubicBezTo>
                    <a:lnTo>
                      <a:pt x="140918" y="354102"/>
                    </a:lnTo>
                    <a:lnTo>
                      <a:pt x="112012" y="354102"/>
                    </a:lnTo>
                    <a:lnTo>
                      <a:pt x="112012" y="317066"/>
                    </a:lnTo>
                    <a:cubicBezTo>
                      <a:pt x="112012" y="288160"/>
                      <a:pt x="131885" y="265577"/>
                      <a:pt x="158081" y="257447"/>
                    </a:cubicBezTo>
                    <a:lnTo>
                      <a:pt x="197827" y="249317"/>
                    </a:lnTo>
                    <a:lnTo>
                      <a:pt x="224024" y="308936"/>
                    </a:lnTo>
                    <a:cubicBezTo>
                      <a:pt x="226733" y="314355"/>
                      <a:pt x="233057" y="317066"/>
                      <a:pt x="238477" y="317066"/>
                    </a:cubicBezTo>
                    <a:cubicBezTo>
                      <a:pt x="243897" y="317066"/>
                      <a:pt x="250220" y="314355"/>
                      <a:pt x="252930" y="308936"/>
                    </a:cubicBezTo>
                    <a:lnTo>
                      <a:pt x="279126" y="249317"/>
                    </a:lnTo>
                    <a:lnTo>
                      <a:pt x="319775" y="257447"/>
                    </a:lnTo>
                    <a:cubicBezTo>
                      <a:pt x="348682" y="262866"/>
                      <a:pt x="365845" y="289063"/>
                      <a:pt x="365845" y="317066"/>
                    </a:cubicBezTo>
                    <a:lnTo>
                      <a:pt x="365845" y="354102"/>
                    </a:lnTo>
                    <a:lnTo>
                      <a:pt x="336939" y="354102"/>
                    </a:lnTo>
                    <a:lnTo>
                      <a:pt x="336939" y="322485"/>
                    </a:lnTo>
                    <a:cubicBezTo>
                      <a:pt x="336939" y="314355"/>
                      <a:pt x="331519" y="308032"/>
                      <a:pt x="322486" y="308032"/>
                    </a:cubicBezTo>
                    <a:cubicBezTo>
                      <a:pt x="313453" y="308032"/>
                      <a:pt x="308032" y="313452"/>
                      <a:pt x="308032" y="322485"/>
                    </a:cubicBezTo>
                    <a:lnTo>
                      <a:pt x="308032" y="354102"/>
                    </a:lnTo>
                    <a:lnTo>
                      <a:pt x="290870" y="354102"/>
                    </a:lnTo>
                    <a:cubicBezTo>
                      <a:pt x="281836" y="354102"/>
                      <a:pt x="276416" y="359521"/>
                      <a:pt x="276416" y="368555"/>
                    </a:cubicBezTo>
                    <a:cubicBezTo>
                      <a:pt x="276416" y="376685"/>
                      <a:pt x="281836" y="383009"/>
                      <a:pt x="290870" y="383009"/>
                    </a:cubicBezTo>
                    <a:lnTo>
                      <a:pt x="380298" y="383009"/>
                    </a:lnTo>
                    <a:cubicBezTo>
                      <a:pt x="389331" y="383009"/>
                      <a:pt x="394752" y="377588"/>
                      <a:pt x="394752" y="368555"/>
                    </a:cubicBezTo>
                    <a:lnTo>
                      <a:pt x="394752" y="317066"/>
                    </a:lnTo>
                    <a:cubicBezTo>
                      <a:pt x="394752" y="314355"/>
                      <a:pt x="394752" y="314355"/>
                      <a:pt x="394752" y="311646"/>
                    </a:cubicBezTo>
                    <a:lnTo>
                      <a:pt x="463404" y="311646"/>
                    </a:lnTo>
                    <a:cubicBezTo>
                      <a:pt x="472437" y="311646"/>
                      <a:pt x="477857" y="306226"/>
                      <a:pt x="477857" y="297193"/>
                    </a:cubicBezTo>
                    <a:lnTo>
                      <a:pt x="477857" y="268286"/>
                    </a:lnTo>
                    <a:cubicBezTo>
                      <a:pt x="476954" y="239380"/>
                      <a:pt x="454371" y="213184"/>
                      <a:pt x="425464" y="205054"/>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3" name="Freeform 92">
                <a:extLst>
                  <a:ext uri="{FF2B5EF4-FFF2-40B4-BE49-F238E27FC236}">
                    <a16:creationId xmlns:a16="http://schemas.microsoft.com/office/drawing/2014/main" id="{AE51240B-9764-1E00-458A-F73A4B330BA5}"/>
                  </a:ext>
                </a:extLst>
              </p:cNvPr>
              <p:cNvSpPr/>
              <p:nvPr/>
            </p:nvSpPr>
            <p:spPr>
              <a:xfrm>
                <a:off x="7549372" y="5799171"/>
                <a:ext cx="30028" cy="30713"/>
              </a:xfrm>
              <a:custGeom>
                <a:avLst/>
                <a:gdLst>
                  <a:gd name="connsiteX0" fmla="*/ 26196 w 30028"/>
                  <a:gd name="connsiteY0" fmla="*/ 2710 h 30713"/>
                  <a:gd name="connsiteX1" fmla="*/ 14453 w 30028"/>
                  <a:gd name="connsiteY1" fmla="*/ 0 h 30713"/>
                  <a:gd name="connsiteX2" fmla="*/ 2710 w 30028"/>
                  <a:gd name="connsiteY2" fmla="*/ 2710 h 30713"/>
                  <a:gd name="connsiteX3" fmla="*/ 0 w 30028"/>
                  <a:gd name="connsiteY3" fmla="*/ 15356 h 30713"/>
                  <a:gd name="connsiteX4" fmla="*/ 2710 w 30028"/>
                  <a:gd name="connsiteY4" fmla="*/ 28003 h 30713"/>
                  <a:gd name="connsiteX5" fmla="*/ 14453 w 30028"/>
                  <a:gd name="connsiteY5" fmla="*/ 30713 h 30713"/>
                  <a:gd name="connsiteX6" fmla="*/ 26196 w 30028"/>
                  <a:gd name="connsiteY6" fmla="*/ 28003 h 30713"/>
                  <a:gd name="connsiteX7" fmla="*/ 28906 w 30028"/>
                  <a:gd name="connsiteY7" fmla="*/ 15356 h 30713"/>
                  <a:gd name="connsiteX8" fmla="*/ 26196 w 30028"/>
                  <a:gd name="connsiteY8" fmla="*/ 2710 h 30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28" h="30713">
                    <a:moveTo>
                      <a:pt x="26196" y="2710"/>
                    </a:moveTo>
                    <a:cubicBezTo>
                      <a:pt x="23486" y="0"/>
                      <a:pt x="19873" y="0"/>
                      <a:pt x="14453" y="0"/>
                    </a:cubicBezTo>
                    <a:cubicBezTo>
                      <a:pt x="11743" y="0"/>
                      <a:pt x="5420" y="2710"/>
                      <a:pt x="2710" y="2710"/>
                    </a:cubicBezTo>
                    <a:cubicBezTo>
                      <a:pt x="0" y="5420"/>
                      <a:pt x="0" y="9033"/>
                      <a:pt x="0" y="15356"/>
                    </a:cubicBezTo>
                    <a:cubicBezTo>
                      <a:pt x="0" y="18066"/>
                      <a:pt x="2710" y="24389"/>
                      <a:pt x="2710" y="28003"/>
                    </a:cubicBezTo>
                    <a:cubicBezTo>
                      <a:pt x="5420" y="30713"/>
                      <a:pt x="9033" y="30713"/>
                      <a:pt x="14453" y="30713"/>
                    </a:cubicBezTo>
                    <a:cubicBezTo>
                      <a:pt x="17163" y="30713"/>
                      <a:pt x="23486" y="28003"/>
                      <a:pt x="26196" y="28003"/>
                    </a:cubicBezTo>
                    <a:cubicBezTo>
                      <a:pt x="28906" y="25293"/>
                      <a:pt x="28906" y="21680"/>
                      <a:pt x="28906" y="15356"/>
                    </a:cubicBezTo>
                    <a:cubicBezTo>
                      <a:pt x="31616" y="9033"/>
                      <a:pt x="28906" y="5420"/>
                      <a:pt x="26196" y="271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4" name="Freeform 93">
                <a:extLst>
                  <a:ext uri="{FF2B5EF4-FFF2-40B4-BE49-F238E27FC236}">
                    <a16:creationId xmlns:a16="http://schemas.microsoft.com/office/drawing/2014/main" id="{5E37E4EE-07A2-605B-2C31-A6F8AD5B2381}"/>
                  </a:ext>
                </a:extLst>
              </p:cNvPr>
              <p:cNvSpPr/>
              <p:nvPr/>
            </p:nvSpPr>
            <p:spPr>
              <a:xfrm>
                <a:off x="7553889" y="5365577"/>
                <a:ext cx="25292" cy="49682"/>
              </a:xfrm>
              <a:custGeom>
                <a:avLst/>
                <a:gdLst>
                  <a:gd name="connsiteX0" fmla="*/ 12646 w 25292"/>
                  <a:gd name="connsiteY0" fmla="*/ 0 h 49682"/>
                  <a:gd name="connsiteX1" fmla="*/ 0 w 25292"/>
                  <a:gd name="connsiteY1" fmla="*/ 13550 h 49682"/>
                  <a:gd name="connsiteX2" fmla="*/ 0 w 25292"/>
                  <a:gd name="connsiteY2" fmla="*/ 36133 h 49682"/>
                  <a:gd name="connsiteX3" fmla="*/ 12646 w 25292"/>
                  <a:gd name="connsiteY3" fmla="*/ 49683 h 49682"/>
                  <a:gd name="connsiteX4" fmla="*/ 25293 w 25292"/>
                  <a:gd name="connsiteY4" fmla="*/ 36133 h 49682"/>
                  <a:gd name="connsiteX5" fmla="*/ 25293 w 25292"/>
                  <a:gd name="connsiteY5" fmla="*/ 13550 h 49682"/>
                  <a:gd name="connsiteX6" fmla="*/ 12646 w 25292"/>
                  <a:gd name="connsiteY6" fmla="*/ 0 h 49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92" h="49682">
                    <a:moveTo>
                      <a:pt x="12646" y="0"/>
                    </a:moveTo>
                    <a:cubicBezTo>
                      <a:pt x="5420" y="0"/>
                      <a:pt x="0" y="5420"/>
                      <a:pt x="0" y="13550"/>
                    </a:cubicBezTo>
                    <a:lnTo>
                      <a:pt x="0" y="36133"/>
                    </a:lnTo>
                    <a:cubicBezTo>
                      <a:pt x="0" y="44263"/>
                      <a:pt x="5420" y="49683"/>
                      <a:pt x="12646" y="49683"/>
                    </a:cubicBezTo>
                    <a:cubicBezTo>
                      <a:pt x="19873" y="49683"/>
                      <a:pt x="25293" y="44263"/>
                      <a:pt x="25293" y="36133"/>
                    </a:cubicBezTo>
                    <a:lnTo>
                      <a:pt x="25293" y="13550"/>
                    </a:lnTo>
                    <a:cubicBezTo>
                      <a:pt x="25293" y="5420"/>
                      <a:pt x="20776" y="0"/>
                      <a:pt x="12646" y="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5" name="Freeform 94">
                <a:extLst>
                  <a:ext uri="{FF2B5EF4-FFF2-40B4-BE49-F238E27FC236}">
                    <a16:creationId xmlns:a16="http://schemas.microsoft.com/office/drawing/2014/main" id="{7BB3CB9C-1BB8-8300-5814-902E778922AF}"/>
                  </a:ext>
                </a:extLst>
              </p:cNvPr>
              <p:cNvSpPr/>
              <p:nvPr/>
            </p:nvSpPr>
            <p:spPr>
              <a:xfrm>
                <a:off x="7473945" y="5390644"/>
                <a:ext cx="43084" cy="43585"/>
              </a:xfrm>
              <a:custGeom>
                <a:avLst/>
                <a:gdLst>
                  <a:gd name="connsiteX0" fmla="*/ 38391 w 43084"/>
                  <a:gd name="connsiteY0" fmla="*/ 20099 h 43585"/>
                  <a:gd name="connsiteX1" fmla="*/ 23938 w 43084"/>
                  <a:gd name="connsiteY1" fmla="*/ 4743 h 43585"/>
                  <a:gd name="connsiteX2" fmla="*/ 4065 w 43084"/>
                  <a:gd name="connsiteY2" fmla="*/ 4743 h 43585"/>
                  <a:gd name="connsiteX3" fmla="*/ 4065 w 43084"/>
                  <a:gd name="connsiteY3" fmla="*/ 25519 h 43585"/>
                  <a:gd name="connsiteX4" fmla="*/ 18518 w 43084"/>
                  <a:gd name="connsiteY4" fmla="*/ 40875 h 43585"/>
                  <a:gd name="connsiteX5" fmla="*/ 30261 w 43084"/>
                  <a:gd name="connsiteY5" fmla="*/ 43585 h 43585"/>
                  <a:gd name="connsiteX6" fmla="*/ 42004 w 43084"/>
                  <a:gd name="connsiteY6" fmla="*/ 40875 h 43585"/>
                  <a:gd name="connsiteX7" fmla="*/ 38391 w 43084"/>
                  <a:gd name="connsiteY7" fmla="*/ 20099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4" h="43585">
                    <a:moveTo>
                      <a:pt x="38391" y="20099"/>
                    </a:moveTo>
                    <a:lnTo>
                      <a:pt x="23938" y="4743"/>
                    </a:lnTo>
                    <a:cubicBezTo>
                      <a:pt x="18518" y="-1581"/>
                      <a:pt x="9485" y="-1581"/>
                      <a:pt x="4065" y="4743"/>
                    </a:cubicBezTo>
                    <a:cubicBezTo>
                      <a:pt x="-1355" y="11066"/>
                      <a:pt x="-1355" y="20099"/>
                      <a:pt x="4065" y="25519"/>
                    </a:cubicBezTo>
                    <a:lnTo>
                      <a:pt x="18518" y="40875"/>
                    </a:lnTo>
                    <a:cubicBezTo>
                      <a:pt x="21228" y="43585"/>
                      <a:pt x="23938" y="43585"/>
                      <a:pt x="30261" y="43585"/>
                    </a:cubicBezTo>
                    <a:cubicBezTo>
                      <a:pt x="32971" y="43585"/>
                      <a:pt x="39295" y="40875"/>
                      <a:pt x="42004" y="40875"/>
                    </a:cubicBezTo>
                    <a:cubicBezTo>
                      <a:pt x="43811" y="34552"/>
                      <a:pt x="43811" y="25519"/>
                      <a:pt x="38391" y="2009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6" name="Freeform 95">
                <a:extLst>
                  <a:ext uri="{FF2B5EF4-FFF2-40B4-BE49-F238E27FC236}">
                    <a16:creationId xmlns:a16="http://schemas.microsoft.com/office/drawing/2014/main" id="{40A4E8AA-F262-42A9-372E-2479DDFE691B}"/>
                  </a:ext>
                </a:extLst>
              </p:cNvPr>
              <p:cNvSpPr/>
              <p:nvPr/>
            </p:nvSpPr>
            <p:spPr>
              <a:xfrm>
                <a:off x="7617572" y="5390644"/>
                <a:ext cx="43724" cy="43585"/>
              </a:xfrm>
              <a:custGeom>
                <a:avLst/>
                <a:gdLst>
                  <a:gd name="connsiteX0" fmla="*/ 38391 w 43724"/>
                  <a:gd name="connsiteY0" fmla="*/ 4743 h 43585"/>
                  <a:gd name="connsiteX1" fmla="*/ 18518 w 43724"/>
                  <a:gd name="connsiteY1" fmla="*/ 4743 h 43585"/>
                  <a:gd name="connsiteX2" fmla="*/ 4065 w 43724"/>
                  <a:gd name="connsiteY2" fmla="*/ 20099 h 43585"/>
                  <a:gd name="connsiteX3" fmla="*/ 4065 w 43724"/>
                  <a:gd name="connsiteY3" fmla="*/ 40875 h 43585"/>
                  <a:gd name="connsiteX4" fmla="*/ 15808 w 43724"/>
                  <a:gd name="connsiteY4" fmla="*/ 43585 h 43585"/>
                  <a:gd name="connsiteX5" fmla="*/ 27551 w 43724"/>
                  <a:gd name="connsiteY5" fmla="*/ 40875 h 43585"/>
                  <a:gd name="connsiteX6" fmla="*/ 42005 w 43724"/>
                  <a:gd name="connsiteY6" fmla="*/ 25519 h 43585"/>
                  <a:gd name="connsiteX7" fmla="*/ 38391 w 43724"/>
                  <a:gd name="connsiteY7" fmla="*/ 4743 h 4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24" h="43585">
                    <a:moveTo>
                      <a:pt x="38391" y="4743"/>
                    </a:moveTo>
                    <a:cubicBezTo>
                      <a:pt x="32972" y="-1581"/>
                      <a:pt x="23938" y="-1581"/>
                      <a:pt x="18518" y="4743"/>
                    </a:cubicBezTo>
                    <a:lnTo>
                      <a:pt x="4065" y="20099"/>
                    </a:lnTo>
                    <a:cubicBezTo>
                      <a:pt x="-1355" y="26422"/>
                      <a:pt x="-1355" y="35456"/>
                      <a:pt x="4065" y="40875"/>
                    </a:cubicBezTo>
                    <a:cubicBezTo>
                      <a:pt x="6775" y="43585"/>
                      <a:pt x="9485" y="43585"/>
                      <a:pt x="15808" y="43585"/>
                    </a:cubicBezTo>
                    <a:cubicBezTo>
                      <a:pt x="18518" y="43585"/>
                      <a:pt x="24841" y="43585"/>
                      <a:pt x="27551" y="40875"/>
                    </a:cubicBezTo>
                    <a:lnTo>
                      <a:pt x="42005" y="25519"/>
                    </a:lnTo>
                    <a:cubicBezTo>
                      <a:pt x="44715" y="22809"/>
                      <a:pt x="44715" y="11066"/>
                      <a:pt x="38391" y="474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
        <p:nvSpPr>
          <p:cNvPr id="2" name="Freeform 4">
            <a:extLst>
              <a:ext uri="{FF2B5EF4-FFF2-40B4-BE49-F238E27FC236}">
                <a16:creationId xmlns:a16="http://schemas.microsoft.com/office/drawing/2014/main" id="{683CBAB2-E80E-8C34-3478-DACC80BF1040}"/>
              </a:ext>
            </a:extLst>
          </p:cNvPr>
          <p:cNvSpPr>
            <a:spLocks noChangeArrowheads="1"/>
          </p:cNvSpPr>
          <p:nvPr/>
        </p:nvSpPr>
        <p:spPr bwMode="auto">
          <a:xfrm>
            <a:off x="5765844" y="3302667"/>
            <a:ext cx="6199706" cy="1285682"/>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endParaRPr lang="en-GB" sz="2450">
              <a:latin typeface="+mj-lt"/>
            </a:endParaRPr>
          </a:p>
        </p:txBody>
      </p:sp>
      <p:sp>
        <p:nvSpPr>
          <p:cNvPr id="3" name="Freeform 6">
            <a:extLst>
              <a:ext uri="{FF2B5EF4-FFF2-40B4-BE49-F238E27FC236}">
                <a16:creationId xmlns:a16="http://schemas.microsoft.com/office/drawing/2014/main" id="{71FC86EE-94BD-C7E6-0DAB-79CFDA76BE6B}"/>
              </a:ext>
            </a:extLst>
          </p:cNvPr>
          <p:cNvSpPr>
            <a:spLocks noChangeArrowheads="1"/>
          </p:cNvSpPr>
          <p:nvPr/>
        </p:nvSpPr>
        <p:spPr bwMode="auto">
          <a:xfrm>
            <a:off x="5936858" y="3469559"/>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rgbClr val="245473"/>
          </a:solidFill>
          <a:ln>
            <a:noFill/>
          </a:ln>
          <a:effectLst/>
        </p:spPr>
        <p:txBody>
          <a:bodyPr wrap="none" anchor="ctr"/>
          <a:lstStyle/>
          <a:p>
            <a:endParaRPr lang="en-GB" sz="2450">
              <a:latin typeface="+mj-lt"/>
            </a:endParaRPr>
          </a:p>
        </p:txBody>
      </p:sp>
      <p:sp>
        <p:nvSpPr>
          <p:cNvPr id="5" name="Freeform 7">
            <a:extLst>
              <a:ext uri="{FF2B5EF4-FFF2-40B4-BE49-F238E27FC236}">
                <a16:creationId xmlns:a16="http://schemas.microsoft.com/office/drawing/2014/main" id="{6CCFC6FC-D06A-C141-D612-2266CDFE2DC6}"/>
              </a:ext>
            </a:extLst>
          </p:cNvPr>
          <p:cNvSpPr>
            <a:spLocks noChangeArrowheads="1"/>
          </p:cNvSpPr>
          <p:nvPr/>
        </p:nvSpPr>
        <p:spPr bwMode="auto">
          <a:xfrm>
            <a:off x="7160728" y="3469559"/>
            <a:ext cx="953959" cy="951899"/>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rgbClr val="7F1C58"/>
          </a:solidFill>
          <a:ln>
            <a:noFill/>
          </a:ln>
          <a:effectLst/>
        </p:spPr>
        <p:txBody>
          <a:bodyPr wrap="none" anchor="ctr"/>
          <a:lstStyle/>
          <a:p>
            <a:endParaRPr lang="en-GB" sz="2450">
              <a:latin typeface="+mj-lt"/>
            </a:endParaRPr>
          </a:p>
        </p:txBody>
      </p:sp>
      <p:sp>
        <p:nvSpPr>
          <p:cNvPr id="6" name="Freeform 8">
            <a:extLst>
              <a:ext uri="{FF2B5EF4-FFF2-40B4-BE49-F238E27FC236}">
                <a16:creationId xmlns:a16="http://schemas.microsoft.com/office/drawing/2014/main" id="{212DEB1F-E21F-2D6D-5B8D-714337A56CA2}"/>
              </a:ext>
            </a:extLst>
          </p:cNvPr>
          <p:cNvSpPr>
            <a:spLocks noChangeArrowheads="1"/>
          </p:cNvSpPr>
          <p:nvPr/>
        </p:nvSpPr>
        <p:spPr bwMode="auto">
          <a:xfrm>
            <a:off x="8394900" y="3469559"/>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rgbClr val="B41F7A"/>
          </a:solidFill>
          <a:ln>
            <a:noFill/>
          </a:ln>
          <a:effectLst/>
        </p:spPr>
        <p:txBody>
          <a:bodyPr wrap="none" anchor="ctr"/>
          <a:lstStyle/>
          <a:p>
            <a:endParaRPr lang="en-GB" sz="2450">
              <a:latin typeface="+mj-lt"/>
            </a:endParaRPr>
          </a:p>
        </p:txBody>
      </p:sp>
      <p:sp>
        <p:nvSpPr>
          <p:cNvPr id="8" name="Freeform 9">
            <a:extLst>
              <a:ext uri="{FF2B5EF4-FFF2-40B4-BE49-F238E27FC236}">
                <a16:creationId xmlns:a16="http://schemas.microsoft.com/office/drawing/2014/main" id="{EB6F7D84-C6E6-2CBD-D870-9560DAE9A3F9}"/>
              </a:ext>
            </a:extLst>
          </p:cNvPr>
          <p:cNvSpPr>
            <a:spLocks noChangeArrowheads="1"/>
          </p:cNvSpPr>
          <p:nvPr/>
        </p:nvSpPr>
        <p:spPr bwMode="auto">
          <a:xfrm>
            <a:off x="9612589" y="3469559"/>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rgbClr val="F16924"/>
          </a:solidFill>
          <a:ln>
            <a:noFill/>
          </a:ln>
          <a:effectLst/>
        </p:spPr>
        <p:txBody>
          <a:bodyPr wrap="none" anchor="ctr"/>
          <a:lstStyle/>
          <a:p>
            <a:endParaRPr lang="en-GB" sz="2450">
              <a:latin typeface="+mj-lt"/>
            </a:endParaRPr>
          </a:p>
        </p:txBody>
      </p:sp>
      <p:sp>
        <p:nvSpPr>
          <p:cNvPr id="10" name="Freeform 10">
            <a:extLst>
              <a:ext uri="{FF2B5EF4-FFF2-40B4-BE49-F238E27FC236}">
                <a16:creationId xmlns:a16="http://schemas.microsoft.com/office/drawing/2014/main" id="{5A8DFA2C-BCFD-C065-8C88-AD48DF485D24}"/>
              </a:ext>
            </a:extLst>
          </p:cNvPr>
          <p:cNvSpPr>
            <a:spLocks noChangeArrowheads="1"/>
          </p:cNvSpPr>
          <p:nvPr/>
        </p:nvSpPr>
        <p:spPr bwMode="auto">
          <a:xfrm>
            <a:off x="10861185" y="3469559"/>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2" y="0"/>
                  <a:pt x="2038" y="456"/>
                  <a:pt x="2038" y="1019"/>
                </a:cubicBezTo>
                <a:lnTo>
                  <a:pt x="2038" y="1019"/>
                </a:lnTo>
                <a:cubicBezTo>
                  <a:pt x="2038" y="1581"/>
                  <a:pt x="1582" y="2038"/>
                  <a:pt x="1019" y="2038"/>
                </a:cubicBezTo>
                <a:lnTo>
                  <a:pt x="1019" y="2038"/>
                </a:lnTo>
                <a:cubicBezTo>
                  <a:pt x="456" y="2038"/>
                  <a:pt x="0" y="1581"/>
                  <a:pt x="0" y="1019"/>
                </a:cubicBezTo>
                <a:lnTo>
                  <a:pt x="0" y="1019"/>
                </a:lnTo>
                <a:cubicBezTo>
                  <a:pt x="0" y="456"/>
                  <a:pt x="456" y="0"/>
                  <a:pt x="1019" y="0"/>
                </a:cubicBezTo>
              </a:path>
            </a:pathLst>
          </a:custGeom>
          <a:solidFill>
            <a:srgbClr val="EDA13E"/>
          </a:solidFill>
          <a:ln>
            <a:noFill/>
          </a:ln>
          <a:effectLst/>
        </p:spPr>
        <p:txBody>
          <a:bodyPr wrap="none" anchor="ctr"/>
          <a:lstStyle/>
          <a:p>
            <a:endParaRPr lang="en-GB" sz="2450">
              <a:latin typeface="+mj-lt"/>
            </a:endParaRPr>
          </a:p>
        </p:txBody>
      </p:sp>
      <p:sp>
        <p:nvSpPr>
          <p:cNvPr id="11" name="Freeform 26">
            <a:extLst>
              <a:ext uri="{FF2B5EF4-FFF2-40B4-BE49-F238E27FC236}">
                <a16:creationId xmlns:a16="http://schemas.microsoft.com/office/drawing/2014/main" id="{B3FD203C-218E-137D-6268-00E3769595EB}"/>
              </a:ext>
            </a:extLst>
          </p:cNvPr>
          <p:cNvSpPr>
            <a:spLocks noChangeArrowheads="1"/>
          </p:cNvSpPr>
          <p:nvPr/>
        </p:nvSpPr>
        <p:spPr bwMode="auto">
          <a:xfrm>
            <a:off x="6969112" y="3840428"/>
            <a:ext cx="105080" cy="105080"/>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rgbClr val="595959"/>
          </a:solidFill>
          <a:ln>
            <a:noFill/>
          </a:ln>
          <a:effectLst/>
        </p:spPr>
        <p:txBody>
          <a:bodyPr wrap="none" anchor="ctr"/>
          <a:lstStyle/>
          <a:p>
            <a:endParaRPr lang="en-GB" sz="2450">
              <a:latin typeface="+mj-lt"/>
            </a:endParaRPr>
          </a:p>
        </p:txBody>
      </p:sp>
      <p:sp>
        <p:nvSpPr>
          <p:cNvPr id="12" name="Freeform 27">
            <a:extLst>
              <a:ext uri="{FF2B5EF4-FFF2-40B4-BE49-F238E27FC236}">
                <a16:creationId xmlns:a16="http://schemas.microsoft.com/office/drawing/2014/main" id="{AC18B927-6A73-9A45-10FA-2E8BB59E170C}"/>
              </a:ext>
            </a:extLst>
          </p:cNvPr>
          <p:cNvSpPr>
            <a:spLocks noChangeArrowheads="1"/>
          </p:cNvSpPr>
          <p:nvPr/>
        </p:nvSpPr>
        <p:spPr bwMode="auto">
          <a:xfrm>
            <a:off x="8203284" y="3840428"/>
            <a:ext cx="105079"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rgbClr val="595959"/>
          </a:solidFill>
          <a:ln>
            <a:noFill/>
          </a:ln>
          <a:effectLst/>
        </p:spPr>
        <p:txBody>
          <a:bodyPr wrap="none" anchor="ctr"/>
          <a:lstStyle/>
          <a:p>
            <a:endParaRPr lang="en-GB" sz="2450">
              <a:latin typeface="+mj-lt"/>
            </a:endParaRPr>
          </a:p>
        </p:txBody>
      </p:sp>
      <p:sp>
        <p:nvSpPr>
          <p:cNvPr id="14" name="Freeform 28">
            <a:extLst>
              <a:ext uri="{FF2B5EF4-FFF2-40B4-BE49-F238E27FC236}">
                <a16:creationId xmlns:a16="http://schemas.microsoft.com/office/drawing/2014/main" id="{2DAAA76D-9050-6BB2-AC36-F3AFC43E51CF}"/>
              </a:ext>
            </a:extLst>
          </p:cNvPr>
          <p:cNvSpPr>
            <a:spLocks noChangeArrowheads="1"/>
          </p:cNvSpPr>
          <p:nvPr/>
        </p:nvSpPr>
        <p:spPr bwMode="auto">
          <a:xfrm>
            <a:off x="9427154" y="3840428"/>
            <a:ext cx="105079" cy="105080"/>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rgbClr val="595959"/>
          </a:solidFill>
          <a:ln>
            <a:noFill/>
          </a:ln>
          <a:effectLst/>
        </p:spPr>
        <p:txBody>
          <a:bodyPr wrap="none" anchor="ctr"/>
          <a:lstStyle/>
          <a:p>
            <a:endParaRPr lang="en-GB" sz="2450">
              <a:latin typeface="+mj-lt"/>
            </a:endParaRPr>
          </a:p>
        </p:txBody>
      </p:sp>
      <p:sp>
        <p:nvSpPr>
          <p:cNvPr id="15" name="Freeform 29">
            <a:extLst>
              <a:ext uri="{FF2B5EF4-FFF2-40B4-BE49-F238E27FC236}">
                <a16:creationId xmlns:a16="http://schemas.microsoft.com/office/drawing/2014/main" id="{1553634E-925C-F8FA-0A35-CEA98E124C74}"/>
              </a:ext>
            </a:extLst>
          </p:cNvPr>
          <p:cNvSpPr>
            <a:spLocks noChangeArrowheads="1"/>
          </p:cNvSpPr>
          <p:nvPr/>
        </p:nvSpPr>
        <p:spPr bwMode="auto">
          <a:xfrm>
            <a:off x="10661326" y="3840428"/>
            <a:ext cx="105080"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rgbClr val="595959"/>
          </a:solidFill>
          <a:ln>
            <a:noFill/>
          </a:ln>
          <a:effectLst/>
        </p:spPr>
        <p:txBody>
          <a:bodyPr wrap="none" anchor="ctr"/>
          <a:lstStyle/>
          <a:p>
            <a:endParaRPr lang="en-GB" sz="2450">
              <a:latin typeface="+mj-lt"/>
            </a:endParaRPr>
          </a:p>
        </p:txBody>
      </p:sp>
      <p:sp>
        <p:nvSpPr>
          <p:cNvPr id="16" name="Down Arrow 18">
            <a:extLst>
              <a:ext uri="{FF2B5EF4-FFF2-40B4-BE49-F238E27FC236}">
                <a16:creationId xmlns:a16="http://schemas.microsoft.com/office/drawing/2014/main" id="{C729EC67-BFD7-96C8-C605-8CDC92201054}"/>
              </a:ext>
            </a:extLst>
          </p:cNvPr>
          <p:cNvSpPr/>
          <p:nvPr/>
        </p:nvSpPr>
        <p:spPr>
          <a:xfrm>
            <a:off x="6353581" y="4532051"/>
            <a:ext cx="120510" cy="446381"/>
          </a:xfrm>
          <a:prstGeom prst="downArrow">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a:latin typeface="+mj-lt"/>
            </a:endParaRPr>
          </a:p>
        </p:txBody>
      </p:sp>
      <p:sp>
        <p:nvSpPr>
          <p:cNvPr id="17" name="Up Arrow 19">
            <a:extLst>
              <a:ext uri="{FF2B5EF4-FFF2-40B4-BE49-F238E27FC236}">
                <a16:creationId xmlns:a16="http://schemas.microsoft.com/office/drawing/2014/main" id="{596CFBD3-5A93-3624-9A31-1A83BF1A7BD4}"/>
              </a:ext>
            </a:extLst>
          </p:cNvPr>
          <p:cNvSpPr/>
          <p:nvPr/>
        </p:nvSpPr>
        <p:spPr>
          <a:xfrm>
            <a:off x="7577451" y="2912586"/>
            <a:ext cx="120510" cy="446381"/>
          </a:xfrm>
          <a:prstGeom prst="upArrow">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a:latin typeface="+mj-lt"/>
            </a:endParaRPr>
          </a:p>
        </p:txBody>
      </p:sp>
      <p:sp>
        <p:nvSpPr>
          <p:cNvPr id="18" name="Down Arrow 20">
            <a:extLst>
              <a:ext uri="{FF2B5EF4-FFF2-40B4-BE49-F238E27FC236}">
                <a16:creationId xmlns:a16="http://schemas.microsoft.com/office/drawing/2014/main" id="{4BEA8F7F-9868-DB83-3035-F6F4633D04ED}"/>
              </a:ext>
            </a:extLst>
          </p:cNvPr>
          <p:cNvSpPr/>
          <p:nvPr/>
        </p:nvSpPr>
        <p:spPr>
          <a:xfrm>
            <a:off x="8810594" y="4532051"/>
            <a:ext cx="120510" cy="446381"/>
          </a:xfrm>
          <a:prstGeom prst="downArrow">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a:latin typeface="+mj-lt"/>
            </a:endParaRPr>
          </a:p>
        </p:txBody>
      </p:sp>
      <p:sp>
        <p:nvSpPr>
          <p:cNvPr id="19" name="Up Arrow 21">
            <a:extLst>
              <a:ext uri="{FF2B5EF4-FFF2-40B4-BE49-F238E27FC236}">
                <a16:creationId xmlns:a16="http://schemas.microsoft.com/office/drawing/2014/main" id="{D6FB4873-18DE-CA3A-BEC9-726C6793D2AD}"/>
              </a:ext>
            </a:extLst>
          </p:cNvPr>
          <p:cNvSpPr/>
          <p:nvPr/>
        </p:nvSpPr>
        <p:spPr>
          <a:xfrm>
            <a:off x="10029312" y="2912586"/>
            <a:ext cx="120510" cy="446381"/>
          </a:xfrm>
          <a:prstGeom prst="upArrow">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a:latin typeface="+mj-lt"/>
            </a:endParaRPr>
          </a:p>
        </p:txBody>
      </p:sp>
      <p:sp>
        <p:nvSpPr>
          <p:cNvPr id="20" name="Down Arrow 22">
            <a:extLst>
              <a:ext uri="{FF2B5EF4-FFF2-40B4-BE49-F238E27FC236}">
                <a16:creationId xmlns:a16="http://schemas.microsoft.com/office/drawing/2014/main" id="{FCEE2638-C4EC-46AA-6A68-962EFAF7B772}"/>
              </a:ext>
            </a:extLst>
          </p:cNvPr>
          <p:cNvSpPr/>
          <p:nvPr/>
        </p:nvSpPr>
        <p:spPr>
          <a:xfrm>
            <a:off x="11276878" y="4532051"/>
            <a:ext cx="120510" cy="446381"/>
          </a:xfrm>
          <a:prstGeom prst="downArrow">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a:latin typeface="+mj-lt"/>
            </a:endParaRPr>
          </a:p>
        </p:txBody>
      </p:sp>
      <p:sp>
        <p:nvSpPr>
          <p:cNvPr id="21" name="TextBox 24">
            <a:extLst>
              <a:ext uri="{FF2B5EF4-FFF2-40B4-BE49-F238E27FC236}">
                <a16:creationId xmlns:a16="http://schemas.microsoft.com/office/drawing/2014/main" id="{D71D1F73-CC0A-21EA-8260-BB99A2B9D102}"/>
              </a:ext>
            </a:extLst>
          </p:cNvPr>
          <p:cNvSpPr txBox="1"/>
          <p:nvPr/>
        </p:nvSpPr>
        <p:spPr>
          <a:xfrm>
            <a:off x="5794729" y="4955398"/>
            <a:ext cx="1238224" cy="710707"/>
          </a:xfrm>
          <a:prstGeom prst="rect">
            <a:avLst/>
          </a:prstGeom>
          <a:noFill/>
        </p:spPr>
        <p:txBody>
          <a:bodyPr wrap="none" rtlCol="0" anchor="t" anchorCtr="0">
            <a:spAutoFit/>
          </a:bodyPr>
          <a:lstStyle/>
          <a:p>
            <a:pPr algn="ctr">
              <a:lnSpc>
                <a:spcPts val="1620"/>
              </a:lnSpc>
            </a:pPr>
            <a:r>
              <a:rPr lang="en-GB" sz="1600" b="1">
                <a:solidFill>
                  <a:srgbClr val="245473"/>
                </a:solidFill>
                <a:latin typeface="+mj-lt"/>
                <a:ea typeface="League Spartan" charset="0"/>
                <a:cs typeface="Poppins" pitchFamily="2" charset="77"/>
              </a:rPr>
              <a:t>Identificar los </a:t>
            </a:r>
            <a:br>
              <a:rPr lang="en-GB" sz="1600" b="1">
                <a:solidFill>
                  <a:srgbClr val="245473"/>
                </a:solidFill>
                <a:latin typeface="+mj-lt"/>
                <a:ea typeface="League Spartan" charset="0"/>
                <a:cs typeface="Poppins" pitchFamily="2" charset="77"/>
              </a:rPr>
            </a:br>
            <a:r>
              <a:rPr lang="en-GB" sz="1600" b="1">
                <a:solidFill>
                  <a:srgbClr val="245473"/>
                </a:solidFill>
                <a:latin typeface="+mj-lt"/>
                <a:ea typeface="League Spartan" charset="0"/>
                <a:cs typeface="Poppins" pitchFamily="2" charset="77"/>
              </a:rPr>
              <a:t>importantes</a:t>
            </a:r>
            <a:br>
              <a:rPr lang="en-GB" sz="1600" b="1">
                <a:solidFill>
                  <a:srgbClr val="245473"/>
                </a:solidFill>
                <a:latin typeface="+mj-lt"/>
                <a:ea typeface="League Spartan" charset="0"/>
                <a:cs typeface="Poppins" pitchFamily="2" charset="77"/>
              </a:rPr>
            </a:br>
            <a:r>
              <a:rPr lang="en-GB" sz="1600" b="1">
                <a:solidFill>
                  <a:srgbClr val="245473"/>
                </a:solidFill>
                <a:latin typeface="+mj-lt"/>
                <a:ea typeface="League Spartan" charset="0"/>
                <a:cs typeface="Poppins" pitchFamily="2" charset="77"/>
              </a:rPr>
              <a:t>Partes interesadas</a:t>
            </a:r>
          </a:p>
        </p:txBody>
      </p:sp>
      <p:sp>
        <p:nvSpPr>
          <p:cNvPr id="22" name="TextBox 28">
            <a:extLst>
              <a:ext uri="{FF2B5EF4-FFF2-40B4-BE49-F238E27FC236}">
                <a16:creationId xmlns:a16="http://schemas.microsoft.com/office/drawing/2014/main" id="{3CF109EA-B680-C8D8-8EF1-62E568F13196}"/>
              </a:ext>
            </a:extLst>
          </p:cNvPr>
          <p:cNvSpPr txBox="1"/>
          <p:nvPr/>
        </p:nvSpPr>
        <p:spPr>
          <a:xfrm>
            <a:off x="8091554" y="4955398"/>
            <a:ext cx="1567865" cy="710707"/>
          </a:xfrm>
          <a:prstGeom prst="rect">
            <a:avLst/>
          </a:prstGeom>
          <a:noFill/>
        </p:spPr>
        <p:txBody>
          <a:bodyPr wrap="none" rtlCol="0" anchor="t" anchorCtr="0">
            <a:spAutoFit/>
          </a:bodyPr>
          <a:lstStyle/>
          <a:p>
            <a:pPr algn="ctr">
              <a:lnSpc>
                <a:spcPts val="1620"/>
              </a:lnSpc>
            </a:pPr>
            <a:r>
              <a:rPr lang="en-GB" sz="1600" b="1">
                <a:solidFill>
                  <a:srgbClr val="B41F7A"/>
                </a:solidFill>
                <a:latin typeface="+mj-lt"/>
                <a:ea typeface="League Spartan" charset="0"/>
                <a:cs typeface="Poppins" pitchFamily="2" charset="77"/>
              </a:rPr>
              <a:t>Derive las medidas</a:t>
            </a:r>
            <a:br>
              <a:rPr lang="en-GB" sz="1600" b="1">
                <a:solidFill>
                  <a:srgbClr val="B41F7A"/>
                </a:solidFill>
                <a:latin typeface="+mj-lt"/>
                <a:ea typeface="League Spartan" charset="0"/>
                <a:cs typeface="Poppins" pitchFamily="2" charset="77"/>
              </a:rPr>
            </a:br>
            <a:r>
              <a:rPr lang="en-GB" sz="1600" b="1">
                <a:solidFill>
                  <a:srgbClr val="B41F7A"/>
                </a:solidFill>
                <a:latin typeface="+mj-lt"/>
                <a:ea typeface="League Spartan" charset="0"/>
                <a:cs typeface="Poppins" pitchFamily="2" charset="77"/>
              </a:rPr>
              <a:t>para cada </a:t>
            </a:r>
            <a:br>
              <a:rPr lang="en-GB" sz="1600" b="1">
                <a:solidFill>
                  <a:srgbClr val="B41F7A"/>
                </a:solidFill>
                <a:latin typeface="+mj-lt"/>
                <a:ea typeface="League Spartan" charset="0"/>
                <a:cs typeface="Poppins" pitchFamily="2" charset="77"/>
              </a:rPr>
            </a:br>
            <a:r>
              <a:rPr lang="en-GB" sz="1600" b="1">
                <a:solidFill>
                  <a:srgbClr val="B41F7A"/>
                </a:solidFill>
                <a:latin typeface="+mj-lt"/>
                <a:ea typeface="League Spartan" charset="0"/>
                <a:cs typeface="Poppins" pitchFamily="2" charset="77"/>
              </a:rPr>
              <a:t>Partes interesadas</a:t>
            </a:r>
          </a:p>
        </p:txBody>
      </p:sp>
      <p:sp>
        <p:nvSpPr>
          <p:cNvPr id="23" name="TextBox 31">
            <a:extLst>
              <a:ext uri="{FF2B5EF4-FFF2-40B4-BE49-F238E27FC236}">
                <a16:creationId xmlns:a16="http://schemas.microsoft.com/office/drawing/2014/main" id="{CC6433F6-BE86-B6B7-14A1-4DA3B042D50A}"/>
              </a:ext>
            </a:extLst>
          </p:cNvPr>
          <p:cNvSpPr txBox="1"/>
          <p:nvPr/>
        </p:nvSpPr>
        <p:spPr>
          <a:xfrm>
            <a:off x="10906760" y="4955398"/>
            <a:ext cx="860748" cy="300339"/>
          </a:xfrm>
          <a:prstGeom prst="rect">
            <a:avLst/>
          </a:prstGeom>
          <a:noFill/>
        </p:spPr>
        <p:txBody>
          <a:bodyPr wrap="none" rtlCol="0" anchor="t" anchorCtr="0">
            <a:spAutoFit/>
          </a:bodyPr>
          <a:lstStyle/>
          <a:p>
            <a:pPr algn="ctr">
              <a:lnSpc>
                <a:spcPts val="1620"/>
              </a:lnSpc>
            </a:pPr>
            <a:r>
              <a:rPr lang="en-GB" sz="1600" b="1">
                <a:solidFill>
                  <a:srgbClr val="EDA13E"/>
                </a:solidFill>
                <a:latin typeface="+mj-lt"/>
                <a:ea typeface="League Spartan" charset="0"/>
                <a:cs typeface="Poppins" pitchFamily="2" charset="77"/>
              </a:rPr>
              <a:t>Monitor</a:t>
            </a:r>
          </a:p>
        </p:txBody>
      </p:sp>
      <p:sp>
        <p:nvSpPr>
          <p:cNvPr id="24" name="TextBox 35">
            <a:extLst>
              <a:ext uri="{FF2B5EF4-FFF2-40B4-BE49-F238E27FC236}">
                <a16:creationId xmlns:a16="http://schemas.microsoft.com/office/drawing/2014/main" id="{4901356F-EB93-9760-CA63-756DBFB60F2D}"/>
              </a:ext>
            </a:extLst>
          </p:cNvPr>
          <p:cNvSpPr txBox="1"/>
          <p:nvPr/>
        </p:nvSpPr>
        <p:spPr>
          <a:xfrm>
            <a:off x="6961170" y="2162470"/>
            <a:ext cx="1266927" cy="710707"/>
          </a:xfrm>
          <a:prstGeom prst="rect">
            <a:avLst/>
          </a:prstGeom>
          <a:noFill/>
        </p:spPr>
        <p:txBody>
          <a:bodyPr wrap="square" rtlCol="0" anchor="b" anchorCtr="0">
            <a:spAutoFit/>
          </a:bodyPr>
          <a:lstStyle/>
          <a:p>
            <a:pPr algn="ctr">
              <a:lnSpc>
                <a:spcPts val="1620"/>
              </a:lnSpc>
            </a:pPr>
            <a:r>
              <a:rPr lang="en-GB" sz="1600" b="1">
                <a:solidFill>
                  <a:srgbClr val="7F1C58"/>
                </a:solidFill>
                <a:latin typeface="+mj-lt"/>
                <a:ea typeface="League Spartan" charset="0"/>
                <a:cs typeface="Poppins" pitchFamily="2" charset="77"/>
              </a:rPr>
              <a:t>Analizar y </a:t>
            </a:r>
            <a:br>
              <a:rPr lang="en-GB" sz="1600" b="1">
                <a:solidFill>
                  <a:srgbClr val="7F1C58"/>
                </a:solidFill>
                <a:latin typeface="+mj-lt"/>
                <a:ea typeface="League Spartan" charset="0"/>
                <a:cs typeface="Poppins" pitchFamily="2" charset="77"/>
              </a:rPr>
            </a:br>
            <a:r>
              <a:rPr lang="en-GB" sz="1600" b="1">
                <a:solidFill>
                  <a:srgbClr val="7F1C58"/>
                </a:solidFill>
                <a:latin typeface="+mj-lt"/>
                <a:ea typeface="League Spartan" charset="0"/>
                <a:cs typeface="Poppins" pitchFamily="2" charset="77"/>
              </a:rPr>
              <a:t>calificar a las partes interesadas</a:t>
            </a:r>
          </a:p>
        </p:txBody>
      </p:sp>
      <p:sp>
        <p:nvSpPr>
          <p:cNvPr id="25" name="TextBox 38">
            <a:extLst>
              <a:ext uri="{FF2B5EF4-FFF2-40B4-BE49-F238E27FC236}">
                <a16:creationId xmlns:a16="http://schemas.microsoft.com/office/drawing/2014/main" id="{14CCD2A5-F53B-DD3D-AFFB-E062DEF65CB2}"/>
              </a:ext>
            </a:extLst>
          </p:cNvPr>
          <p:cNvSpPr txBox="1"/>
          <p:nvPr/>
        </p:nvSpPr>
        <p:spPr>
          <a:xfrm>
            <a:off x="9546984" y="2357034"/>
            <a:ext cx="1085169" cy="505523"/>
          </a:xfrm>
          <a:prstGeom prst="rect">
            <a:avLst/>
          </a:prstGeom>
          <a:noFill/>
        </p:spPr>
        <p:txBody>
          <a:bodyPr wrap="none" rtlCol="0" anchor="b" anchorCtr="0">
            <a:spAutoFit/>
          </a:bodyPr>
          <a:lstStyle/>
          <a:p>
            <a:pPr algn="ctr">
              <a:lnSpc>
                <a:spcPts val="1620"/>
              </a:lnSpc>
            </a:pPr>
            <a:r>
              <a:rPr lang="en-GB" sz="1600" b="1">
                <a:solidFill>
                  <a:srgbClr val="F16924"/>
                </a:solidFill>
                <a:latin typeface="+mj-lt"/>
                <a:ea typeface="League Spartan" charset="0"/>
                <a:cs typeface="Poppins" pitchFamily="2" charset="77"/>
              </a:rPr>
              <a:t>Poner en marcha</a:t>
            </a:r>
            <a:br>
              <a:rPr lang="en-GB" sz="1600" b="1">
                <a:solidFill>
                  <a:srgbClr val="F16924"/>
                </a:solidFill>
                <a:latin typeface="+mj-lt"/>
                <a:ea typeface="League Spartan" charset="0"/>
                <a:cs typeface="Poppins" pitchFamily="2" charset="77"/>
              </a:rPr>
            </a:br>
            <a:r>
              <a:rPr lang="en-GB" sz="1600" b="1">
                <a:solidFill>
                  <a:srgbClr val="F16924"/>
                </a:solidFill>
                <a:latin typeface="+mj-lt"/>
                <a:ea typeface="League Spartan" charset="0"/>
                <a:cs typeface="Poppins" pitchFamily="2" charset="77"/>
              </a:rPr>
              <a:t>Medidas</a:t>
            </a:r>
          </a:p>
        </p:txBody>
      </p:sp>
      <p:sp>
        <p:nvSpPr>
          <p:cNvPr id="26" name="TextBox 39">
            <a:extLst>
              <a:ext uri="{FF2B5EF4-FFF2-40B4-BE49-F238E27FC236}">
                <a16:creationId xmlns:a16="http://schemas.microsoft.com/office/drawing/2014/main" id="{1CF303ED-32AF-8137-E3AB-41DD16003212}"/>
              </a:ext>
            </a:extLst>
          </p:cNvPr>
          <p:cNvSpPr txBox="1"/>
          <p:nvPr/>
        </p:nvSpPr>
        <p:spPr>
          <a:xfrm>
            <a:off x="6211697" y="3639590"/>
            <a:ext cx="404278" cy="611834"/>
          </a:xfrm>
          <a:prstGeom prst="rect">
            <a:avLst/>
          </a:prstGeom>
          <a:noFill/>
        </p:spPr>
        <p:txBody>
          <a:bodyPr wrap="none" rtlCol="0" anchor="ctr">
            <a:spAutoFit/>
          </a:bodyPr>
          <a:lstStyle/>
          <a:p>
            <a:pPr algn="ctr"/>
            <a:r>
              <a:rPr lang="en-GB" sz="3376" b="1">
                <a:solidFill>
                  <a:schemeClr val="bg1"/>
                </a:solidFill>
                <a:latin typeface="+mj-lt"/>
                <a:cs typeface="Poppins" pitchFamily="2" charset="77"/>
              </a:rPr>
              <a:t>1</a:t>
            </a:r>
          </a:p>
        </p:txBody>
      </p:sp>
      <p:sp>
        <p:nvSpPr>
          <p:cNvPr id="27" name="TextBox 40">
            <a:extLst>
              <a:ext uri="{FF2B5EF4-FFF2-40B4-BE49-F238E27FC236}">
                <a16:creationId xmlns:a16="http://schemas.microsoft.com/office/drawing/2014/main" id="{6F29BBBE-CE24-2771-6FF1-168C1A14E791}"/>
              </a:ext>
            </a:extLst>
          </p:cNvPr>
          <p:cNvSpPr txBox="1"/>
          <p:nvPr/>
        </p:nvSpPr>
        <p:spPr>
          <a:xfrm>
            <a:off x="7435567" y="3639590"/>
            <a:ext cx="404278" cy="611834"/>
          </a:xfrm>
          <a:prstGeom prst="rect">
            <a:avLst/>
          </a:prstGeom>
          <a:noFill/>
        </p:spPr>
        <p:txBody>
          <a:bodyPr wrap="none" rtlCol="0" anchor="ctr">
            <a:spAutoFit/>
          </a:bodyPr>
          <a:lstStyle/>
          <a:p>
            <a:pPr algn="ctr"/>
            <a:r>
              <a:rPr lang="en-GB" sz="3376" b="1">
                <a:solidFill>
                  <a:schemeClr val="bg1"/>
                </a:solidFill>
                <a:latin typeface="+mj-lt"/>
                <a:cs typeface="Poppins" pitchFamily="2" charset="77"/>
              </a:rPr>
              <a:t>2</a:t>
            </a:r>
          </a:p>
        </p:txBody>
      </p:sp>
      <p:sp>
        <p:nvSpPr>
          <p:cNvPr id="28" name="TextBox 41">
            <a:extLst>
              <a:ext uri="{FF2B5EF4-FFF2-40B4-BE49-F238E27FC236}">
                <a16:creationId xmlns:a16="http://schemas.microsoft.com/office/drawing/2014/main" id="{F376F0FA-68D8-7024-5EDA-A83DCC0A7C11}"/>
              </a:ext>
            </a:extLst>
          </p:cNvPr>
          <p:cNvSpPr txBox="1"/>
          <p:nvPr/>
        </p:nvSpPr>
        <p:spPr>
          <a:xfrm>
            <a:off x="8663558" y="3639590"/>
            <a:ext cx="404278" cy="611834"/>
          </a:xfrm>
          <a:prstGeom prst="rect">
            <a:avLst/>
          </a:prstGeom>
          <a:solidFill>
            <a:srgbClr val="B41F7A"/>
          </a:solidFill>
        </p:spPr>
        <p:txBody>
          <a:bodyPr wrap="none" rtlCol="0" anchor="ctr">
            <a:spAutoFit/>
          </a:bodyPr>
          <a:lstStyle/>
          <a:p>
            <a:pPr algn="ctr"/>
            <a:r>
              <a:rPr lang="en-GB" sz="3376" b="1">
                <a:solidFill>
                  <a:schemeClr val="bg1"/>
                </a:solidFill>
                <a:latin typeface="+mj-lt"/>
                <a:cs typeface="Poppins" pitchFamily="2" charset="77"/>
              </a:rPr>
              <a:t>3</a:t>
            </a:r>
          </a:p>
        </p:txBody>
      </p:sp>
      <p:sp>
        <p:nvSpPr>
          <p:cNvPr id="29" name="TextBox 42">
            <a:extLst>
              <a:ext uri="{FF2B5EF4-FFF2-40B4-BE49-F238E27FC236}">
                <a16:creationId xmlns:a16="http://schemas.microsoft.com/office/drawing/2014/main" id="{E9F04B17-A9CD-2EEE-D4FE-714BA08DDBAD}"/>
              </a:ext>
            </a:extLst>
          </p:cNvPr>
          <p:cNvSpPr txBox="1"/>
          <p:nvPr/>
        </p:nvSpPr>
        <p:spPr>
          <a:xfrm>
            <a:off x="9887429" y="3639590"/>
            <a:ext cx="404278" cy="611834"/>
          </a:xfrm>
          <a:prstGeom prst="rect">
            <a:avLst/>
          </a:prstGeom>
          <a:noFill/>
        </p:spPr>
        <p:txBody>
          <a:bodyPr wrap="none" rtlCol="0" anchor="ctr">
            <a:spAutoFit/>
          </a:bodyPr>
          <a:lstStyle/>
          <a:p>
            <a:pPr algn="ctr"/>
            <a:r>
              <a:rPr lang="en-GB" sz="3376" b="1">
                <a:solidFill>
                  <a:schemeClr val="bg1"/>
                </a:solidFill>
                <a:latin typeface="+mj-lt"/>
                <a:cs typeface="Poppins" pitchFamily="2" charset="77"/>
              </a:rPr>
              <a:t>4</a:t>
            </a:r>
          </a:p>
        </p:txBody>
      </p:sp>
      <p:sp>
        <p:nvSpPr>
          <p:cNvPr id="30" name="TextBox 43">
            <a:extLst>
              <a:ext uri="{FF2B5EF4-FFF2-40B4-BE49-F238E27FC236}">
                <a16:creationId xmlns:a16="http://schemas.microsoft.com/office/drawing/2014/main" id="{D305598D-273F-A734-01A6-2F9F711B0952}"/>
              </a:ext>
            </a:extLst>
          </p:cNvPr>
          <p:cNvSpPr txBox="1"/>
          <p:nvPr/>
        </p:nvSpPr>
        <p:spPr>
          <a:xfrm>
            <a:off x="11134994" y="3639590"/>
            <a:ext cx="404278" cy="611834"/>
          </a:xfrm>
          <a:prstGeom prst="rect">
            <a:avLst/>
          </a:prstGeom>
          <a:noFill/>
        </p:spPr>
        <p:txBody>
          <a:bodyPr wrap="none" rtlCol="0" anchor="ctr">
            <a:spAutoFit/>
          </a:bodyPr>
          <a:lstStyle/>
          <a:p>
            <a:pPr algn="ctr"/>
            <a:r>
              <a:rPr lang="en-GB" sz="3376" b="1">
                <a:solidFill>
                  <a:schemeClr val="bg1"/>
                </a:solidFill>
                <a:latin typeface="+mj-lt"/>
                <a:cs typeface="Poppins" pitchFamily="2" charset="77"/>
              </a:rPr>
              <a:t>5</a:t>
            </a:r>
          </a:p>
        </p:txBody>
      </p:sp>
    </p:spTree>
    <p:extLst>
      <p:ext uri="{BB962C8B-B14F-4D97-AF65-F5344CB8AC3E}">
        <p14:creationId xmlns:p14="http://schemas.microsoft.com/office/powerpoint/2010/main" val="562470716"/>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a:solidFill>
                  <a:schemeClr val="bg1"/>
                </a:solidFill>
              </a:rPr>
              <a:t>04 </a:t>
            </a:r>
            <a:r>
              <a:rPr lang="en-US">
                <a:solidFill>
                  <a:schemeClr val="bg1"/>
                </a:solidFill>
              </a:rPr>
              <a:t>Utilización de las evaluaciones existentes para identificar los riesgos</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612807" y="1687072"/>
            <a:ext cx="4088124" cy="4650317"/>
          </a:xfrm>
        </p:spPr>
        <p:txBody>
          <a:bodyPr>
            <a:noAutofit/>
          </a:bodyPr>
          <a:lstStyle/>
          <a:p>
            <a:pPr marL="12700" indent="-12700"/>
            <a:r>
              <a:rPr lang="en-GB" sz="2100">
                <a:latin typeface="Calibri" panose="020F0502020204030204" pitchFamily="34" charset="0"/>
                <a:ea typeface="Lato Light" panose="020F0502020204030203" pitchFamily="34" charset="0"/>
                <a:cs typeface="Calibri" panose="020F0502020204030204" pitchFamily="34" charset="0"/>
              </a:rPr>
              <a:t>Muchas PYMES ya llevan a cabo auditorías y evaluaciones periódicas con diversos fines (por ejemplo, auditorías de proveedores). Sin embargo, con demasiada frecuencia, éstas se consideran en una visión de silo y exclusivamente dentro de esa área de operaciones. Si se reúnen las auditorías y evaluaciones de los distintos ámbitos de la empresa y se consideran en su totalidad, a menudo es posible obtener una imagen muy clara del estado de la empresa y de las posibles causas de la crisis. </a:t>
            </a:r>
            <a:r>
              <a:rPr lang="en-GB" sz="2100" b="1">
                <a:latin typeface="Calibri" panose="020F0502020204030204" pitchFamily="34" charset="0"/>
                <a:ea typeface="Lato Light" panose="020F0502020204030203" pitchFamily="34" charset="0"/>
                <a:cs typeface="Calibri" panose="020F0502020204030204" pitchFamily="34" charset="0"/>
              </a:rPr>
              <a:t>Aquí hay 6 áreas que hay que tener en cuenta, pero ¿hay más que sean específicas de su PYME?  </a:t>
            </a:r>
            <a:r>
              <a:rPr lang="en-GB" sz="2100">
                <a:latin typeface="Calibri" panose="020F0502020204030204" pitchFamily="34" charset="0"/>
                <a:ea typeface="Lato Light" panose="020F0502020204030203" pitchFamily="34" charset="0"/>
                <a:cs typeface="Calibri" panose="020F0502020204030204" pitchFamily="34" charset="0"/>
              </a:rPr>
              <a:t>Inclúyalas en su evaluación.</a:t>
            </a:r>
          </a:p>
        </p:txBody>
      </p:sp>
      <p:grpSp>
        <p:nvGrpSpPr>
          <p:cNvPr id="39" name="Group 38">
            <a:extLst>
              <a:ext uri="{FF2B5EF4-FFF2-40B4-BE49-F238E27FC236}">
                <a16:creationId xmlns:a16="http://schemas.microsoft.com/office/drawing/2014/main" id="{73EB25BA-7A28-2A97-393A-09295F1EBAF4}"/>
              </a:ext>
            </a:extLst>
          </p:cNvPr>
          <p:cNvGrpSpPr/>
          <p:nvPr/>
        </p:nvGrpSpPr>
        <p:grpSpPr>
          <a:xfrm>
            <a:off x="517239" y="1772549"/>
            <a:ext cx="912642" cy="1019345"/>
            <a:chOff x="8865150" y="2423597"/>
            <a:chExt cx="667915" cy="746005"/>
          </a:xfrm>
          <a:solidFill>
            <a:srgbClr val="595959"/>
          </a:solidFill>
        </p:grpSpPr>
        <p:sp>
          <p:nvSpPr>
            <p:cNvPr id="40" name="Freeform 39">
              <a:extLst>
                <a:ext uri="{FF2B5EF4-FFF2-40B4-BE49-F238E27FC236}">
                  <a16:creationId xmlns:a16="http://schemas.microsoft.com/office/drawing/2014/main" id="{64EE4150-8981-CC43-7A90-C39E9F9C9758}"/>
                </a:ext>
              </a:extLst>
            </p:cNvPr>
            <p:cNvSpPr/>
            <p:nvPr/>
          </p:nvSpPr>
          <p:spPr>
            <a:xfrm>
              <a:off x="9086825" y="2589670"/>
              <a:ext cx="283642" cy="260156"/>
            </a:xfrm>
            <a:custGeom>
              <a:avLst/>
              <a:gdLst>
                <a:gd name="connsiteX0" fmla="*/ 68652 w 283642"/>
                <a:gd name="connsiteY0" fmla="*/ 84912 h 260156"/>
                <a:gd name="connsiteX1" fmla="*/ 141821 w 283642"/>
                <a:gd name="connsiteY1" fmla="*/ 2710 h 260156"/>
                <a:gd name="connsiteX2" fmla="*/ 214990 w 283642"/>
                <a:gd name="connsiteY2" fmla="*/ 84912 h 260156"/>
                <a:gd name="connsiteX3" fmla="*/ 68652 w 283642"/>
                <a:gd name="connsiteY3" fmla="*/ 84912 h 260156"/>
                <a:gd name="connsiteX4" fmla="*/ 221314 w 283642"/>
                <a:gd name="connsiteY4" fmla="*/ 110205 h 260156"/>
                <a:gd name="connsiteX5" fmla="*/ 140918 w 283642"/>
                <a:gd name="connsiteY5" fmla="*/ 260156 h 260156"/>
                <a:gd name="connsiteX6" fmla="*/ 60522 w 283642"/>
                <a:gd name="connsiteY6" fmla="*/ 110205 h 260156"/>
                <a:gd name="connsiteX7" fmla="*/ 221314 w 283642"/>
                <a:gd name="connsiteY7" fmla="*/ 110205 h 260156"/>
                <a:gd name="connsiteX8" fmla="*/ 53296 w 283642"/>
                <a:gd name="connsiteY8" fmla="*/ 64136 h 260156"/>
                <a:gd name="connsiteX9" fmla="*/ 53296 w 283642"/>
                <a:gd name="connsiteY9" fmla="*/ 7226 h 260156"/>
                <a:gd name="connsiteX10" fmla="*/ 110205 w 283642"/>
                <a:gd name="connsiteY10" fmla="*/ 0 h 260156"/>
                <a:gd name="connsiteX11" fmla="*/ 53296 w 283642"/>
                <a:gd name="connsiteY11" fmla="*/ 64136 h 260156"/>
                <a:gd name="connsiteX12" fmla="*/ 28003 w 283642"/>
                <a:gd name="connsiteY12" fmla="*/ 84912 h 260156"/>
                <a:gd name="connsiteX13" fmla="*/ 0 w 283642"/>
                <a:gd name="connsiteY13" fmla="*/ 84912 h 260156"/>
                <a:gd name="connsiteX14" fmla="*/ 28003 w 283642"/>
                <a:gd name="connsiteY14" fmla="*/ 40649 h 260156"/>
                <a:gd name="connsiteX15" fmla="*/ 28003 w 283642"/>
                <a:gd name="connsiteY15" fmla="*/ 84912 h 260156"/>
                <a:gd name="connsiteX16" fmla="*/ 32519 w 283642"/>
                <a:gd name="connsiteY16" fmla="*/ 110205 h 260156"/>
                <a:gd name="connsiteX17" fmla="*/ 76782 w 283642"/>
                <a:gd name="connsiteY17" fmla="*/ 194214 h 260156"/>
                <a:gd name="connsiteX18" fmla="*/ 4517 w 283642"/>
                <a:gd name="connsiteY18" fmla="*/ 110205 h 260156"/>
                <a:gd name="connsiteX19" fmla="*/ 32519 w 283642"/>
                <a:gd name="connsiteY19" fmla="*/ 110205 h 260156"/>
                <a:gd name="connsiteX20" fmla="*/ 250220 w 283642"/>
                <a:gd name="connsiteY20" fmla="*/ 110205 h 260156"/>
                <a:gd name="connsiteX21" fmla="*/ 278223 w 283642"/>
                <a:gd name="connsiteY21" fmla="*/ 110205 h 260156"/>
                <a:gd name="connsiteX22" fmla="*/ 205957 w 283642"/>
                <a:gd name="connsiteY22" fmla="*/ 194214 h 260156"/>
                <a:gd name="connsiteX23" fmla="*/ 250220 w 283642"/>
                <a:gd name="connsiteY23" fmla="*/ 110205 h 260156"/>
                <a:gd name="connsiteX24" fmla="*/ 255640 w 283642"/>
                <a:gd name="connsiteY24" fmla="*/ 84912 h 260156"/>
                <a:gd name="connsiteX25" fmla="*/ 255640 w 283642"/>
                <a:gd name="connsiteY25" fmla="*/ 40649 h 260156"/>
                <a:gd name="connsiteX26" fmla="*/ 283643 w 283642"/>
                <a:gd name="connsiteY26" fmla="*/ 84912 h 260156"/>
                <a:gd name="connsiteX27" fmla="*/ 255640 w 283642"/>
                <a:gd name="connsiteY27" fmla="*/ 84912 h 260156"/>
                <a:gd name="connsiteX28" fmla="*/ 230347 w 283642"/>
                <a:gd name="connsiteY28" fmla="*/ 64136 h 260156"/>
                <a:gd name="connsiteX29" fmla="*/ 173437 w 283642"/>
                <a:gd name="connsiteY29" fmla="*/ 0 h 260156"/>
                <a:gd name="connsiteX30" fmla="*/ 230347 w 283642"/>
                <a:gd name="connsiteY30" fmla="*/ 7226 h 260156"/>
                <a:gd name="connsiteX31" fmla="*/ 230347 w 283642"/>
                <a:gd name="connsiteY31" fmla="*/ 64136 h 260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3642" h="260156">
                  <a:moveTo>
                    <a:pt x="68652" y="84912"/>
                  </a:moveTo>
                  <a:lnTo>
                    <a:pt x="141821" y="2710"/>
                  </a:lnTo>
                  <a:lnTo>
                    <a:pt x="214990" y="84912"/>
                  </a:lnTo>
                  <a:lnTo>
                    <a:pt x="68652" y="84912"/>
                  </a:lnTo>
                  <a:close/>
                  <a:moveTo>
                    <a:pt x="221314" y="110205"/>
                  </a:moveTo>
                  <a:lnTo>
                    <a:pt x="140918" y="260156"/>
                  </a:lnTo>
                  <a:lnTo>
                    <a:pt x="60522" y="110205"/>
                  </a:lnTo>
                  <a:lnTo>
                    <a:pt x="221314" y="110205"/>
                  </a:lnTo>
                  <a:close/>
                  <a:moveTo>
                    <a:pt x="53296" y="64136"/>
                  </a:moveTo>
                  <a:lnTo>
                    <a:pt x="53296" y="7226"/>
                  </a:lnTo>
                  <a:lnTo>
                    <a:pt x="110205" y="0"/>
                  </a:lnTo>
                  <a:lnTo>
                    <a:pt x="53296" y="64136"/>
                  </a:lnTo>
                  <a:close/>
                  <a:moveTo>
                    <a:pt x="28003" y="84912"/>
                  </a:moveTo>
                  <a:lnTo>
                    <a:pt x="0" y="84912"/>
                  </a:lnTo>
                  <a:lnTo>
                    <a:pt x="28003" y="40649"/>
                  </a:lnTo>
                  <a:lnTo>
                    <a:pt x="28003" y="84912"/>
                  </a:lnTo>
                  <a:close/>
                  <a:moveTo>
                    <a:pt x="32519" y="110205"/>
                  </a:moveTo>
                  <a:lnTo>
                    <a:pt x="76782" y="194214"/>
                  </a:lnTo>
                  <a:lnTo>
                    <a:pt x="4517" y="110205"/>
                  </a:lnTo>
                  <a:lnTo>
                    <a:pt x="32519" y="110205"/>
                  </a:lnTo>
                  <a:close/>
                  <a:moveTo>
                    <a:pt x="250220" y="110205"/>
                  </a:moveTo>
                  <a:lnTo>
                    <a:pt x="278223" y="110205"/>
                  </a:lnTo>
                  <a:lnTo>
                    <a:pt x="205957" y="194214"/>
                  </a:lnTo>
                  <a:lnTo>
                    <a:pt x="250220" y="110205"/>
                  </a:lnTo>
                  <a:close/>
                  <a:moveTo>
                    <a:pt x="255640" y="84912"/>
                  </a:moveTo>
                  <a:lnTo>
                    <a:pt x="255640" y="40649"/>
                  </a:lnTo>
                  <a:lnTo>
                    <a:pt x="283643" y="84912"/>
                  </a:lnTo>
                  <a:lnTo>
                    <a:pt x="255640" y="84912"/>
                  </a:lnTo>
                  <a:close/>
                  <a:moveTo>
                    <a:pt x="230347" y="64136"/>
                  </a:moveTo>
                  <a:lnTo>
                    <a:pt x="173437" y="0"/>
                  </a:lnTo>
                  <a:lnTo>
                    <a:pt x="230347" y="7226"/>
                  </a:lnTo>
                  <a:lnTo>
                    <a:pt x="230347" y="64136"/>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41" name="Graphic 2">
              <a:extLst>
                <a:ext uri="{FF2B5EF4-FFF2-40B4-BE49-F238E27FC236}">
                  <a16:creationId xmlns:a16="http://schemas.microsoft.com/office/drawing/2014/main" id="{19AD7A99-323E-D9D0-B362-59639FAD63F5}"/>
                </a:ext>
              </a:extLst>
            </p:cNvPr>
            <p:cNvGrpSpPr/>
            <p:nvPr/>
          </p:nvGrpSpPr>
          <p:grpSpPr>
            <a:xfrm>
              <a:off x="8865150" y="2423597"/>
              <a:ext cx="667915" cy="746005"/>
              <a:chOff x="8865150" y="2423597"/>
              <a:chExt cx="667915" cy="746005"/>
            </a:xfrm>
            <a:grpFill/>
          </p:grpSpPr>
          <p:sp>
            <p:nvSpPr>
              <p:cNvPr id="42" name="Freeform 41">
                <a:extLst>
                  <a:ext uri="{FF2B5EF4-FFF2-40B4-BE49-F238E27FC236}">
                    <a16:creationId xmlns:a16="http://schemas.microsoft.com/office/drawing/2014/main" id="{49620377-9369-50C2-98EF-58972520C0A3}"/>
                  </a:ext>
                </a:extLst>
              </p:cNvPr>
              <p:cNvSpPr/>
              <p:nvPr/>
            </p:nvSpPr>
            <p:spPr>
              <a:xfrm>
                <a:off x="9507773" y="2947385"/>
                <a:ext cx="25293" cy="25293"/>
              </a:xfrm>
              <a:custGeom>
                <a:avLst/>
                <a:gdLst>
                  <a:gd name="connsiteX0" fmla="*/ 25293 w 25293"/>
                  <a:gd name="connsiteY0" fmla="*/ 12647 h 25293"/>
                  <a:gd name="connsiteX1" fmla="*/ 12646 w 25293"/>
                  <a:gd name="connsiteY1" fmla="*/ 25293 h 25293"/>
                  <a:gd name="connsiteX2" fmla="*/ -1 w 25293"/>
                  <a:gd name="connsiteY2" fmla="*/ 12647 h 25293"/>
                  <a:gd name="connsiteX3" fmla="*/ 12646 w 25293"/>
                  <a:gd name="connsiteY3" fmla="*/ 0 h 25293"/>
                  <a:gd name="connsiteX4" fmla="*/ 25293 w 25293"/>
                  <a:gd name="connsiteY4" fmla="*/ 12647 h 25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93" h="25293">
                    <a:moveTo>
                      <a:pt x="25293" y="12647"/>
                    </a:moveTo>
                    <a:cubicBezTo>
                      <a:pt x="25293" y="19631"/>
                      <a:pt x="19631" y="25293"/>
                      <a:pt x="12646" y="25293"/>
                    </a:cubicBezTo>
                    <a:cubicBezTo>
                      <a:pt x="5662" y="25293"/>
                      <a:pt x="-1" y="19631"/>
                      <a:pt x="-1" y="12647"/>
                    </a:cubicBezTo>
                    <a:cubicBezTo>
                      <a:pt x="-1" y="5662"/>
                      <a:pt x="5662" y="0"/>
                      <a:pt x="12646" y="0"/>
                    </a:cubicBezTo>
                    <a:cubicBezTo>
                      <a:pt x="19631" y="0"/>
                      <a:pt x="25293" y="5662"/>
                      <a:pt x="25293" y="12647"/>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3" name="Freeform 42">
                <a:extLst>
                  <a:ext uri="{FF2B5EF4-FFF2-40B4-BE49-F238E27FC236}">
                    <a16:creationId xmlns:a16="http://schemas.microsoft.com/office/drawing/2014/main" id="{0AA35E50-0899-1316-D8EA-562F8621AFBC}"/>
                  </a:ext>
                </a:extLst>
              </p:cNvPr>
              <p:cNvSpPr/>
              <p:nvPr/>
            </p:nvSpPr>
            <p:spPr>
              <a:xfrm>
                <a:off x="8875448" y="2466818"/>
                <a:ext cx="75879" cy="75879"/>
              </a:xfrm>
              <a:custGeom>
                <a:avLst/>
                <a:gdLst>
                  <a:gd name="connsiteX0" fmla="*/ 37940 w 75879"/>
                  <a:gd name="connsiteY0" fmla="*/ 75879 h 75879"/>
                  <a:gd name="connsiteX1" fmla="*/ 75879 w 75879"/>
                  <a:gd name="connsiteY1" fmla="*/ 37940 h 75879"/>
                  <a:gd name="connsiteX2" fmla="*/ 37940 w 75879"/>
                  <a:gd name="connsiteY2" fmla="*/ 0 h 75879"/>
                  <a:gd name="connsiteX3" fmla="*/ 0 w 75879"/>
                  <a:gd name="connsiteY3" fmla="*/ 37940 h 75879"/>
                  <a:gd name="connsiteX4" fmla="*/ 37940 w 75879"/>
                  <a:gd name="connsiteY4" fmla="*/ 75879 h 75879"/>
                  <a:gd name="connsiteX5" fmla="*/ 37940 w 75879"/>
                  <a:gd name="connsiteY5" fmla="*/ 25293 h 75879"/>
                  <a:gd name="connsiteX6" fmla="*/ 50586 w 75879"/>
                  <a:gd name="connsiteY6" fmla="*/ 37940 h 75879"/>
                  <a:gd name="connsiteX7" fmla="*/ 37940 w 75879"/>
                  <a:gd name="connsiteY7" fmla="*/ 50586 h 75879"/>
                  <a:gd name="connsiteX8" fmla="*/ 25293 w 75879"/>
                  <a:gd name="connsiteY8" fmla="*/ 37940 h 75879"/>
                  <a:gd name="connsiteX9" fmla="*/ 37940 w 75879"/>
                  <a:gd name="connsiteY9" fmla="*/ 25293 h 7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879" h="75879">
                    <a:moveTo>
                      <a:pt x="37940" y="75879"/>
                    </a:moveTo>
                    <a:cubicBezTo>
                      <a:pt x="58716" y="75879"/>
                      <a:pt x="75879" y="58716"/>
                      <a:pt x="75879" y="37940"/>
                    </a:cubicBezTo>
                    <a:cubicBezTo>
                      <a:pt x="75879" y="17163"/>
                      <a:pt x="58716" y="0"/>
                      <a:pt x="37940" y="0"/>
                    </a:cubicBezTo>
                    <a:cubicBezTo>
                      <a:pt x="17163" y="0"/>
                      <a:pt x="0" y="17163"/>
                      <a:pt x="0" y="37940"/>
                    </a:cubicBezTo>
                    <a:cubicBezTo>
                      <a:pt x="0" y="58716"/>
                      <a:pt x="17163" y="75879"/>
                      <a:pt x="37940" y="75879"/>
                    </a:cubicBezTo>
                    <a:close/>
                    <a:moveTo>
                      <a:pt x="37940" y="25293"/>
                    </a:moveTo>
                    <a:cubicBezTo>
                      <a:pt x="45166" y="25293"/>
                      <a:pt x="50586" y="30713"/>
                      <a:pt x="50586" y="37940"/>
                    </a:cubicBezTo>
                    <a:cubicBezTo>
                      <a:pt x="50586" y="45166"/>
                      <a:pt x="45166" y="50586"/>
                      <a:pt x="37940" y="50586"/>
                    </a:cubicBezTo>
                    <a:cubicBezTo>
                      <a:pt x="30713" y="50586"/>
                      <a:pt x="25293" y="45166"/>
                      <a:pt x="25293" y="37940"/>
                    </a:cubicBezTo>
                    <a:cubicBezTo>
                      <a:pt x="25293" y="30713"/>
                      <a:pt x="31616" y="25293"/>
                      <a:pt x="37940" y="25293"/>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4" name="Freeform 43">
                <a:extLst>
                  <a:ext uri="{FF2B5EF4-FFF2-40B4-BE49-F238E27FC236}">
                    <a16:creationId xmlns:a16="http://schemas.microsoft.com/office/drawing/2014/main" id="{150687E9-3AFE-8416-5BB7-3AE7C34D761F}"/>
                  </a:ext>
                </a:extLst>
              </p:cNvPr>
              <p:cNvSpPr/>
              <p:nvPr/>
            </p:nvSpPr>
            <p:spPr>
              <a:xfrm>
                <a:off x="8865150" y="2423597"/>
                <a:ext cx="640413" cy="746005"/>
              </a:xfrm>
              <a:custGeom>
                <a:avLst/>
                <a:gdLst>
                  <a:gd name="connsiteX0" fmla="*/ 368917 w 640413"/>
                  <a:gd name="connsiteY0" fmla="*/ 765 h 746005"/>
                  <a:gd name="connsiteX1" fmla="*/ 167476 w 640413"/>
                  <a:gd name="connsiteY1" fmla="*/ 67611 h 746005"/>
                  <a:gd name="connsiteX2" fmla="*/ 67207 w 640413"/>
                  <a:gd name="connsiteY2" fmla="*/ 286215 h 746005"/>
                  <a:gd name="connsiteX3" fmla="*/ 3071 w 640413"/>
                  <a:gd name="connsiteY3" fmla="*/ 412680 h 746005"/>
                  <a:gd name="connsiteX4" fmla="*/ 2168 w 640413"/>
                  <a:gd name="connsiteY4" fmla="*/ 414486 h 746005"/>
                  <a:gd name="connsiteX5" fmla="*/ 4878 w 640413"/>
                  <a:gd name="connsiteY5" fmla="*/ 443393 h 746005"/>
                  <a:gd name="connsiteX6" fmla="*/ 27461 w 640413"/>
                  <a:gd name="connsiteY6" fmla="*/ 460556 h 746005"/>
                  <a:gd name="connsiteX7" fmla="*/ 75337 w 640413"/>
                  <a:gd name="connsiteY7" fmla="*/ 471396 h 746005"/>
                  <a:gd name="connsiteX8" fmla="*/ 88887 w 640413"/>
                  <a:gd name="connsiteY8" fmla="*/ 624057 h 746005"/>
                  <a:gd name="connsiteX9" fmla="*/ 123213 w 640413"/>
                  <a:gd name="connsiteY9" fmla="*/ 655673 h 746005"/>
                  <a:gd name="connsiteX10" fmla="*/ 125020 w 640413"/>
                  <a:gd name="connsiteY10" fmla="*/ 655673 h 746005"/>
                  <a:gd name="connsiteX11" fmla="*/ 225288 w 640413"/>
                  <a:gd name="connsiteY11" fmla="*/ 644833 h 746005"/>
                  <a:gd name="connsiteX12" fmla="*/ 225288 w 640413"/>
                  <a:gd name="connsiteY12" fmla="*/ 731552 h 746005"/>
                  <a:gd name="connsiteX13" fmla="*/ 237935 w 640413"/>
                  <a:gd name="connsiteY13" fmla="*/ 744199 h 746005"/>
                  <a:gd name="connsiteX14" fmla="*/ 250581 w 640413"/>
                  <a:gd name="connsiteY14" fmla="*/ 731552 h 746005"/>
                  <a:gd name="connsiteX15" fmla="*/ 250581 w 640413"/>
                  <a:gd name="connsiteY15" fmla="*/ 630380 h 746005"/>
                  <a:gd name="connsiteX16" fmla="*/ 246065 w 640413"/>
                  <a:gd name="connsiteY16" fmla="*/ 621347 h 746005"/>
                  <a:gd name="connsiteX17" fmla="*/ 236128 w 640413"/>
                  <a:gd name="connsiteY17" fmla="*/ 618637 h 746005"/>
                  <a:gd name="connsiteX18" fmla="*/ 122310 w 640413"/>
                  <a:gd name="connsiteY18" fmla="*/ 631284 h 746005"/>
                  <a:gd name="connsiteX19" fmla="*/ 114180 w 640413"/>
                  <a:gd name="connsiteY19" fmla="*/ 623153 h 746005"/>
                  <a:gd name="connsiteX20" fmla="*/ 99727 w 640413"/>
                  <a:gd name="connsiteY20" fmla="*/ 461459 h 746005"/>
                  <a:gd name="connsiteX21" fmla="*/ 89790 w 640413"/>
                  <a:gd name="connsiteY21" fmla="*/ 450619 h 746005"/>
                  <a:gd name="connsiteX22" fmla="*/ 32881 w 640413"/>
                  <a:gd name="connsiteY22" fmla="*/ 437069 h 746005"/>
                  <a:gd name="connsiteX23" fmla="*/ 27461 w 640413"/>
                  <a:gd name="connsiteY23" fmla="*/ 432553 h 746005"/>
                  <a:gd name="connsiteX24" fmla="*/ 26558 w 640413"/>
                  <a:gd name="connsiteY24" fmla="*/ 424423 h 746005"/>
                  <a:gd name="connsiteX25" fmla="*/ 90694 w 640413"/>
                  <a:gd name="connsiteY25" fmla="*/ 298861 h 746005"/>
                  <a:gd name="connsiteX26" fmla="*/ 93404 w 640413"/>
                  <a:gd name="connsiteY26" fmla="*/ 291634 h 746005"/>
                  <a:gd name="connsiteX27" fmla="*/ 185542 w 640413"/>
                  <a:gd name="connsiteY27" fmla="*/ 87484 h 746005"/>
                  <a:gd name="connsiteX28" fmla="*/ 368013 w 640413"/>
                  <a:gd name="connsiteY28" fmla="*/ 26961 h 746005"/>
                  <a:gd name="connsiteX29" fmla="*/ 615523 w 640413"/>
                  <a:gd name="connsiteY29" fmla="*/ 289828 h 746005"/>
                  <a:gd name="connsiteX30" fmla="*/ 547774 w 640413"/>
                  <a:gd name="connsiteY30" fmla="*/ 488559 h 746005"/>
                  <a:gd name="connsiteX31" fmla="*/ 517965 w 640413"/>
                  <a:gd name="connsiteY31" fmla="*/ 568954 h 746005"/>
                  <a:gd name="connsiteX32" fmla="*/ 517965 w 640413"/>
                  <a:gd name="connsiteY32" fmla="*/ 733359 h 746005"/>
                  <a:gd name="connsiteX33" fmla="*/ 530611 w 640413"/>
                  <a:gd name="connsiteY33" fmla="*/ 746005 h 746005"/>
                  <a:gd name="connsiteX34" fmla="*/ 543258 w 640413"/>
                  <a:gd name="connsiteY34" fmla="*/ 733359 h 746005"/>
                  <a:gd name="connsiteX35" fmla="*/ 543258 w 640413"/>
                  <a:gd name="connsiteY35" fmla="*/ 568954 h 746005"/>
                  <a:gd name="connsiteX36" fmla="*/ 566744 w 640413"/>
                  <a:gd name="connsiteY36" fmla="*/ 504819 h 746005"/>
                  <a:gd name="connsiteX37" fmla="*/ 639913 w 640413"/>
                  <a:gd name="connsiteY37" fmla="*/ 288924 h 746005"/>
                  <a:gd name="connsiteX38" fmla="*/ 368917 w 640413"/>
                  <a:gd name="connsiteY38" fmla="*/ 765 h 746005"/>
                  <a:gd name="connsiteX39" fmla="*/ 368917 w 640413"/>
                  <a:gd name="connsiteY39" fmla="*/ 765 h 74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40413" h="746005">
                    <a:moveTo>
                      <a:pt x="368917" y="765"/>
                    </a:moveTo>
                    <a:cubicBezTo>
                      <a:pt x="293941" y="-4655"/>
                      <a:pt x="222578" y="18832"/>
                      <a:pt x="167476" y="67611"/>
                    </a:cubicBezTo>
                    <a:cubicBezTo>
                      <a:pt x="107856" y="120907"/>
                      <a:pt x="70821" y="200399"/>
                      <a:pt x="67207" y="286215"/>
                    </a:cubicBezTo>
                    <a:lnTo>
                      <a:pt x="3071" y="412680"/>
                    </a:lnTo>
                    <a:cubicBezTo>
                      <a:pt x="3071" y="413583"/>
                      <a:pt x="2168" y="413583"/>
                      <a:pt x="2168" y="414486"/>
                    </a:cubicBezTo>
                    <a:cubicBezTo>
                      <a:pt x="-1445" y="424423"/>
                      <a:pt x="-542" y="434360"/>
                      <a:pt x="4878" y="443393"/>
                    </a:cubicBezTo>
                    <a:cubicBezTo>
                      <a:pt x="9395" y="452426"/>
                      <a:pt x="17524" y="457846"/>
                      <a:pt x="27461" y="460556"/>
                    </a:cubicBezTo>
                    <a:lnTo>
                      <a:pt x="75337" y="471396"/>
                    </a:lnTo>
                    <a:lnTo>
                      <a:pt x="88887" y="624057"/>
                    </a:lnTo>
                    <a:cubicBezTo>
                      <a:pt x="90694" y="642124"/>
                      <a:pt x="105147" y="655673"/>
                      <a:pt x="123213" y="655673"/>
                    </a:cubicBezTo>
                    <a:cubicBezTo>
                      <a:pt x="124116" y="655673"/>
                      <a:pt x="124116" y="655673"/>
                      <a:pt x="125020" y="655673"/>
                    </a:cubicBezTo>
                    <a:lnTo>
                      <a:pt x="225288" y="644833"/>
                    </a:lnTo>
                    <a:lnTo>
                      <a:pt x="225288" y="731552"/>
                    </a:lnTo>
                    <a:cubicBezTo>
                      <a:pt x="225288" y="738778"/>
                      <a:pt x="230709" y="744199"/>
                      <a:pt x="237935" y="744199"/>
                    </a:cubicBezTo>
                    <a:cubicBezTo>
                      <a:pt x="245161" y="744199"/>
                      <a:pt x="250581" y="738778"/>
                      <a:pt x="250581" y="731552"/>
                    </a:cubicBezTo>
                    <a:lnTo>
                      <a:pt x="250581" y="630380"/>
                    </a:lnTo>
                    <a:cubicBezTo>
                      <a:pt x="250581" y="626767"/>
                      <a:pt x="248775" y="623153"/>
                      <a:pt x="246065" y="621347"/>
                    </a:cubicBezTo>
                    <a:cubicBezTo>
                      <a:pt x="243355" y="618637"/>
                      <a:pt x="239742" y="617734"/>
                      <a:pt x="236128" y="618637"/>
                    </a:cubicBezTo>
                    <a:lnTo>
                      <a:pt x="122310" y="631284"/>
                    </a:lnTo>
                    <a:cubicBezTo>
                      <a:pt x="117793" y="631284"/>
                      <a:pt x="114180" y="627670"/>
                      <a:pt x="114180" y="623153"/>
                    </a:cubicBezTo>
                    <a:lnTo>
                      <a:pt x="99727" y="461459"/>
                    </a:lnTo>
                    <a:cubicBezTo>
                      <a:pt x="98823" y="456039"/>
                      <a:pt x="95210" y="451522"/>
                      <a:pt x="89790" y="450619"/>
                    </a:cubicBezTo>
                    <a:lnTo>
                      <a:pt x="32881" y="437069"/>
                    </a:lnTo>
                    <a:cubicBezTo>
                      <a:pt x="29267" y="436166"/>
                      <a:pt x="27461" y="433456"/>
                      <a:pt x="27461" y="432553"/>
                    </a:cubicBezTo>
                    <a:cubicBezTo>
                      <a:pt x="26558" y="429843"/>
                      <a:pt x="25654" y="427133"/>
                      <a:pt x="26558" y="424423"/>
                    </a:cubicBezTo>
                    <a:lnTo>
                      <a:pt x="90694" y="298861"/>
                    </a:lnTo>
                    <a:cubicBezTo>
                      <a:pt x="92500" y="297055"/>
                      <a:pt x="93404" y="294345"/>
                      <a:pt x="93404" y="291634"/>
                    </a:cubicBezTo>
                    <a:cubicBezTo>
                      <a:pt x="97017" y="211239"/>
                      <a:pt x="130440" y="137167"/>
                      <a:pt x="185542" y="87484"/>
                    </a:cubicBezTo>
                    <a:cubicBezTo>
                      <a:pt x="235225" y="43221"/>
                      <a:pt x="300264" y="21542"/>
                      <a:pt x="368013" y="26961"/>
                    </a:cubicBezTo>
                    <a:cubicBezTo>
                      <a:pt x="502608" y="36898"/>
                      <a:pt x="608297" y="149813"/>
                      <a:pt x="615523" y="289828"/>
                    </a:cubicBezTo>
                    <a:cubicBezTo>
                      <a:pt x="619137" y="362997"/>
                      <a:pt x="594747" y="433456"/>
                      <a:pt x="547774" y="488559"/>
                    </a:cubicBezTo>
                    <a:cubicBezTo>
                      <a:pt x="528805" y="511142"/>
                      <a:pt x="517965" y="539145"/>
                      <a:pt x="517965" y="568954"/>
                    </a:cubicBezTo>
                    <a:lnTo>
                      <a:pt x="517965" y="733359"/>
                    </a:lnTo>
                    <a:cubicBezTo>
                      <a:pt x="517965" y="740585"/>
                      <a:pt x="523384" y="746005"/>
                      <a:pt x="530611" y="746005"/>
                    </a:cubicBezTo>
                    <a:cubicBezTo>
                      <a:pt x="537838" y="746005"/>
                      <a:pt x="543258" y="740585"/>
                      <a:pt x="543258" y="733359"/>
                    </a:cubicBezTo>
                    <a:lnTo>
                      <a:pt x="543258" y="568954"/>
                    </a:lnTo>
                    <a:cubicBezTo>
                      <a:pt x="543258" y="545468"/>
                      <a:pt x="551388" y="522885"/>
                      <a:pt x="566744" y="504819"/>
                    </a:cubicBezTo>
                    <a:cubicBezTo>
                      <a:pt x="618233" y="445199"/>
                      <a:pt x="644430" y="368417"/>
                      <a:pt x="639913" y="288924"/>
                    </a:cubicBezTo>
                    <a:cubicBezTo>
                      <a:pt x="632687" y="135360"/>
                      <a:pt x="516158" y="11605"/>
                      <a:pt x="368917" y="765"/>
                    </a:cubicBezTo>
                    <a:lnTo>
                      <a:pt x="368917" y="76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5" name="Freeform 44">
                <a:extLst>
                  <a:ext uri="{FF2B5EF4-FFF2-40B4-BE49-F238E27FC236}">
                    <a16:creationId xmlns:a16="http://schemas.microsoft.com/office/drawing/2014/main" id="{F3DD0A76-1C21-0D06-C37D-51EEDD81BAB9}"/>
                  </a:ext>
                </a:extLst>
              </p:cNvPr>
              <p:cNvSpPr/>
              <p:nvPr/>
            </p:nvSpPr>
            <p:spPr>
              <a:xfrm>
                <a:off x="9002816" y="2492111"/>
                <a:ext cx="429981" cy="429980"/>
              </a:xfrm>
              <a:custGeom>
                <a:avLst/>
                <a:gdLst>
                  <a:gd name="connsiteX0" fmla="*/ 333326 w 429981"/>
                  <a:gd name="connsiteY0" fmla="*/ 36133 h 429980"/>
                  <a:gd name="connsiteX1" fmla="*/ 316163 w 429981"/>
                  <a:gd name="connsiteY1" fmla="*/ 39746 h 429980"/>
                  <a:gd name="connsiteX2" fmla="*/ 319776 w 429981"/>
                  <a:gd name="connsiteY2" fmla="*/ 56909 h 429980"/>
                  <a:gd name="connsiteX3" fmla="*/ 404688 w 429981"/>
                  <a:gd name="connsiteY3" fmla="*/ 214990 h 429980"/>
                  <a:gd name="connsiteX4" fmla="*/ 214991 w 429981"/>
                  <a:gd name="connsiteY4" fmla="*/ 404688 h 429980"/>
                  <a:gd name="connsiteX5" fmla="*/ 25293 w 429981"/>
                  <a:gd name="connsiteY5" fmla="*/ 214990 h 429980"/>
                  <a:gd name="connsiteX6" fmla="*/ 214991 w 429981"/>
                  <a:gd name="connsiteY6" fmla="*/ 25293 h 429980"/>
                  <a:gd name="connsiteX7" fmla="*/ 280933 w 429981"/>
                  <a:gd name="connsiteY7" fmla="*/ 37036 h 429980"/>
                  <a:gd name="connsiteX8" fmla="*/ 297193 w 429981"/>
                  <a:gd name="connsiteY8" fmla="*/ 29809 h 429980"/>
                  <a:gd name="connsiteX9" fmla="*/ 289967 w 429981"/>
                  <a:gd name="connsiteY9" fmla="*/ 13550 h 429980"/>
                  <a:gd name="connsiteX10" fmla="*/ 214991 w 429981"/>
                  <a:gd name="connsiteY10" fmla="*/ 0 h 429980"/>
                  <a:gd name="connsiteX11" fmla="*/ 0 w 429981"/>
                  <a:gd name="connsiteY11" fmla="*/ 214990 h 429980"/>
                  <a:gd name="connsiteX12" fmla="*/ 214991 w 429981"/>
                  <a:gd name="connsiteY12" fmla="*/ 429981 h 429980"/>
                  <a:gd name="connsiteX13" fmla="*/ 429981 w 429981"/>
                  <a:gd name="connsiteY13" fmla="*/ 214990 h 429980"/>
                  <a:gd name="connsiteX14" fmla="*/ 333326 w 429981"/>
                  <a:gd name="connsiteY14" fmla="*/ 36133 h 429980"/>
                  <a:gd name="connsiteX15" fmla="*/ 333326 w 429981"/>
                  <a:gd name="connsiteY15" fmla="*/ 36133 h 42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9981" h="429980">
                    <a:moveTo>
                      <a:pt x="333326" y="36133"/>
                    </a:moveTo>
                    <a:cubicBezTo>
                      <a:pt x="327906" y="32519"/>
                      <a:pt x="319776" y="33422"/>
                      <a:pt x="316163" y="39746"/>
                    </a:cubicBezTo>
                    <a:cubicBezTo>
                      <a:pt x="312550" y="45166"/>
                      <a:pt x="313453" y="53296"/>
                      <a:pt x="319776" y="56909"/>
                    </a:cubicBezTo>
                    <a:cubicBezTo>
                      <a:pt x="373072" y="92138"/>
                      <a:pt x="404688" y="151758"/>
                      <a:pt x="404688" y="214990"/>
                    </a:cubicBezTo>
                    <a:cubicBezTo>
                      <a:pt x="404688" y="319775"/>
                      <a:pt x="319776" y="404688"/>
                      <a:pt x="214991" y="404688"/>
                    </a:cubicBezTo>
                    <a:cubicBezTo>
                      <a:pt x="110205" y="404688"/>
                      <a:pt x="25293" y="319775"/>
                      <a:pt x="25293" y="214990"/>
                    </a:cubicBezTo>
                    <a:cubicBezTo>
                      <a:pt x="25293" y="110205"/>
                      <a:pt x="110205" y="25293"/>
                      <a:pt x="214991" y="25293"/>
                    </a:cubicBezTo>
                    <a:cubicBezTo>
                      <a:pt x="237574" y="25293"/>
                      <a:pt x="260157" y="28906"/>
                      <a:pt x="280933" y="37036"/>
                    </a:cubicBezTo>
                    <a:cubicBezTo>
                      <a:pt x="287257" y="39746"/>
                      <a:pt x="294483" y="36133"/>
                      <a:pt x="297193" y="29809"/>
                    </a:cubicBezTo>
                    <a:cubicBezTo>
                      <a:pt x="299903" y="23486"/>
                      <a:pt x="296290" y="16260"/>
                      <a:pt x="289967" y="13550"/>
                    </a:cubicBezTo>
                    <a:cubicBezTo>
                      <a:pt x="265577" y="4517"/>
                      <a:pt x="240284" y="0"/>
                      <a:pt x="214991" y="0"/>
                    </a:cubicBezTo>
                    <a:cubicBezTo>
                      <a:pt x="96656" y="0"/>
                      <a:pt x="0" y="96655"/>
                      <a:pt x="0" y="214990"/>
                    </a:cubicBezTo>
                    <a:cubicBezTo>
                      <a:pt x="0" y="333325"/>
                      <a:pt x="96656" y="429981"/>
                      <a:pt x="214991" y="429981"/>
                    </a:cubicBezTo>
                    <a:cubicBezTo>
                      <a:pt x="333326" y="429981"/>
                      <a:pt x="429981" y="333325"/>
                      <a:pt x="429981" y="214990"/>
                    </a:cubicBezTo>
                    <a:cubicBezTo>
                      <a:pt x="429078" y="142725"/>
                      <a:pt x="393849" y="75879"/>
                      <a:pt x="333326" y="36133"/>
                    </a:cubicBezTo>
                    <a:lnTo>
                      <a:pt x="333326" y="36133"/>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46" name="Freeform 45">
                <a:extLst>
                  <a:ext uri="{FF2B5EF4-FFF2-40B4-BE49-F238E27FC236}">
                    <a16:creationId xmlns:a16="http://schemas.microsoft.com/office/drawing/2014/main" id="{9E1C473E-D930-0DCE-C9D7-B4AF60BF446B}"/>
                  </a:ext>
                </a:extLst>
              </p:cNvPr>
              <p:cNvSpPr/>
              <p:nvPr/>
            </p:nvSpPr>
            <p:spPr>
              <a:xfrm>
                <a:off x="9046954" y="2555344"/>
                <a:ext cx="354720" cy="328808"/>
              </a:xfrm>
              <a:custGeom>
                <a:avLst/>
                <a:gdLst>
                  <a:gd name="connsiteX0" fmla="*/ 175369 w 354720"/>
                  <a:gd name="connsiteY0" fmla="*/ 0 h 328808"/>
                  <a:gd name="connsiteX1" fmla="*/ 74197 w 354720"/>
                  <a:gd name="connsiteY1" fmla="*/ 12646 h 328808"/>
                  <a:gd name="connsiteX2" fmla="*/ 65164 w 354720"/>
                  <a:gd name="connsiteY2" fmla="*/ 18066 h 328808"/>
                  <a:gd name="connsiteX3" fmla="*/ 1932 w 354720"/>
                  <a:gd name="connsiteY3" fmla="*/ 119238 h 328808"/>
                  <a:gd name="connsiteX4" fmla="*/ 2835 w 354720"/>
                  <a:gd name="connsiteY4" fmla="*/ 134595 h 328808"/>
                  <a:gd name="connsiteX5" fmla="*/ 167239 w 354720"/>
                  <a:gd name="connsiteY5" fmla="*/ 324292 h 328808"/>
                  <a:gd name="connsiteX6" fmla="*/ 177176 w 354720"/>
                  <a:gd name="connsiteY6" fmla="*/ 328809 h 328808"/>
                  <a:gd name="connsiteX7" fmla="*/ 187113 w 354720"/>
                  <a:gd name="connsiteY7" fmla="*/ 324292 h 328808"/>
                  <a:gd name="connsiteX8" fmla="*/ 351517 w 354720"/>
                  <a:gd name="connsiteY8" fmla="*/ 134595 h 328808"/>
                  <a:gd name="connsiteX9" fmla="*/ 352420 w 354720"/>
                  <a:gd name="connsiteY9" fmla="*/ 119238 h 328808"/>
                  <a:gd name="connsiteX10" fmla="*/ 289188 w 354720"/>
                  <a:gd name="connsiteY10" fmla="*/ 18066 h 328808"/>
                  <a:gd name="connsiteX11" fmla="*/ 280155 w 354720"/>
                  <a:gd name="connsiteY11" fmla="*/ 12646 h 328808"/>
                  <a:gd name="connsiteX12" fmla="*/ 178982 w 354720"/>
                  <a:gd name="connsiteY12" fmla="*/ 0 h 328808"/>
                  <a:gd name="connsiteX13" fmla="*/ 175369 w 354720"/>
                  <a:gd name="connsiteY13" fmla="*/ 0 h 328808"/>
                  <a:gd name="connsiteX14" fmla="*/ 175369 w 354720"/>
                  <a:gd name="connsiteY14" fmla="*/ 0 h 328808"/>
                  <a:gd name="connsiteX15" fmla="*/ 104007 w 354720"/>
                  <a:gd name="connsiteY15" fmla="*/ 113818 h 328808"/>
                  <a:gd name="connsiteX16" fmla="*/ 177176 w 354720"/>
                  <a:gd name="connsiteY16" fmla="*/ 31616 h 328808"/>
                  <a:gd name="connsiteX17" fmla="*/ 250345 w 354720"/>
                  <a:gd name="connsiteY17" fmla="*/ 113818 h 328808"/>
                  <a:gd name="connsiteX18" fmla="*/ 104007 w 354720"/>
                  <a:gd name="connsiteY18" fmla="*/ 113818 h 328808"/>
                  <a:gd name="connsiteX19" fmla="*/ 256668 w 354720"/>
                  <a:gd name="connsiteY19" fmla="*/ 139111 h 328808"/>
                  <a:gd name="connsiteX20" fmla="*/ 176273 w 354720"/>
                  <a:gd name="connsiteY20" fmla="*/ 289063 h 328808"/>
                  <a:gd name="connsiteX21" fmla="*/ 95877 w 354720"/>
                  <a:gd name="connsiteY21" fmla="*/ 139111 h 328808"/>
                  <a:gd name="connsiteX22" fmla="*/ 256668 w 354720"/>
                  <a:gd name="connsiteY22" fmla="*/ 139111 h 328808"/>
                  <a:gd name="connsiteX23" fmla="*/ 87747 w 354720"/>
                  <a:gd name="connsiteY23" fmla="*/ 93042 h 328808"/>
                  <a:gd name="connsiteX24" fmla="*/ 87747 w 354720"/>
                  <a:gd name="connsiteY24" fmla="*/ 36133 h 328808"/>
                  <a:gd name="connsiteX25" fmla="*/ 144656 w 354720"/>
                  <a:gd name="connsiteY25" fmla="*/ 28906 h 328808"/>
                  <a:gd name="connsiteX26" fmla="*/ 87747 w 354720"/>
                  <a:gd name="connsiteY26" fmla="*/ 93042 h 328808"/>
                  <a:gd name="connsiteX27" fmla="*/ 62454 w 354720"/>
                  <a:gd name="connsiteY27" fmla="*/ 113818 h 328808"/>
                  <a:gd name="connsiteX28" fmla="*/ 34451 w 354720"/>
                  <a:gd name="connsiteY28" fmla="*/ 113818 h 328808"/>
                  <a:gd name="connsiteX29" fmla="*/ 62454 w 354720"/>
                  <a:gd name="connsiteY29" fmla="*/ 69555 h 328808"/>
                  <a:gd name="connsiteX30" fmla="*/ 62454 w 354720"/>
                  <a:gd name="connsiteY30" fmla="*/ 113818 h 328808"/>
                  <a:gd name="connsiteX31" fmla="*/ 67874 w 354720"/>
                  <a:gd name="connsiteY31" fmla="*/ 139111 h 328808"/>
                  <a:gd name="connsiteX32" fmla="*/ 112137 w 354720"/>
                  <a:gd name="connsiteY32" fmla="*/ 223120 h 328808"/>
                  <a:gd name="connsiteX33" fmla="*/ 39871 w 354720"/>
                  <a:gd name="connsiteY33" fmla="*/ 139111 h 328808"/>
                  <a:gd name="connsiteX34" fmla="*/ 67874 w 354720"/>
                  <a:gd name="connsiteY34" fmla="*/ 139111 h 328808"/>
                  <a:gd name="connsiteX35" fmla="*/ 285574 w 354720"/>
                  <a:gd name="connsiteY35" fmla="*/ 139111 h 328808"/>
                  <a:gd name="connsiteX36" fmla="*/ 313578 w 354720"/>
                  <a:gd name="connsiteY36" fmla="*/ 139111 h 328808"/>
                  <a:gd name="connsiteX37" fmla="*/ 241312 w 354720"/>
                  <a:gd name="connsiteY37" fmla="*/ 223120 h 328808"/>
                  <a:gd name="connsiteX38" fmla="*/ 285574 w 354720"/>
                  <a:gd name="connsiteY38" fmla="*/ 139111 h 328808"/>
                  <a:gd name="connsiteX39" fmla="*/ 290091 w 354720"/>
                  <a:gd name="connsiteY39" fmla="*/ 113818 h 328808"/>
                  <a:gd name="connsiteX40" fmla="*/ 290091 w 354720"/>
                  <a:gd name="connsiteY40" fmla="*/ 69555 h 328808"/>
                  <a:gd name="connsiteX41" fmla="*/ 318094 w 354720"/>
                  <a:gd name="connsiteY41" fmla="*/ 113818 h 328808"/>
                  <a:gd name="connsiteX42" fmla="*/ 290091 w 354720"/>
                  <a:gd name="connsiteY42" fmla="*/ 113818 h 328808"/>
                  <a:gd name="connsiteX43" fmla="*/ 264798 w 354720"/>
                  <a:gd name="connsiteY43" fmla="*/ 93042 h 328808"/>
                  <a:gd name="connsiteX44" fmla="*/ 207889 w 354720"/>
                  <a:gd name="connsiteY44" fmla="*/ 28906 h 328808"/>
                  <a:gd name="connsiteX45" fmla="*/ 264798 w 354720"/>
                  <a:gd name="connsiteY45" fmla="*/ 36133 h 328808"/>
                  <a:gd name="connsiteX46" fmla="*/ 264798 w 354720"/>
                  <a:gd name="connsiteY46" fmla="*/ 93042 h 32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54720" h="328808">
                    <a:moveTo>
                      <a:pt x="175369" y="0"/>
                    </a:moveTo>
                    <a:lnTo>
                      <a:pt x="74197" y="12646"/>
                    </a:lnTo>
                    <a:cubicBezTo>
                      <a:pt x="70584" y="13550"/>
                      <a:pt x="66971" y="15356"/>
                      <a:pt x="65164" y="18066"/>
                    </a:cubicBezTo>
                    <a:lnTo>
                      <a:pt x="1932" y="119238"/>
                    </a:lnTo>
                    <a:cubicBezTo>
                      <a:pt x="-778" y="123755"/>
                      <a:pt x="-778" y="130078"/>
                      <a:pt x="2835" y="134595"/>
                    </a:cubicBezTo>
                    <a:lnTo>
                      <a:pt x="167239" y="324292"/>
                    </a:lnTo>
                    <a:cubicBezTo>
                      <a:pt x="169949" y="327002"/>
                      <a:pt x="173563" y="328809"/>
                      <a:pt x="177176" y="328809"/>
                    </a:cubicBezTo>
                    <a:cubicBezTo>
                      <a:pt x="180789" y="328809"/>
                      <a:pt x="184403" y="327002"/>
                      <a:pt x="187113" y="324292"/>
                    </a:cubicBezTo>
                    <a:lnTo>
                      <a:pt x="351517" y="134595"/>
                    </a:lnTo>
                    <a:cubicBezTo>
                      <a:pt x="355130" y="130078"/>
                      <a:pt x="356034" y="124658"/>
                      <a:pt x="352420" y="119238"/>
                    </a:cubicBezTo>
                    <a:lnTo>
                      <a:pt x="289188" y="18066"/>
                    </a:lnTo>
                    <a:cubicBezTo>
                      <a:pt x="287381" y="14453"/>
                      <a:pt x="283768" y="12646"/>
                      <a:pt x="280155" y="12646"/>
                    </a:cubicBezTo>
                    <a:lnTo>
                      <a:pt x="178982" y="0"/>
                    </a:lnTo>
                    <a:cubicBezTo>
                      <a:pt x="177176" y="0"/>
                      <a:pt x="176273" y="0"/>
                      <a:pt x="175369" y="0"/>
                    </a:cubicBezTo>
                    <a:lnTo>
                      <a:pt x="175369" y="0"/>
                    </a:lnTo>
                    <a:close/>
                    <a:moveTo>
                      <a:pt x="104007" y="113818"/>
                    </a:moveTo>
                    <a:lnTo>
                      <a:pt x="177176" y="31616"/>
                    </a:lnTo>
                    <a:lnTo>
                      <a:pt x="250345" y="113818"/>
                    </a:lnTo>
                    <a:lnTo>
                      <a:pt x="104007" y="113818"/>
                    </a:lnTo>
                    <a:close/>
                    <a:moveTo>
                      <a:pt x="256668" y="139111"/>
                    </a:moveTo>
                    <a:lnTo>
                      <a:pt x="176273" y="289063"/>
                    </a:lnTo>
                    <a:lnTo>
                      <a:pt x="95877" y="139111"/>
                    </a:lnTo>
                    <a:lnTo>
                      <a:pt x="256668" y="139111"/>
                    </a:lnTo>
                    <a:close/>
                    <a:moveTo>
                      <a:pt x="87747" y="93042"/>
                    </a:moveTo>
                    <a:lnTo>
                      <a:pt x="87747" y="36133"/>
                    </a:lnTo>
                    <a:lnTo>
                      <a:pt x="144656" y="28906"/>
                    </a:lnTo>
                    <a:lnTo>
                      <a:pt x="87747" y="93042"/>
                    </a:lnTo>
                    <a:close/>
                    <a:moveTo>
                      <a:pt x="62454" y="113818"/>
                    </a:moveTo>
                    <a:lnTo>
                      <a:pt x="34451" y="113818"/>
                    </a:lnTo>
                    <a:lnTo>
                      <a:pt x="62454" y="69555"/>
                    </a:lnTo>
                    <a:lnTo>
                      <a:pt x="62454" y="113818"/>
                    </a:lnTo>
                    <a:close/>
                    <a:moveTo>
                      <a:pt x="67874" y="139111"/>
                    </a:moveTo>
                    <a:lnTo>
                      <a:pt x="112137" y="223120"/>
                    </a:lnTo>
                    <a:lnTo>
                      <a:pt x="39871" y="139111"/>
                    </a:lnTo>
                    <a:lnTo>
                      <a:pt x="67874" y="139111"/>
                    </a:lnTo>
                    <a:close/>
                    <a:moveTo>
                      <a:pt x="285574" y="139111"/>
                    </a:moveTo>
                    <a:lnTo>
                      <a:pt x="313578" y="139111"/>
                    </a:lnTo>
                    <a:lnTo>
                      <a:pt x="241312" y="223120"/>
                    </a:lnTo>
                    <a:lnTo>
                      <a:pt x="285574" y="139111"/>
                    </a:lnTo>
                    <a:close/>
                    <a:moveTo>
                      <a:pt x="290091" y="113818"/>
                    </a:moveTo>
                    <a:lnTo>
                      <a:pt x="290091" y="69555"/>
                    </a:lnTo>
                    <a:lnTo>
                      <a:pt x="318094" y="113818"/>
                    </a:lnTo>
                    <a:lnTo>
                      <a:pt x="290091" y="113818"/>
                    </a:lnTo>
                    <a:close/>
                    <a:moveTo>
                      <a:pt x="264798" y="93042"/>
                    </a:moveTo>
                    <a:lnTo>
                      <a:pt x="207889" y="28906"/>
                    </a:lnTo>
                    <a:lnTo>
                      <a:pt x="264798" y="36133"/>
                    </a:lnTo>
                    <a:lnTo>
                      <a:pt x="264798" y="93042"/>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
        <p:nvSpPr>
          <p:cNvPr id="47" name="Freeform 21">
            <a:extLst>
              <a:ext uri="{FF2B5EF4-FFF2-40B4-BE49-F238E27FC236}">
                <a16:creationId xmlns:a16="http://schemas.microsoft.com/office/drawing/2014/main" id="{40D67AFE-9FAE-D524-5A30-70CC3C3D7BC2}"/>
              </a:ext>
            </a:extLst>
          </p:cNvPr>
          <p:cNvSpPr/>
          <p:nvPr/>
        </p:nvSpPr>
        <p:spPr>
          <a:xfrm>
            <a:off x="7257023" y="2577406"/>
            <a:ext cx="1191629" cy="1198362"/>
          </a:xfrm>
          <a:custGeom>
            <a:avLst/>
            <a:gdLst>
              <a:gd name="connsiteX0" fmla="*/ 874322 w 3456476"/>
              <a:gd name="connsiteY0" fmla="*/ 0 h 3476003"/>
              <a:gd name="connsiteX1" fmla="*/ 3456475 w 3456476"/>
              <a:gd name="connsiteY1" fmla="*/ 481535 h 3476003"/>
              <a:gd name="connsiteX2" fmla="*/ 3456476 w 3456476"/>
              <a:gd name="connsiteY2" fmla="*/ 2480209 h 3476003"/>
              <a:gd name="connsiteX3" fmla="*/ 3338706 w 3456476"/>
              <a:gd name="connsiteY3" fmla="*/ 2486156 h 3476003"/>
              <a:gd name="connsiteX4" fmla="*/ 1753677 w 3456476"/>
              <a:gd name="connsiteY4" fmla="*/ 3436181 h 3476003"/>
              <a:gd name="connsiteX5" fmla="*/ 1729485 w 3456476"/>
              <a:gd name="connsiteY5" fmla="*/ 3476003 h 3476003"/>
              <a:gd name="connsiteX6" fmla="*/ 0 w 3456476"/>
              <a:gd name="connsiteY6" fmla="*/ 2477484 h 3476003"/>
              <a:gd name="connsiteX7" fmla="*/ 874322 w 3456476"/>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6" h="3476002">
                <a:moveTo>
                  <a:pt x="874322" y="0"/>
                </a:moveTo>
                <a:lnTo>
                  <a:pt x="3456475" y="481535"/>
                </a:lnTo>
                <a:lnTo>
                  <a:pt x="3456476" y="2480209"/>
                </a:lnTo>
                <a:lnTo>
                  <a:pt x="3338706" y="2486156"/>
                </a:lnTo>
                <a:cubicBezTo>
                  <a:pt x="2679043" y="2553148"/>
                  <a:pt x="2106314" y="2914209"/>
                  <a:pt x="1753677" y="3436181"/>
                </a:cubicBezTo>
                <a:lnTo>
                  <a:pt x="1729485" y="3476003"/>
                </a:lnTo>
                <a:lnTo>
                  <a:pt x="0" y="2477484"/>
                </a:lnTo>
                <a:lnTo>
                  <a:pt x="874322" y="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mj-lt"/>
            </a:endParaRPr>
          </a:p>
        </p:txBody>
      </p:sp>
      <p:sp>
        <p:nvSpPr>
          <p:cNvPr id="48" name="Freeform 20">
            <a:extLst>
              <a:ext uri="{FF2B5EF4-FFF2-40B4-BE49-F238E27FC236}">
                <a16:creationId xmlns:a16="http://schemas.microsoft.com/office/drawing/2014/main" id="{2DA46910-EFB2-AFB6-FA41-5D090B8798BB}"/>
              </a:ext>
            </a:extLst>
          </p:cNvPr>
          <p:cNvSpPr/>
          <p:nvPr/>
        </p:nvSpPr>
        <p:spPr>
          <a:xfrm>
            <a:off x="8521156" y="2577406"/>
            <a:ext cx="1192218" cy="1198362"/>
          </a:xfrm>
          <a:custGeom>
            <a:avLst/>
            <a:gdLst>
              <a:gd name="connsiteX0" fmla="*/ 2584207 w 3458182"/>
              <a:gd name="connsiteY0" fmla="*/ 0 h 3476003"/>
              <a:gd name="connsiteX1" fmla="*/ 3458182 w 3458182"/>
              <a:gd name="connsiteY1" fmla="*/ 2476499 h 3476003"/>
              <a:gd name="connsiteX2" fmla="*/ 1726990 w 3458182"/>
              <a:gd name="connsiteY2" fmla="*/ 3476003 h 3476003"/>
              <a:gd name="connsiteX3" fmla="*/ 1702798 w 3458182"/>
              <a:gd name="connsiteY3" fmla="*/ 3436181 h 3476003"/>
              <a:gd name="connsiteX4" fmla="*/ 117769 w 3458182"/>
              <a:gd name="connsiteY4" fmla="*/ 2486156 h 3476003"/>
              <a:gd name="connsiteX5" fmla="*/ 1 w 3458182"/>
              <a:gd name="connsiteY5" fmla="*/ 2480209 h 3476003"/>
              <a:gd name="connsiteX6" fmla="*/ 0 w 3458182"/>
              <a:gd name="connsiteY6" fmla="*/ 481918 h 3476003"/>
              <a:gd name="connsiteX7" fmla="*/ 2584207 w 3458182"/>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2" h="3476002">
                <a:moveTo>
                  <a:pt x="2584207" y="0"/>
                </a:moveTo>
                <a:lnTo>
                  <a:pt x="3458182" y="2476499"/>
                </a:lnTo>
                <a:lnTo>
                  <a:pt x="1726990" y="3476003"/>
                </a:lnTo>
                <a:lnTo>
                  <a:pt x="1702798" y="3436181"/>
                </a:lnTo>
                <a:cubicBezTo>
                  <a:pt x="1350161" y="2914209"/>
                  <a:pt x="777432" y="2553148"/>
                  <a:pt x="117769" y="2486156"/>
                </a:cubicBezTo>
                <a:lnTo>
                  <a:pt x="1" y="2480209"/>
                </a:lnTo>
                <a:lnTo>
                  <a:pt x="0" y="481918"/>
                </a:lnTo>
                <a:lnTo>
                  <a:pt x="2584207" y="0"/>
                </a:lnTo>
                <a:close/>
              </a:path>
            </a:pathLst>
          </a:cu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mj-lt"/>
            </a:endParaRPr>
          </a:p>
        </p:txBody>
      </p:sp>
      <p:sp>
        <p:nvSpPr>
          <p:cNvPr id="49" name="Freeform 16">
            <a:extLst>
              <a:ext uri="{FF2B5EF4-FFF2-40B4-BE49-F238E27FC236}">
                <a16:creationId xmlns:a16="http://schemas.microsoft.com/office/drawing/2014/main" id="{5ED5AD80-898A-222B-4E09-CA87666B60AA}"/>
              </a:ext>
            </a:extLst>
          </p:cNvPr>
          <p:cNvSpPr/>
          <p:nvPr/>
        </p:nvSpPr>
        <p:spPr>
          <a:xfrm>
            <a:off x="9152844" y="3494035"/>
            <a:ext cx="1186036" cy="1376540"/>
          </a:xfrm>
          <a:custGeom>
            <a:avLst/>
            <a:gdLst>
              <a:gd name="connsiteX0" fmla="*/ 1730758 w 3440250"/>
              <a:gd name="connsiteY0" fmla="*/ 0 h 3992832"/>
              <a:gd name="connsiteX1" fmla="*/ 3440250 w 3440250"/>
              <a:gd name="connsiteY1" fmla="*/ 1996416 h 3992832"/>
              <a:gd name="connsiteX2" fmla="*/ 1730758 w 3440250"/>
              <a:gd name="connsiteY2" fmla="*/ 3992832 h 3992832"/>
              <a:gd name="connsiteX3" fmla="*/ 0 w 3440250"/>
              <a:gd name="connsiteY3" fmla="*/ 2993578 h 3992832"/>
              <a:gd name="connsiteX4" fmla="*/ 71529 w 3440250"/>
              <a:gd name="connsiteY4" fmla="*/ 2845094 h 3992832"/>
              <a:gd name="connsiteX5" fmla="*/ 242869 w 3440250"/>
              <a:gd name="connsiteY5" fmla="*/ 1996416 h 3992832"/>
              <a:gd name="connsiteX6" fmla="*/ 71529 w 3440250"/>
              <a:gd name="connsiteY6" fmla="*/ 1147738 h 3992832"/>
              <a:gd name="connsiteX7" fmla="*/ 0 w 3440250"/>
              <a:gd name="connsiteY7" fmla="*/ 999253 h 3992832"/>
              <a:gd name="connsiteX8" fmla="*/ 1730758 w 3440250"/>
              <a:gd name="connsiteY8" fmla="*/ 0 h 3992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40250" h="3992832">
                <a:moveTo>
                  <a:pt x="1730758" y="0"/>
                </a:moveTo>
                <a:lnTo>
                  <a:pt x="3440250" y="1996416"/>
                </a:lnTo>
                <a:lnTo>
                  <a:pt x="1730758" y="3992832"/>
                </a:lnTo>
                <a:lnTo>
                  <a:pt x="0" y="2993578"/>
                </a:lnTo>
                <a:lnTo>
                  <a:pt x="71529" y="2845094"/>
                </a:lnTo>
                <a:cubicBezTo>
                  <a:pt x="181859" y="2584244"/>
                  <a:pt x="242869" y="2297455"/>
                  <a:pt x="242869" y="1996416"/>
                </a:cubicBezTo>
                <a:cubicBezTo>
                  <a:pt x="242869" y="1695377"/>
                  <a:pt x="181859" y="1408588"/>
                  <a:pt x="71529" y="1147738"/>
                </a:cubicBezTo>
                <a:lnTo>
                  <a:pt x="0" y="999253"/>
                </a:lnTo>
                <a:lnTo>
                  <a:pt x="1730758"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mj-lt"/>
            </a:endParaRPr>
          </a:p>
        </p:txBody>
      </p:sp>
      <p:sp>
        <p:nvSpPr>
          <p:cNvPr id="50" name="Freeform 15">
            <a:extLst>
              <a:ext uri="{FF2B5EF4-FFF2-40B4-BE49-F238E27FC236}">
                <a16:creationId xmlns:a16="http://schemas.microsoft.com/office/drawing/2014/main" id="{9163F380-E7FB-2DE8-E879-B4E659788E6D}"/>
              </a:ext>
            </a:extLst>
          </p:cNvPr>
          <p:cNvSpPr/>
          <p:nvPr/>
        </p:nvSpPr>
        <p:spPr>
          <a:xfrm>
            <a:off x="6631636" y="3494309"/>
            <a:ext cx="1185327" cy="1375993"/>
          </a:xfrm>
          <a:custGeom>
            <a:avLst/>
            <a:gdLst>
              <a:gd name="connsiteX0" fmla="*/ 1708813 w 3438196"/>
              <a:gd name="connsiteY0" fmla="*/ 0 h 3991245"/>
              <a:gd name="connsiteX1" fmla="*/ 3438196 w 3438196"/>
              <a:gd name="connsiteY1" fmla="*/ 998460 h 3991245"/>
              <a:gd name="connsiteX2" fmla="*/ 3366667 w 3438196"/>
              <a:gd name="connsiteY2" fmla="*/ 1146945 h 3991245"/>
              <a:gd name="connsiteX3" fmla="*/ 3195327 w 3438196"/>
              <a:gd name="connsiteY3" fmla="*/ 1995623 h 3991245"/>
              <a:gd name="connsiteX4" fmla="*/ 3366667 w 3438196"/>
              <a:gd name="connsiteY4" fmla="*/ 2844301 h 3991245"/>
              <a:gd name="connsiteX5" fmla="*/ 3438196 w 3438196"/>
              <a:gd name="connsiteY5" fmla="*/ 2992785 h 3991245"/>
              <a:gd name="connsiteX6" fmla="*/ 1708812 w 3438196"/>
              <a:gd name="connsiteY6" fmla="*/ 3991245 h 3991245"/>
              <a:gd name="connsiteX7" fmla="*/ 0 w 3438196"/>
              <a:gd name="connsiteY7" fmla="*/ 1995623 h 3991245"/>
              <a:gd name="connsiteX8" fmla="*/ 1708813 w 3438196"/>
              <a:gd name="connsiteY8" fmla="*/ 0 h 3991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8196" h="3991245">
                <a:moveTo>
                  <a:pt x="1708813" y="0"/>
                </a:moveTo>
                <a:lnTo>
                  <a:pt x="3438196" y="998460"/>
                </a:lnTo>
                <a:lnTo>
                  <a:pt x="3366667" y="1146945"/>
                </a:lnTo>
                <a:cubicBezTo>
                  <a:pt x="3256337" y="1407795"/>
                  <a:pt x="3195327" y="1694584"/>
                  <a:pt x="3195327" y="1995623"/>
                </a:cubicBezTo>
                <a:cubicBezTo>
                  <a:pt x="3195327" y="2296662"/>
                  <a:pt x="3256337" y="2583451"/>
                  <a:pt x="3366667" y="2844301"/>
                </a:cubicBezTo>
                <a:lnTo>
                  <a:pt x="3438196" y="2992785"/>
                </a:lnTo>
                <a:lnTo>
                  <a:pt x="1708812" y="3991245"/>
                </a:lnTo>
                <a:lnTo>
                  <a:pt x="0" y="1995623"/>
                </a:lnTo>
                <a:lnTo>
                  <a:pt x="1708813"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mj-lt"/>
            </a:endParaRPr>
          </a:p>
        </p:txBody>
      </p:sp>
      <p:sp>
        <p:nvSpPr>
          <p:cNvPr id="51" name="Freeform 14">
            <a:extLst>
              <a:ext uri="{FF2B5EF4-FFF2-40B4-BE49-F238E27FC236}">
                <a16:creationId xmlns:a16="http://schemas.microsoft.com/office/drawing/2014/main" id="{D7040C49-F429-5BCE-5547-B4ABD69A9FBC}"/>
              </a:ext>
            </a:extLst>
          </p:cNvPr>
          <p:cNvSpPr/>
          <p:nvPr/>
        </p:nvSpPr>
        <p:spPr>
          <a:xfrm>
            <a:off x="7257021" y="4588842"/>
            <a:ext cx="1191630" cy="1198362"/>
          </a:xfrm>
          <a:custGeom>
            <a:avLst/>
            <a:gdLst>
              <a:gd name="connsiteX0" fmla="*/ 1729485 w 3456477"/>
              <a:gd name="connsiteY0" fmla="*/ 0 h 3476003"/>
              <a:gd name="connsiteX1" fmla="*/ 1753678 w 3456477"/>
              <a:gd name="connsiteY1" fmla="*/ 39822 h 3476003"/>
              <a:gd name="connsiteX2" fmla="*/ 3338707 w 3456477"/>
              <a:gd name="connsiteY2" fmla="*/ 989847 h 3476003"/>
              <a:gd name="connsiteX3" fmla="*/ 3456477 w 3456477"/>
              <a:gd name="connsiteY3" fmla="*/ 995794 h 3476003"/>
              <a:gd name="connsiteX4" fmla="*/ 3456476 w 3456477"/>
              <a:gd name="connsiteY4" fmla="*/ 2994468 h 3476003"/>
              <a:gd name="connsiteX5" fmla="*/ 874323 w 3456477"/>
              <a:gd name="connsiteY5" fmla="*/ 3476003 h 3476003"/>
              <a:gd name="connsiteX6" fmla="*/ 0 w 3456477"/>
              <a:gd name="connsiteY6" fmla="*/ 998518 h 3476003"/>
              <a:gd name="connsiteX7" fmla="*/ 1729485 w 3456477"/>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6477" h="3476002">
                <a:moveTo>
                  <a:pt x="1729485" y="0"/>
                </a:moveTo>
                <a:lnTo>
                  <a:pt x="1753678" y="39822"/>
                </a:lnTo>
                <a:cubicBezTo>
                  <a:pt x="2106315" y="561794"/>
                  <a:pt x="2679044" y="922855"/>
                  <a:pt x="3338707" y="989847"/>
                </a:cubicBezTo>
                <a:lnTo>
                  <a:pt x="3456477" y="995794"/>
                </a:lnTo>
                <a:lnTo>
                  <a:pt x="3456476" y="2994468"/>
                </a:lnTo>
                <a:lnTo>
                  <a:pt x="874323" y="3476003"/>
                </a:lnTo>
                <a:lnTo>
                  <a:pt x="0" y="998518"/>
                </a:lnTo>
                <a:lnTo>
                  <a:pt x="1729485" y="0"/>
                </a:lnTo>
                <a:close/>
              </a:path>
            </a:pathLst>
          </a:custGeom>
          <a:solidFill>
            <a:srgbClr val="DC6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mj-lt"/>
            </a:endParaRPr>
          </a:p>
        </p:txBody>
      </p:sp>
      <p:sp>
        <p:nvSpPr>
          <p:cNvPr id="52" name="Freeform 13">
            <a:extLst>
              <a:ext uri="{FF2B5EF4-FFF2-40B4-BE49-F238E27FC236}">
                <a16:creationId xmlns:a16="http://schemas.microsoft.com/office/drawing/2014/main" id="{ACA9872C-7203-E11E-C11B-66324B22638B}"/>
              </a:ext>
            </a:extLst>
          </p:cNvPr>
          <p:cNvSpPr/>
          <p:nvPr/>
        </p:nvSpPr>
        <p:spPr>
          <a:xfrm>
            <a:off x="8521157" y="4588842"/>
            <a:ext cx="1192218" cy="1198362"/>
          </a:xfrm>
          <a:custGeom>
            <a:avLst/>
            <a:gdLst>
              <a:gd name="connsiteX0" fmla="*/ 1726990 w 3458181"/>
              <a:gd name="connsiteY0" fmla="*/ 0 h 3476003"/>
              <a:gd name="connsiteX1" fmla="*/ 3458181 w 3458181"/>
              <a:gd name="connsiteY1" fmla="*/ 999504 h 3476003"/>
              <a:gd name="connsiteX2" fmla="*/ 2584206 w 3458181"/>
              <a:gd name="connsiteY2" fmla="*/ 3476003 h 3476003"/>
              <a:gd name="connsiteX3" fmla="*/ 0 w 3458181"/>
              <a:gd name="connsiteY3" fmla="*/ 2994085 h 3476003"/>
              <a:gd name="connsiteX4" fmla="*/ 0 w 3458181"/>
              <a:gd name="connsiteY4" fmla="*/ 995794 h 3476003"/>
              <a:gd name="connsiteX5" fmla="*/ 117768 w 3458181"/>
              <a:gd name="connsiteY5" fmla="*/ 989847 h 3476003"/>
              <a:gd name="connsiteX6" fmla="*/ 1702797 w 3458181"/>
              <a:gd name="connsiteY6" fmla="*/ 39822 h 3476003"/>
              <a:gd name="connsiteX7" fmla="*/ 1726990 w 3458181"/>
              <a:gd name="connsiteY7" fmla="*/ 0 h 347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8181" h="3476002">
                <a:moveTo>
                  <a:pt x="1726990" y="0"/>
                </a:moveTo>
                <a:lnTo>
                  <a:pt x="3458181" y="999504"/>
                </a:lnTo>
                <a:lnTo>
                  <a:pt x="2584206" y="3476003"/>
                </a:lnTo>
                <a:lnTo>
                  <a:pt x="0" y="2994085"/>
                </a:lnTo>
                <a:lnTo>
                  <a:pt x="0" y="995794"/>
                </a:lnTo>
                <a:lnTo>
                  <a:pt x="117768" y="989847"/>
                </a:lnTo>
                <a:cubicBezTo>
                  <a:pt x="777431" y="922855"/>
                  <a:pt x="1350160" y="561794"/>
                  <a:pt x="1702797" y="39822"/>
                </a:cubicBezTo>
                <a:lnTo>
                  <a:pt x="1726990"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mj-lt"/>
            </a:endParaRPr>
          </a:p>
        </p:txBody>
      </p:sp>
      <p:sp>
        <p:nvSpPr>
          <p:cNvPr id="53" name="TextBox 41">
            <a:extLst>
              <a:ext uri="{FF2B5EF4-FFF2-40B4-BE49-F238E27FC236}">
                <a16:creationId xmlns:a16="http://schemas.microsoft.com/office/drawing/2014/main" id="{E0E6E404-C6C2-4D95-A9A0-4C746A07C466}"/>
              </a:ext>
            </a:extLst>
          </p:cNvPr>
          <p:cNvSpPr txBox="1"/>
          <p:nvPr/>
        </p:nvSpPr>
        <p:spPr>
          <a:xfrm>
            <a:off x="6057616" y="2579125"/>
            <a:ext cx="1074065" cy="584775"/>
          </a:xfrm>
          <a:prstGeom prst="rect">
            <a:avLst/>
          </a:prstGeom>
          <a:noFill/>
        </p:spPr>
        <p:txBody>
          <a:bodyPr wrap="square" rtlCol="0" anchor="b" anchorCtr="0">
            <a:spAutoFit/>
          </a:bodyPr>
          <a:lstStyle/>
          <a:p>
            <a:pPr algn="r"/>
            <a:r>
              <a:rPr lang="en-GB" sz="1600" b="1">
                <a:solidFill>
                  <a:srgbClr val="EDA13E"/>
                </a:solidFill>
                <a:ea typeface="League Spartan" charset="0"/>
                <a:cs typeface="Poppins" pitchFamily="2" charset="77"/>
              </a:rPr>
              <a:t>Auditorías de proveedores</a:t>
            </a:r>
          </a:p>
        </p:txBody>
      </p:sp>
      <p:sp>
        <p:nvSpPr>
          <p:cNvPr id="54" name="TextBox 43">
            <a:extLst>
              <a:ext uri="{FF2B5EF4-FFF2-40B4-BE49-F238E27FC236}">
                <a16:creationId xmlns:a16="http://schemas.microsoft.com/office/drawing/2014/main" id="{3C87299B-A665-F4D8-9137-8F947B1561F0}"/>
              </a:ext>
            </a:extLst>
          </p:cNvPr>
          <p:cNvSpPr txBox="1"/>
          <p:nvPr/>
        </p:nvSpPr>
        <p:spPr>
          <a:xfrm>
            <a:off x="9941010" y="2522816"/>
            <a:ext cx="1461271" cy="830997"/>
          </a:xfrm>
          <a:prstGeom prst="rect">
            <a:avLst/>
          </a:prstGeom>
          <a:noFill/>
        </p:spPr>
        <p:txBody>
          <a:bodyPr wrap="square" rtlCol="0" anchor="b" anchorCtr="0">
            <a:spAutoFit/>
          </a:bodyPr>
          <a:lstStyle/>
          <a:p>
            <a:r>
              <a:rPr lang="en-GB" sz="1600" b="1">
                <a:solidFill>
                  <a:srgbClr val="245473"/>
                </a:solidFill>
                <a:ea typeface="League Spartan" charset="0"/>
                <a:cs typeface="Poppins" pitchFamily="2" charset="77"/>
              </a:rPr>
              <a:t>Registros de accidentes de seguridad</a:t>
            </a:r>
          </a:p>
        </p:txBody>
      </p:sp>
      <p:sp>
        <p:nvSpPr>
          <p:cNvPr id="55" name="TextBox 45">
            <a:extLst>
              <a:ext uri="{FF2B5EF4-FFF2-40B4-BE49-F238E27FC236}">
                <a16:creationId xmlns:a16="http://schemas.microsoft.com/office/drawing/2014/main" id="{3E207B45-F2F0-C13D-0693-7C455D99E56E}"/>
              </a:ext>
            </a:extLst>
          </p:cNvPr>
          <p:cNvSpPr txBox="1"/>
          <p:nvPr/>
        </p:nvSpPr>
        <p:spPr>
          <a:xfrm>
            <a:off x="6491070" y="5202429"/>
            <a:ext cx="729698" cy="584775"/>
          </a:xfrm>
          <a:prstGeom prst="rect">
            <a:avLst/>
          </a:prstGeom>
          <a:noFill/>
        </p:spPr>
        <p:txBody>
          <a:bodyPr wrap="square" rtlCol="0" anchor="b" anchorCtr="0">
            <a:spAutoFit/>
          </a:bodyPr>
          <a:lstStyle/>
          <a:p>
            <a:pPr algn="r"/>
            <a:r>
              <a:rPr lang="en-GB" sz="1600" b="1">
                <a:solidFill>
                  <a:srgbClr val="D66A35"/>
                </a:solidFill>
                <a:ea typeface="League Spartan" charset="0"/>
                <a:cs typeface="Poppins" pitchFamily="2" charset="77"/>
              </a:rPr>
              <a:t>Auditorías de riesgo</a:t>
            </a:r>
          </a:p>
        </p:txBody>
      </p:sp>
      <p:sp>
        <p:nvSpPr>
          <p:cNvPr id="56" name="TextBox 47">
            <a:extLst>
              <a:ext uri="{FF2B5EF4-FFF2-40B4-BE49-F238E27FC236}">
                <a16:creationId xmlns:a16="http://schemas.microsoft.com/office/drawing/2014/main" id="{7BA49254-5EFF-2EF7-3973-BBE42B0064A3}"/>
              </a:ext>
            </a:extLst>
          </p:cNvPr>
          <p:cNvSpPr txBox="1"/>
          <p:nvPr/>
        </p:nvSpPr>
        <p:spPr>
          <a:xfrm>
            <a:off x="9713374" y="5236460"/>
            <a:ext cx="1040670" cy="338554"/>
          </a:xfrm>
          <a:prstGeom prst="rect">
            <a:avLst/>
          </a:prstGeom>
          <a:noFill/>
        </p:spPr>
        <p:txBody>
          <a:bodyPr wrap="none" rtlCol="0" anchor="b" anchorCtr="0">
            <a:spAutoFit/>
          </a:bodyPr>
          <a:lstStyle/>
          <a:p>
            <a:r>
              <a:rPr lang="en-GB" sz="1600" b="1">
                <a:solidFill>
                  <a:srgbClr val="B41F7A"/>
                </a:solidFill>
                <a:ea typeface="League Spartan" charset="0"/>
                <a:cs typeface="Poppins" pitchFamily="2" charset="77"/>
              </a:rPr>
              <a:t>HR-Audits</a:t>
            </a:r>
          </a:p>
        </p:txBody>
      </p:sp>
      <p:sp>
        <p:nvSpPr>
          <p:cNvPr id="57" name="TextBox 49">
            <a:extLst>
              <a:ext uri="{FF2B5EF4-FFF2-40B4-BE49-F238E27FC236}">
                <a16:creationId xmlns:a16="http://schemas.microsoft.com/office/drawing/2014/main" id="{B70237B9-9105-05AA-0A09-338B652DB1BE}"/>
              </a:ext>
            </a:extLst>
          </p:cNvPr>
          <p:cNvSpPr txBox="1"/>
          <p:nvPr/>
        </p:nvSpPr>
        <p:spPr>
          <a:xfrm>
            <a:off x="5460113" y="4013027"/>
            <a:ext cx="1124026" cy="584775"/>
          </a:xfrm>
          <a:prstGeom prst="rect">
            <a:avLst/>
          </a:prstGeom>
          <a:noFill/>
        </p:spPr>
        <p:txBody>
          <a:bodyPr wrap="square" rtlCol="0" anchor="b" anchorCtr="0">
            <a:spAutoFit/>
          </a:bodyPr>
          <a:lstStyle/>
          <a:p>
            <a:pPr algn="r"/>
            <a:r>
              <a:rPr lang="en-GB" sz="1600" b="1">
                <a:solidFill>
                  <a:srgbClr val="F16924"/>
                </a:solidFill>
                <a:ea typeface="League Spartan" charset="0"/>
                <a:cs typeface="Poppins" pitchFamily="2" charset="77"/>
              </a:rPr>
              <a:t>Auditorías financieras</a:t>
            </a:r>
          </a:p>
        </p:txBody>
      </p:sp>
      <p:sp>
        <p:nvSpPr>
          <p:cNvPr id="58" name="TextBox 51">
            <a:extLst>
              <a:ext uri="{FF2B5EF4-FFF2-40B4-BE49-F238E27FC236}">
                <a16:creationId xmlns:a16="http://schemas.microsoft.com/office/drawing/2014/main" id="{4E359F74-AA79-2E16-4F5D-7CCD4E74AF96}"/>
              </a:ext>
            </a:extLst>
          </p:cNvPr>
          <p:cNvSpPr txBox="1"/>
          <p:nvPr/>
        </p:nvSpPr>
        <p:spPr>
          <a:xfrm>
            <a:off x="10374172" y="4013026"/>
            <a:ext cx="1300589" cy="584775"/>
          </a:xfrm>
          <a:prstGeom prst="rect">
            <a:avLst/>
          </a:prstGeom>
          <a:noFill/>
        </p:spPr>
        <p:txBody>
          <a:bodyPr wrap="square" rtlCol="0" anchor="b" anchorCtr="0">
            <a:spAutoFit/>
          </a:bodyPr>
          <a:lstStyle/>
          <a:p>
            <a:r>
              <a:rPr lang="en-GB" sz="1600" b="1">
                <a:solidFill>
                  <a:srgbClr val="7F1C58"/>
                </a:solidFill>
                <a:ea typeface="League Spartan" charset="0"/>
                <a:cs typeface="Poppins" pitchFamily="2" charset="77"/>
              </a:rPr>
              <a:t>Exposición a la responsabilidad</a:t>
            </a:r>
          </a:p>
        </p:txBody>
      </p:sp>
      <p:sp>
        <p:nvSpPr>
          <p:cNvPr id="59" name="Oval 62">
            <a:extLst>
              <a:ext uri="{FF2B5EF4-FFF2-40B4-BE49-F238E27FC236}">
                <a16:creationId xmlns:a16="http://schemas.microsoft.com/office/drawing/2014/main" id="{5CE1CD72-98BC-DCD2-7F3B-7478086FD59F}"/>
              </a:ext>
            </a:extLst>
          </p:cNvPr>
          <p:cNvSpPr/>
          <p:nvPr/>
        </p:nvSpPr>
        <p:spPr>
          <a:xfrm>
            <a:off x="7727055" y="3424103"/>
            <a:ext cx="1516404" cy="151640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latin typeface="+mj-lt"/>
            </a:endParaRPr>
          </a:p>
        </p:txBody>
      </p:sp>
      <p:sp>
        <p:nvSpPr>
          <p:cNvPr id="60" name="TextBox 43">
            <a:extLst>
              <a:ext uri="{FF2B5EF4-FFF2-40B4-BE49-F238E27FC236}">
                <a16:creationId xmlns:a16="http://schemas.microsoft.com/office/drawing/2014/main" id="{9809DCCE-5526-52A5-A045-B5172F136686}"/>
              </a:ext>
            </a:extLst>
          </p:cNvPr>
          <p:cNvSpPr txBox="1"/>
          <p:nvPr/>
        </p:nvSpPr>
        <p:spPr>
          <a:xfrm>
            <a:off x="8682978" y="2743429"/>
            <a:ext cx="1461271" cy="769441"/>
          </a:xfrm>
          <a:prstGeom prst="rect">
            <a:avLst/>
          </a:prstGeom>
          <a:noFill/>
        </p:spPr>
        <p:txBody>
          <a:bodyPr wrap="square" rtlCol="0" anchor="b" anchorCtr="0">
            <a:spAutoFit/>
          </a:bodyPr>
          <a:lstStyle/>
          <a:p>
            <a:r>
              <a:rPr lang="en-GB" sz="4400" b="1">
                <a:solidFill>
                  <a:schemeClr val="bg1"/>
                </a:solidFill>
                <a:ea typeface="League Spartan" charset="0"/>
                <a:cs typeface="Poppins" pitchFamily="2" charset="77"/>
              </a:rPr>
              <a:t>01</a:t>
            </a:r>
          </a:p>
        </p:txBody>
      </p:sp>
      <p:sp>
        <p:nvSpPr>
          <p:cNvPr id="61" name="TextBox 43">
            <a:extLst>
              <a:ext uri="{FF2B5EF4-FFF2-40B4-BE49-F238E27FC236}">
                <a16:creationId xmlns:a16="http://schemas.microsoft.com/office/drawing/2014/main" id="{219C6B6D-FADD-6C34-CFB2-849478A32D69}"/>
              </a:ext>
            </a:extLst>
          </p:cNvPr>
          <p:cNvSpPr txBox="1"/>
          <p:nvPr/>
        </p:nvSpPr>
        <p:spPr>
          <a:xfrm>
            <a:off x="9347476" y="3766808"/>
            <a:ext cx="852256" cy="769441"/>
          </a:xfrm>
          <a:prstGeom prst="rect">
            <a:avLst/>
          </a:prstGeom>
          <a:noFill/>
        </p:spPr>
        <p:txBody>
          <a:bodyPr wrap="square" rtlCol="0" anchor="b" anchorCtr="0">
            <a:spAutoFit/>
          </a:bodyPr>
          <a:lstStyle/>
          <a:p>
            <a:r>
              <a:rPr lang="en-GB" sz="4400" b="1">
                <a:solidFill>
                  <a:schemeClr val="bg1"/>
                </a:solidFill>
                <a:ea typeface="League Spartan" charset="0"/>
                <a:cs typeface="Poppins" pitchFamily="2" charset="77"/>
              </a:rPr>
              <a:t>02</a:t>
            </a:r>
          </a:p>
        </p:txBody>
      </p:sp>
      <p:sp>
        <p:nvSpPr>
          <p:cNvPr id="62" name="TextBox 43">
            <a:extLst>
              <a:ext uri="{FF2B5EF4-FFF2-40B4-BE49-F238E27FC236}">
                <a16:creationId xmlns:a16="http://schemas.microsoft.com/office/drawing/2014/main" id="{2B949166-77D9-C4DA-138E-7357CF7D3661}"/>
              </a:ext>
            </a:extLst>
          </p:cNvPr>
          <p:cNvSpPr txBox="1"/>
          <p:nvPr/>
        </p:nvSpPr>
        <p:spPr>
          <a:xfrm>
            <a:off x="8747744" y="4828559"/>
            <a:ext cx="852256" cy="769441"/>
          </a:xfrm>
          <a:prstGeom prst="rect">
            <a:avLst/>
          </a:prstGeom>
          <a:noFill/>
        </p:spPr>
        <p:txBody>
          <a:bodyPr wrap="square" rtlCol="0" anchor="b" anchorCtr="0">
            <a:spAutoFit/>
          </a:bodyPr>
          <a:lstStyle/>
          <a:p>
            <a:r>
              <a:rPr lang="en-GB" sz="4400" b="1">
                <a:solidFill>
                  <a:schemeClr val="bg1"/>
                </a:solidFill>
                <a:ea typeface="League Spartan" charset="0"/>
                <a:cs typeface="Poppins" pitchFamily="2" charset="77"/>
              </a:rPr>
              <a:t>03</a:t>
            </a:r>
          </a:p>
        </p:txBody>
      </p:sp>
      <p:sp>
        <p:nvSpPr>
          <p:cNvPr id="63" name="TextBox 43">
            <a:extLst>
              <a:ext uri="{FF2B5EF4-FFF2-40B4-BE49-F238E27FC236}">
                <a16:creationId xmlns:a16="http://schemas.microsoft.com/office/drawing/2014/main" id="{C972FDBC-2B7D-623E-EB9A-7A8CDA85BA40}"/>
              </a:ext>
            </a:extLst>
          </p:cNvPr>
          <p:cNvSpPr txBox="1"/>
          <p:nvPr/>
        </p:nvSpPr>
        <p:spPr>
          <a:xfrm>
            <a:off x="7506188" y="4834110"/>
            <a:ext cx="852256" cy="769441"/>
          </a:xfrm>
          <a:prstGeom prst="rect">
            <a:avLst/>
          </a:prstGeom>
          <a:noFill/>
        </p:spPr>
        <p:txBody>
          <a:bodyPr wrap="square" rtlCol="0" anchor="b" anchorCtr="0">
            <a:spAutoFit/>
          </a:bodyPr>
          <a:lstStyle/>
          <a:p>
            <a:r>
              <a:rPr lang="en-GB" sz="4400" b="1">
                <a:solidFill>
                  <a:schemeClr val="bg1"/>
                </a:solidFill>
                <a:ea typeface="League Spartan" charset="0"/>
                <a:cs typeface="Poppins" pitchFamily="2" charset="77"/>
              </a:rPr>
              <a:t>04</a:t>
            </a:r>
          </a:p>
        </p:txBody>
      </p:sp>
      <p:sp>
        <p:nvSpPr>
          <p:cNvPr id="64" name="TextBox 43">
            <a:extLst>
              <a:ext uri="{FF2B5EF4-FFF2-40B4-BE49-F238E27FC236}">
                <a16:creationId xmlns:a16="http://schemas.microsoft.com/office/drawing/2014/main" id="{91D89B25-77D7-335F-7865-E5AF71F145A6}"/>
              </a:ext>
            </a:extLst>
          </p:cNvPr>
          <p:cNvSpPr txBox="1"/>
          <p:nvPr/>
        </p:nvSpPr>
        <p:spPr>
          <a:xfrm>
            <a:off x="6890676" y="3749258"/>
            <a:ext cx="852256" cy="769441"/>
          </a:xfrm>
          <a:prstGeom prst="rect">
            <a:avLst/>
          </a:prstGeom>
          <a:noFill/>
        </p:spPr>
        <p:txBody>
          <a:bodyPr wrap="square" rtlCol="0" anchor="b" anchorCtr="0">
            <a:spAutoFit/>
          </a:bodyPr>
          <a:lstStyle/>
          <a:p>
            <a:r>
              <a:rPr lang="en-GB" sz="4400" b="1">
                <a:solidFill>
                  <a:schemeClr val="bg1"/>
                </a:solidFill>
                <a:ea typeface="League Spartan" charset="0"/>
                <a:cs typeface="Poppins" pitchFamily="2" charset="77"/>
              </a:rPr>
              <a:t>05</a:t>
            </a:r>
          </a:p>
        </p:txBody>
      </p:sp>
      <p:sp>
        <p:nvSpPr>
          <p:cNvPr id="65" name="TextBox 43">
            <a:extLst>
              <a:ext uri="{FF2B5EF4-FFF2-40B4-BE49-F238E27FC236}">
                <a16:creationId xmlns:a16="http://schemas.microsoft.com/office/drawing/2014/main" id="{139AB9F0-9446-7F09-36B2-91AF69C38C32}"/>
              </a:ext>
            </a:extLst>
          </p:cNvPr>
          <p:cNvSpPr txBox="1"/>
          <p:nvPr/>
        </p:nvSpPr>
        <p:spPr>
          <a:xfrm>
            <a:off x="7558616" y="2762431"/>
            <a:ext cx="852256" cy="769441"/>
          </a:xfrm>
          <a:prstGeom prst="rect">
            <a:avLst/>
          </a:prstGeom>
          <a:noFill/>
        </p:spPr>
        <p:txBody>
          <a:bodyPr wrap="square" rtlCol="0" anchor="b" anchorCtr="0">
            <a:spAutoFit/>
          </a:bodyPr>
          <a:lstStyle/>
          <a:p>
            <a:r>
              <a:rPr lang="en-GB" sz="4400" b="1">
                <a:solidFill>
                  <a:schemeClr val="bg1"/>
                </a:solidFill>
                <a:ea typeface="League Spartan" charset="0"/>
                <a:cs typeface="Poppins" pitchFamily="2" charset="77"/>
              </a:rPr>
              <a:t>06</a:t>
            </a:r>
          </a:p>
        </p:txBody>
      </p:sp>
    </p:spTree>
    <p:extLst>
      <p:ext uri="{BB962C8B-B14F-4D97-AF65-F5344CB8AC3E}">
        <p14:creationId xmlns:p14="http://schemas.microsoft.com/office/powerpoint/2010/main" val="2290650444"/>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54678EC-8A3F-3741-8E47-AE94DA479C25}"/>
              </a:ext>
            </a:extLst>
          </p:cNvPr>
          <p:cNvSpPr>
            <a:spLocks noGrp="1"/>
          </p:cNvSpPr>
          <p:nvPr>
            <p:ph type="body" sz="quarter" idx="16"/>
          </p:nvPr>
        </p:nvSpPr>
        <p:spPr>
          <a:xfrm>
            <a:off x="2181503" y="1379071"/>
            <a:ext cx="4965312" cy="3423588"/>
          </a:xfrm>
        </p:spPr>
        <p:txBody>
          <a:bodyPr>
            <a:normAutofit/>
          </a:bodyPr>
          <a:lstStyle/>
          <a:p>
            <a:r>
              <a:rPr lang="en-US" sz="4000"/>
              <a:t>RESUMEN DE LAS 3 FASES DE LA PYME/CRISIS EMPRESARIAL</a:t>
            </a:r>
          </a:p>
        </p:txBody>
      </p:sp>
      <p:sp>
        <p:nvSpPr>
          <p:cNvPr id="3" name="Text Placeholder 2">
            <a:extLst>
              <a:ext uri="{FF2B5EF4-FFF2-40B4-BE49-F238E27FC236}">
                <a16:creationId xmlns:a16="http://schemas.microsoft.com/office/drawing/2014/main" id="{4D716622-58AE-EEA0-6E43-54FC2F8C5D44}"/>
              </a:ext>
            </a:extLst>
          </p:cNvPr>
          <p:cNvSpPr>
            <a:spLocks noGrp="1"/>
          </p:cNvSpPr>
          <p:nvPr>
            <p:ph type="body" sz="quarter" idx="17"/>
          </p:nvPr>
        </p:nvSpPr>
        <p:spPr/>
        <p:txBody>
          <a:bodyPr/>
          <a:lstStyle/>
          <a:p>
            <a:r>
              <a:rPr lang="en-US"/>
              <a:t>05</a:t>
            </a:r>
          </a:p>
        </p:txBody>
      </p:sp>
    </p:spTree>
    <p:extLst>
      <p:ext uri="{BB962C8B-B14F-4D97-AF65-F5344CB8AC3E}">
        <p14:creationId xmlns:p14="http://schemas.microsoft.com/office/powerpoint/2010/main" val="876696491"/>
      </p:ext>
    </p:extLst>
  </p:cSld>
  <p:clrMapOvr>
    <a:masterClrMapping/>
  </p:clrMapOv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2B782A2-B607-AADB-176B-6603DD59DA10}"/>
              </a:ext>
            </a:extLst>
          </p:cNvPr>
          <p:cNvSpPr/>
          <p:nvPr/>
        </p:nvSpPr>
        <p:spPr>
          <a:xfrm>
            <a:off x="0" y="0"/>
            <a:ext cx="420109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6269" y="491603"/>
            <a:ext cx="3215912" cy="3997334"/>
          </a:xfrm>
        </p:spPr>
        <p:txBody>
          <a:bodyPr>
            <a:normAutofit fontScale="92500" lnSpcReduction="20000"/>
          </a:bodyPr>
          <a:lstStyle/>
          <a:p>
            <a:r>
              <a:rPr lang="en-GB">
                <a:solidFill>
                  <a:schemeClr val="bg1"/>
                </a:solidFill>
              </a:rPr>
              <a:t>Así pues, la crisis está a la vista. Repasemos las </a:t>
            </a:r>
            <a:r>
              <a:rPr lang="en-GB" b="1">
                <a:solidFill>
                  <a:schemeClr val="bg1"/>
                </a:solidFill>
              </a:rPr>
              <a:t>3 fases de la crisis de las PYMES/empresas </a:t>
            </a:r>
            <a:r>
              <a:rPr lang="en-GB">
                <a:solidFill>
                  <a:schemeClr val="bg1"/>
                </a:solidFill>
              </a:rPr>
              <a:t>antes de entrar en una consideración más profunda de la crisis en los módulos que siguen. </a:t>
            </a:r>
          </a:p>
        </p:txBody>
      </p:sp>
      <p:sp>
        <p:nvSpPr>
          <p:cNvPr id="104" name="TextBox 40">
            <a:extLst>
              <a:ext uri="{FF2B5EF4-FFF2-40B4-BE49-F238E27FC236}">
                <a16:creationId xmlns:a16="http://schemas.microsoft.com/office/drawing/2014/main" id="{BC99318B-D0FF-4921-B814-4CD6119D1E35}"/>
              </a:ext>
            </a:extLst>
          </p:cNvPr>
          <p:cNvSpPr txBox="1"/>
          <p:nvPr/>
        </p:nvSpPr>
        <p:spPr>
          <a:xfrm>
            <a:off x="6007408" y="1421767"/>
            <a:ext cx="5972442" cy="7940635"/>
          </a:xfrm>
          <a:prstGeom prst="rect">
            <a:avLst/>
          </a:prstGeom>
          <a:noFill/>
        </p:spPr>
        <p:txBody>
          <a:bodyPr wrap="square" rtlCol="0">
            <a:spAutoFit/>
          </a:bodyPr>
          <a:lstStyle/>
          <a:p>
            <a:pPr>
              <a:defRPr/>
            </a:pPr>
            <a:r>
              <a:rPr lang="en-US" sz="3400">
                <a:solidFill>
                  <a:srgbClr val="F16924"/>
                </a:solidFill>
              </a:rPr>
              <a:t>01 </a:t>
            </a:r>
            <a:r>
              <a:rPr lang="en-GB" sz="3400" b="1">
                <a:solidFill>
                  <a:srgbClr val="B41F7A"/>
                </a:solidFill>
                <a:ea typeface="Roboto" charset="0"/>
                <a:cs typeface="Roboto" charset="0"/>
              </a:rPr>
              <a:t>Fase previa a la crisis</a:t>
            </a:r>
          </a:p>
          <a:p>
            <a:pPr>
              <a:defRPr/>
            </a:pPr>
            <a:endParaRPr lang="en-US" sz="3400">
              <a:solidFill>
                <a:srgbClr val="F16924"/>
              </a:solidFill>
            </a:endParaRPr>
          </a:p>
          <a:p>
            <a:pPr>
              <a:defRPr/>
            </a:pPr>
            <a:endParaRPr lang="en-US" sz="3400">
              <a:solidFill>
                <a:srgbClr val="F16924"/>
              </a:solidFill>
            </a:endParaRPr>
          </a:p>
          <a:p>
            <a:pPr>
              <a:defRPr/>
            </a:pPr>
            <a:endParaRPr lang="en-US" sz="3400">
              <a:solidFill>
                <a:srgbClr val="F16924"/>
              </a:solidFill>
            </a:endParaRPr>
          </a:p>
          <a:p>
            <a:pPr>
              <a:defRPr/>
            </a:pPr>
            <a:r>
              <a:rPr lang="en-US" sz="3400">
                <a:solidFill>
                  <a:srgbClr val="F16924"/>
                </a:solidFill>
              </a:rPr>
              <a:t>02 </a:t>
            </a:r>
            <a:r>
              <a:rPr lang="en-GB" sz="3400" b="1">
                <a:solidFill>
                  <a:srgbClr val="B41F7A"/>
                </a:solidFill>
                <a:ea typeface="Roboto" charset="0"/>
                <a:cs typeface="Roboto" charset="0"/>
              </a:rPr>
              <a:t>Respuesta a la crisis</a:t>
            </a:r>
          </a:p>
          <a:p>
            <a:pPr>
              <a:defRPr/>
            </a:pPr>
            <a:endParaRPr lang="en-US" sz="3400">
              <a:solidFill>
                <a:srgbClr val="F16924"/>
              </a:solidFill>
            </a:endParaRPr>
          </a:p>
          <a:p>
            <a:pPr>
              <a:defRPr/>
            </a:pPr>
            <a:endParaRPr lang="en-US" sz="3400">
              <a:solidFill>
                <a:srgbClr val="F16924"/>
              </a:solidFill>
            </a:endParaRPr>
          </a:p>
          <a:p>
            <a:pPr>
              <a:defRPr/>
            </a:pPr>
            <a:endParaRPr lang="en-US" sz="3400">
              <a:solidFill>
                <a:srgbClr val="F16924"/>
              </a:solidFill>
            </a:endParaRPr>
          </a:p>
          <a:p>
            <a:pPr>
              <a:defRPr/>
            </a:pPr>
            <a:r>
              <a:rPr lang="en-US" sz="3400">
                <a:solidFill>
                  <a:srgbClr val="F16924"/>
                </a:solidFill>
              </a:rPr>
              <a:t>03 </a:t>
            </a:r>
            <a:r>
              <a:rPr lang="en-GB" sz="3400" b="1">
                <a:solidFill>
                  <a:srgbClr val="B41F7A"/>
                </a:solidFill>
                <a:ea typeface="Roboto" charset="0"/>
                <a:cs typeface="Roboto" charset="0"/>
              </a:rPr>
              <a:t>Fase posterior a la crisis</a:t>
            </a:r>
          </a:p>
          <a:p>
            <a:pPr lvl="0">
              <a:defRPr/>
            </a:pPr>
            <a:endParaRPr lang="en-GB" sz="3400" b="1">
              <a:solidFill>
                <a:srgbClr val="595959"/>
              </a:solidFill>
              <a:ea typeface="Roboto" charset="0"/>
              <a:cs typeface="Roboto" charset="0"/>
            </a:endParaRPr>
          </a:p>
          <a:p>
            <a:pPr lvl="0">
              <a:defRPr/>
            </a:pPr>
            <a:endParaRPr lang="en-GB" sz="3400" b="1">
              <a:solidFill>
                <a:srgbClr val="595959"/>
              </a:solidFill>
              <a:ea typeface="Roboto" charset="0"/>
              <a:cs typeface="Roboto" charset="0"/>
            </a:endParaRPr>
          </a:p>
          <a:p>
            <a:pPr lvl="0">
              <a:defRPr/>
            </a:pPr>
            <a:r>
              <a:rPr lang="en-GB" sz="3400" b="1">
                <a:solidFill>
                  <a:srgbClr val="595959"/>
                </a:solidFill>
                <a:ea typeface="Roboto" charset="0"/>
                <a:cs typeface="Roboto" charset="0"/>
              </a:rPr>
              <a:t> </a:t>
            </a:r>
          </a:p>
          <a:p>
            <a:pPr lvl="0">
              <a:defRPr/>
            </a:pPr>
            <a:endParaRPr lang="en-GB" sz="3400" b="1">
              <a:solidFill>
                <a:srgbClr val="595959"/>
              </a:solidFill>
              <a:ea typeface="Roboto" charset="0"/>
              <a:cs typeface="Roboto" charset="0"/>
            </a:endParaRPr>
          </a:p>
          <a:p>
            <a:pPr lvl="0">
              <a:defRPr/>
            </a:pPr>
            <a:endParaRPr lang="en-GB" sz="3400" b="1">
              <a:solidFill>
                <a:srgbClr val="595959"/>
              </a:solidFill>
              <a:ea typeface="Roboto" charset="0"/>
              <a:cs typeface="Roboto" charset="0"/>
            </a:endParaRPr>
          </a:p>
          <a:p>
            <a:pPr marL="0" marR="0" lvl="0" indent="0" algn="l" defTabSz="914400" rtl="0" eaLnBrk="1" fontAlgn="auto" latinLnBrk="0" hangingPunct="1">
              <a:lnSpc>
                <a:spcPct val="100000"/>
              </a:lnSpc>
              <a:spcBef>
                <a:spcPct val="0"/>
              </a:spcBef>
              <a:spcAft>
                <a:spcPct val="0"/>
              </a:spcAft>
              <a:buClrTx/>
              <a:buSzTx/>
              <a:buFontTx/>
              <a:buNone/>
              <a:defRPr/>
            </a:pPr>
            <a:endParaRPr kumimoji="0" lang="en-GB" sz="3400" b="1" i="0" u="none" strike="noStrike" kern="1200" cap="none" spc="0" normalizeH="0" baseline="0" noProof="0">
              <a:ln>
                <a:noFill/>
              </a:ln>
              <a:solidFill>
                <a:srgbClr val="595959"/>
              </a:solidFill>
              <a:effectLst/>
              <a:uLnTx/>
              <a:uFillTx/>
              <a:ea typeface="Roboto" charset="0"/>
              <a:cs typeface="Roboto" charset="0"/>
            </a:endParaRPr>
          </a:p>
        </p:txBody>
      </p:sp>
      <p:sp>
        <p:nvSpPr>
          <p:cNvPr id="8" name="Rectangle 7">
            <a:extLst>
              <a:ext uri="{FF2B5EF4-FFF2-40B4-BE49-F238E27FC236}">
                <a16:creationId xmlns:a16="http://schemas.microsoft.com/office/drawing/2014/main" id="{14F9744D-3107-97CB-5B61-61E5B24B2E44}"/>
              </a:ext>
            </a:extLst>
          </p:cNvPr>
          <p:cNvSpPr/>
          <p:nvPr/>
        </p:nvSpPr>
        <p:spPr>
          <a:xfrm>
            <a:off x="646336" y="4296678"/>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cxnSp>
        <p:nvCxnSpPr>
          <p:cNvPr id="46" name="Straight Connector 45">
            <a:extLst>
              <a:ext uri="{FF2B5EF4-FFF2-40B4-BE49-F238E27FC236}">
                <a16:creationId xmlns:a16="http://schemas.microsoft.com/office/drawing/2014/main" id="{16C92E9C-EE6C-8FBA-DC1E-094C9CD5A274}"/>
              </a:ext>
            </a:extLst>
          </p:cNvPr>
          <p:cNvCxnSpPr/>
          <p:nvPr/>
        </p:nvCxnSpPr>
        <p:spPr>
          <a:xfrm>
            <a:off x="4235748" y="2848327"/>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96EBBC0-F6AA-755D-0C02-D21D3B310FF0}"/>
              </a:ext>
            </a:extLst>
          </p:cNvPr>
          <p:cNvCxnSpPr/>
          <p:nvPr/>
        </p:nvCxnSpPr>
        <p:spPr>
          <a:xfrm>
            <a:off x="4235749" y="4767168"/>
            <a:ext cx="7990902"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73BAA323-EDD5-D89F-4366-5568362AA71D}"/>
              </a:ext>
            </a:extLst>
          </p:cNvPr>
          <p:cNvGrpSpPr/>
          <p:nvPr/>
        </p:nvGrpSpPr>
        <p:grpSpPr>
          <a:xfrm>
            <a:off x="4701168" y="1567950"/>
            <a:ext cx="981481" cy="983918"/>
            <a:chOff x="3728648" y="2288053"/>
            <a:chExt cx="1103278" cy="1106017"/>
          </a:xfrm>
        </p:grpSpPr>
        <p:sp>
          <p:nvSpPr>
            <p:cNvPr id="47" name="Freeform 46">
              <a:extLst>
                <a:ext uri="{FF2B5EF4-FFF2-40B4-BE49-F238E27FC236}">
                  <a16:creationId xmlns:a16="http://schemas.microsoft.com/office/drawing/2014/main" id="{8E18673B-7342-F67D-A21D-68AE9EC06168}"/>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3321DA7A-DC23-788B-A343-BE011CF79E84}"/>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2E5182E3-36EF-F5C4-51DB-F9B75C824CC2}"/>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C271799D-FB95-2AD3-ECE7-D36FCE3BCCBD}"/>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113F2545-1B65-C79C-324F-83F445F6C231}"/>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9DD4905B-5FBB-5778-12D0-1B9984596C40}"/>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3EC4F7F8-CE00-D528-CF71-C8298FF40C68}"/>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9D262537-16C5-176D-8A9C-D0A62F4EAC8B}"/>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DBE59055-2514-87FD-1DDD-8D5F330E088A}"/>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56" name="Freeform 55">
              <a:extLst>
                <a:ext uri="{FF2B5EF4-FFF2-40B4-BE49-F238E27FC236}">
                  <a16:creationId xmlns:a16="http://schemas.microsoft.com/office/drawing/2014/main" id="{CBE48E0E-3559-AA1C-FC18-96E1E0B00B72}"/>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6AD70998-65BA-EB34-9F09-EF2FCE1715CE}"/>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58" name="Freeform 57">
              <a:extLst>
                <a:ext uri="{FF2B5EF4-FFF2-40B4-BE49-F238E27FC236}">
                  <a16:creationId xmlns:a16="http://schemas.microsoft.com/office/drawing/2014/main" id="{B42047C3-3211-727F-4636-97C480D51F6F}"/>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grpSp>
        <p:nvGrpSpPr>
          <p:cNvPr id="59" name="Group 58">
            <a:extLst>
              <a:ext uri="{FF2B5EF4-FFF2-40B4-BE49-F238E27FC236}">
                <a16:creationId xmlns:a16="http://schemas.microsoft.com/office/drawing/2014/main" id="{BD6E5C2A-6475-4E51-6845-7C6A232F8719}"/>
              </a:ext>
            </a:extLst>
          </p:cNvPr>
          <p:cNvGrpSpPr/>
          <p:nvPr/>
        </p:nvGrpSpPr>
        <p:grpSpPr>
          <a:xfrm>
            <a:off x="4671982" y="3195497"/>
            <a:ext cx="1120532" cy="1122696"/>
            <a:chOff x="7284496" y="2127428"/>
            <a:chExt cx="2245645" cy="2249982"/>
          </a:xfrm>
          <a:solidFill>
            <a:srgbClr val="595959"/>
          </a:solidFill>
        </p:grpSpPr>
        <p:grpSp>
          <p:nvGrpSpPr>
            <p:cNvPr id="60" name="Graphic 3">
              <a:extLst>
                <a:ext uri="{FF2B5EF4-FFF2-40B4-BE49-F238E27FC236}">
                  <a16:creationId xmlns:a16="http://schemas.microsoft.com/office/drawing/2014/main" id="{C71FCD37-D6B5-1EBA-C7FB-EFD62E6C24E0}"/>
                </a:ext>
              </a:extLst>
            </p:cNvPr>
            <p:cNvGrpSpPr/>
            <p:nvPr/>
          </p:nvGrpSpPr>
          <p:grpSpPr>
            <a:xfrm>
              <a:off x="7284496" y="2127428"/>
              <a:ext cx="2245645" cy="2249982"/>
              <a:chOff x="5098317" y="2100784"/>
              <a:chExt cx="2245645" cy="2249982"/>
            </a:xfrm>
            <a:grpFill/>
          </p:grpSpPr>
          <p:sp>
            <p:nvSpPr>
              <p:cNvPr id="64" name="Freeform 63">
                <a:extLst>
                  <a:ext uri="{FF2B5EF4-FFF2-40B4-BE49-F238E27FC236}">
                    <a16:creationId xmlns:a16="http://schemas.microsoft.com/office/drawing/2014/main" id="{CB9DD4F8-F7C4-D7C7-0670-7EBF792477DB}"/>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65" name="Freeform 64">
                <a:extLst>
                  <a:ext uri="{FF2B5EF4-FFF2-40B4-BE49-F238E27FC236}">
                    <a16:creationId xmlns:a16="http://schemas.microsoft.com/office/drawing/2014/main" id="{0B565F42-ECE8-A743-B813-AFBEDA7C874A}"/>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66" name="Freeform 65">
                <a:extLst>
                  <a:ext uri="{FF2B5EF4-FFF2-40B4-BE49-F238E27FC236}">
                    <a16:creationId xmlns:a16="http://schemas.microsoft.com/office/drawing/2014/main" id="{F6C39C2E-7799-6504-CD97-8AE218988A77}"/>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67" name="Freeform 66">
                <a:extLst>
                  <a:ext uri="{FF2B5EF4-FFF2-40B4-BE49-F238E27FC236}">
                    <a16:creationId xmlns:a16="http://schemas.microsoft.com/office/drawing/2014/main" id="{1C64AB91-B0DD-4F52-C87F-40D17AB4AE31}"/>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ACD0ABD3-51AA-C825-B59C-C062DD05E993}"/>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D4C5D35B-A0C6-DE06-506C-3BD58016B4BF}"/>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grpSp>
          <p:nvGrpSpPr>
            <p:cNvPr id="61" name="Graphic 3">
              <a:extLst>
                <a:ext uri="{FF2B5EF4-FFF2-40B4-BE49-F238E27FC236}">
                  <a16:creationId xmlns:a16="http://schemas.microsoft.com/office/drawing/2014/main" id="{0D865F95-EA49-96DD-8DBA-7C61E718CBEE}"/>
                </a:ext>
              </a:extLst>
            </p:cNvPr>
            <p:cNvGrpSpPr/>
            <p:nvPr/>
          </p:nvGrpSpPr>
          <p:grpSpPr>
            <a:xfrm>
              <a:off x="8878245" y="2200268"/>
              <a:ext cx="144167" cy="725714"/>
              <a:chOff x="6692066" y="2173624"/>
              <a:chExt cx="144167" cy="725714"/>
            </a:xfrm>
            <a:grpFill/>
          </p:grpSpPr>
          <p:sp>
            <p:nvSpPr>
              <p:cNvPr id="62" name="Freeform 61">
                <a:extLst>
                  <a:ext uri="{FF2B5EF4-FFF2-40B4-BE49-F238E27FC236}">
                    <a16:creationId xmlns:a16="http://schemas.microsoft.com/office/drawing/2014/main" id="{1A25F9BB-555D-06CA-5F0F-683F3D459665}"/>
                  </a:ext>
                </a:extLst>
              </p:cNvPr>
              <p:cNvSpPr/>
              <p:nvPr/>
            </p:nvSpPr>
            <p:spPr>
              <a:xfrm>
                <a:off x="6692066" y="2173624"/>
                <a:ext cx="144167" cy="434823"/>
              </a:xfrm>
              <a:custGeom>
                <a:avLst/>
                <a:gdLst>
                  <a:gd name="connsiteX0" fmla="*/ 111346 w 144167"/>
                  <a:gd name="connsiteY0" fmla="*/ 434824 h 434823"/>
                  <a:gd name="connsiteX1" fmla="*/ 33347 w 144167"/>
                  <a:gd name="connsiteY1" fmla="*/ 434824 h 434823"/>
                  <a:gd name="connsiteX2" fmla="*/ 22464 w 144167"/>
                  <a:gd name="connsiteY2" fmla="*/ 313872 h 434823"/>
                  <a:gd name="connsiteX3" fmla="*/ 697 w 144167"/>
                  <a:gd name="connsiteY3" fmla="*/ 54429 h 434823"/>
                  <a:gd name="connsiteX4" fmla="*/ 50278 w 144167"/>
                  <a:gd name="connsiteY4" fmla="*/ 0 h 434823"/>
                  <a:gd name="connsiteX5" fmla="*/ 104696 w 144167"/>
                  <a:gd name="connsiteY5" fmla="*/ 0 h 434823"/>
                  <a:gd name="connsiteX6" fmla="*/ 143997 w 144167"/>
                  <a:gd name="connsiteY6" fmla="*/ 42938 h 434823"/>
                  <a:gd name="connsiteX7" fmla="*/ 119207 w 144167"/>
                  <a:gd name="connsiteY7" fmla="*/ 336248 h 434823"/>
                  <a:gd name="connsiteX8" fmla="*/ 111346 w 144167"/>
                  <a:gd name="connsiteY8" fmla="*/ 434824 h 4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167" h="434823">
                    <a:moveTo>
                      <a:pt x="111346" y="434824"/>
                    </a:moveTo>
                    <a:cubicBezTo>
                      <a:pt x="84138" y="434824"/>
                      <a:pt x="60556" y="434824"/>
                      <a:pt x="33347" y="434824"/>
                    </a:cubicBezTo>
                    <a:cubicBezTo>
                      <a:pt x="29720" y="394305"/>
                      <a:pt x="26092" y="353786"/>
                      <a:pt x="22464" y="313872"/>
                    </a:cubicBezTo>
                    <a:cubicBezTo>
                      <a:pt x="15208" y="227391"/>
                      <a:pt x="8557" y="140910"/>
                      <a:pt x="697" y="54429"/>
                    </a:cubicBezTo>
                    <a:cubicBezTo>
                      <a:pt x="-2931" y="11491"/>
                      <a:pt x="6743" y="0"/>
                      <a:pt x="50278" y="0"/>
                    </a:cubicBezTo>
                    <a:cubicBezTo>
                      <a:pt x="68417" y="0"/>
                      <a:pt x="86556" y="0"/>
                      <a:pt x="104696" y="0"/>
                    </a:cubicBezTo>
                    <a:cubicBezTo>
                      <a:pt x="133113" y="605"/>
                      <a:pt x="145811" y="13910"/>
                      <a:pt x="143997" y="42938"/>
                    </a:cubicBezTo>
                    <a:cubicBezTo>
                      <a:pt x="136137" y="140910"/>
                      <a:pt x="127672" y="238276"/>
                      <a:pt x="119207" y="336248"/>
                    </a:cubicBezTo>
                    <a:cubicBezTo>
                      <a:pt x="116788" y="368905"/>
                      <a:pt x="114370" y="400957"/>
                      <a:pt x="111346" y="434824"/>
                    </a:cubicBezTo>
                    <a:close/>
                  </a:path>
                </a:pathLst>
              </a:custGeom>
              <a:solidFill>
                <a:srgbClr val="F16924"/>
              </a:solidFill>
              <a:ln w="6040" cap="flat">
                <a:noFill/>
                <a:prstDash val="solid"/>
                <a:miter/>
              </a:ln>
            </p:spPr>
            <p:txBody>
              <a:bodyPr rtlCol="0" anchor="ctr"/>
              <a:lstStyle/>
              <a:p>
                <a:endParaRPr lang="en-US"/>
              </a:p>
            </p:txBody>
          </p:sp>
          <p:sp>
            <p:nvSpPr>
              <p:cNvPr id="63" name="Freeform 62">
                <a:extLst>
                  <a:ext uri="{FF2B5EF4-FFF2-40B4-BE49-F238E27FC236}">
                    <a16:creationId xmlns:a16="http://schemas.microsoft.com/office/drawing/2014/main" id="{7E117572-C7BE-9296-B9DC-21292F2A6144}"/>
                  </a:ext>
                </a:extLst>
              </p:cNvPr>
              <p:cNvSpPr/>
              <p:nvPr/>
            </p:nvSpPr>
            <p:spPr>
              <a:xfrm>
                <a:off x="6728436" y="2827355"/>
                <a:ext cx="71952" cy="71982"/>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solidFill>
                <a:srgbClr val="F16924"/>
              </a:solidFill>
              <a:ln w="6040" cap="flat">
                <a:noFill/>
                <a:prstDash val="solid"/>
                <a:miter/>
              </a:ln>
            </p:spPr>
            <p:txBody>
              <a:bodyPr rtlCol="0" anchor="ctr"/>
              <a:lstStyle/>
              <a:p>
                <a:endParaRPr lang="en-US"/>
              </a:p>
            </p:txBody>
          </p:sp>
        </p:grpSp>
      </p:grpSp>
      <p:grpSp>
        <p:nvGrpSpPr>
          <p:cNvPr id="70" name="Group 69">
            <a:extLst>
              <a:ext uri="{FF2B5EF4-FFF2-40B4-BE49-F238E27FC236}">
                <a16:creationId xmlns:a16="http://schemas.microsoft.com/office/drawing/2014/main" id="{D1FA74C9-2D08-4E1A-D450-5B040F345034}"/>
              </a:ext>
            </a:extLst>
          </p:cNvPr>
          <p:cNvGrpSpPr/>
          <p:nvPr/>
        </p:nvGrpSpPr>
        <p:grpSpPr>
          <a:xfrm>
            <a:off x="4664302" y="4958386"/>
            <a:ext cx="1018347" cy="1181853"/>
            <a:chOff x="8360213" y="3458151"/>
            <a:chExt cx="853935" cy="991043"/>
          </a:xfrm>
          <a:solidFill>
            <a:srgbClr val="595959"/>
          </a:solidFill>
        </p:grpSpPr>
        <p:grpSp>
          <p:nvGrpSpPr>
            <p:cNvPr id="71" name="Graphic 2">
              <a:extLst>
                <a:ext uri="{FF2B5EF4-FFF2-40B4-BE49-F238E27FC236}">
                  <a16:creationId xmlns:a16="http://schemas.microsoft.com/office/drawing/2014/main" id="{05A00CD6-25C3-3703-6BC3-2F2C6A0A0F17}"/>
                </a:ext>
              </a:extLst>
            </p:cNvPr>
            <p:cNvGrpSpPr/>
            <p:nvPr userDrawn="1"/>
          </p:nvGrpSpPr>
          <p:grpSpPr>
            <a:xfrm>
              <a:off x="8599192" y="3595917"/>
              <a:ext cx="375982" cy="204367"/>
              <a:chOff x="2642504" y="3763150"/>
              <a:chExt cx="375982" cy="204367"/>
            </a:xfrm>
            <a:grpFill/>
          </p:grpSpPr>
          <p:sp>
            <p:nvSpPr>
              <p:cNvPr id="77" name="Freeform 76">
                <a:extLst>
                  <a:ext uri="{FF2B5EF4-FFF2-40B4-BE49-F238E27FC236}">
                    <a16:creationId xmlns:a16="http://schemas.microsoft.com/office/drawing/2014/main" id="{B0C46DCC-EF7B-4939-A294-6C9D27163F30}"/>
                  </a:ext>
                </a:extLst>
              </p:cNvPr>
              <p:cNvSpPr/>
              <p:nvPr/>
            </p:nvSpPr>
            <p:spPr>
              <a:xfrm>
                <a:off x="2813454" y="3763150"/>
                <a:ext cx="205031" cy="204367"/>
              </a:xfrm>
              <a:custGeom>
                <a:avLst/>
                <a:gdLst>
                  <a:gd name="connsiteX0" fmla="*/ 204168 w 205031"/>
                  <a:gd name="connsiteY0" fmla="*/ 204367 h 204367"/>
                  <a:gd name="connsiteX1" fmla="*/ 384 w 205031"/>
                  <a:gd name="connsiteY1" fmla="*/ 204367 h 204367"/>
                  <a:gd name="connsiteX2" fmla="*/ 0 w 205031"/>
                  <a:gd name="connsiteY2" fmla="*/ 193999 h 204367"/>
                  <a:gd name="connsiteX3" fmla="*/ 0 w 205031"/>
                  <a:gd name="connsiteY3" fmla="*/ 90707 h 204367"/>
                  <a:gd name="connsiteX4" fmla="*/ 90187 w 205031"/>
                  <a:gd name="connsiteY4" fmla="*/ 85 h 204367"/>
                  <a:gd name="connsiteX5" fmla="*/ 138159 w 205031"/>
                  <a:gd name="connsiteY5" fmla="*/ 2389 h 204367"/>
                  <a:gd name="connsiteX6" fmla="*/ 204552 w 205031"/>
                  <a:gd name="connsiteY6" fmla="*/ 82259 h 204367"/>
                  <a:gd name="connsiteX7" fmla="*/ 204936 w 205031"/>
                  <a:gd name="connsiteY7" fmla="*/ 199375 h 204367"/>
                  <a:gd name="connsiteX8" fmla="*/ 204168 w 205031"/>
                  <a:gd name="connsiteY8" fmla="*/ 204367 h 204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031" h="204367">
                    <a:moveTo>
                      <a:pt x="204168" y="204367"/>
                    </a:moveTo>
                    <a:cubicBezTo>
                      <a:pt x="135856" y="204367"/>
                      <a:pt x="68696" y="204367"/>
                      <a:pt x="384" y="204367"/>
                    </a:cubicBezTo>
                    <a:cubicBezTo>
                      <a:pt x="384" y="200527"/>
                      <a:pt x="0" y="197071"/>
                      <a:pt x="0" y="193999"/>
                    </a:cubicBezTo>
                    <a:cubicBezTo>
                      <a:pt x="0" y="159440"/>
                      <a:pt x="0" y="124882"/>
                      <a:pt x="0" y="90707"/>
                    </a:cubicBezTo>
                    <a:cubicBezTo>
                      <a:pt x="0" y="36564"/>
                      <a:pt x="36075" y="85"/>
                      <a:pt x="90187" y="85"/>
                    </a:cubicBezTo>
                    <a:cubicBezTo>
                      <a:pt x="106306" y="85"/>
                      <a:pt x="122808" y="-683"/>
                      <a:pt x="138159" y="2389"/>
                    </a:cubicBezTo>
                    <a:cubicBezTo>
                      <a:pt x="176153" y="9301"/>
                      <a:pt x="204168" y="43476"/>
                      <a:pt x="204552" y="82259"/>
                    </a:cubicBezTo>
                    <a:cubicBezTo>
                      <a:pt x="205320" y="121426"/>
                      <a:pt x="204936" y="160208"/>
                      <a:pt x="204936" y="199375"/>
                    </a:cubicBezTo>
                    <a:cubicBezTo>
                      <a:pt x="204936" y="200527"/>
                      <a:pt x="204552" y="202063"/>
                      <a:pt x="204168" y="204367"/>
                    </a:cubicBezTo>
                    <a:close/>
                  </a:path>
                </a:pathLst>
              </a:custGeom>
              <a:solidFill>
                <a:srgbClr val="F16924"/>
              </a:solidFill>
              <a:ln w="3834"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872C3D66-041B-B514-9A4A-64AF5346FF8F}"/>
                  </a:ext>
                </a:extLst>
              </p:cNvPr>
              <p:cNvSpPr/>
              <p:nvPr/>
            </p:nvSpPr>
            <p:spPr>
              <a:xfrm>
                <a:off x="2642504" y="3763235"/>
                <a:ext cx="161142" cy="204281"/>
              </a:xfrm>
              <a:custGeom>
                <a:avLst/>
                <a:gdLst>
                  <a:gd name="connsiteX0" fmla="*/ 137178 w 161142"/>
                  <a:gd name="connsiteY0" fmla="*/ 204282 h 204281"/>
                  <a:gd name="connsiteX1" fmla="*/ 938 w 161142"/>
                  <a:gd name="connsiteY1" fmla="*/ 204282 h 204281"/>
                  <a:gd name="connsiteX2" fmla="*/ 171 w 161142"/>
                  <a:gd name="connsiteY2" fmla="*/ 196602 h 204281"/>
                  <a:gd name="connsiteX3" fmla="*/ 171 w 161142"/>
                  <a:gd name="connsiteY3" fmla="*/ 86397 h 204281"/>
                  <a:gd name="connsiteX4" fmla="*/ 85753 w 161142"/>
                  <a:gd name="connsiteY4" fmla="*/ 0 h 204281"/>
                  <a:gd name="connsiteX5" fmla="*/ 137946 w 161142"/>
                  <a:gd name="connsiteY5" fmla="*/ 2304 h 204281"/>
                  <a:gd name="connsiteX6" fmla="*/ 160972 w 161142"/>
                  <a:gd name="connsiteY6" fmla="*/ 9984 h 204281"/>
                  <a:gd name="connsiteX7" fmla="*/ 160972 w 161142"/>
                  <a:gd name="connsiteY7" fmla="*/ 13440 h 204281"/>
                  <a:gd name="connsiteX8" fmla="*/ 137178 w 161142"/>
                  <a:gd name="connsiteY8" fmla="*/ 99069 h 204281"/>
                  <a:gd name="connsiteX9" fmla="*/ 137562 w 161142"/>
                  <a:gd name="connsiteY9" fmla="*/ 193146 h 204281"/>
                  <a:gd name="connsiteX10" fmla="*/ 137178 w 161142"/>
                  <a:gd name="connsiteY10" fmla="*/ 204282 h 20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142" h="204281">
                    <a:moveTo>
                      <a:pt x="137178" y="204282"/>
                    </a:moveTo>
                    <a:cubicBezTo>
                      <a:pt x="91125" y="204282"/>
                      <a:pt x="46224" y="204282"/>
                      <a:pt x="938" y="204282"/>
                    </a:cubicBezTo>
                    <a:cubicBezTo>
                      <a:pt x="554" y="201210"/>
                      <a:pt x="171" y="198906"/>
                      <a:pt x="171" y="196602"/>
                    </a:cubicBezTo>
                    <a:cubicBezTo>
                      <a:pt x="171" y="159739"/>
                      <a:pt x="-213" y="122876"/>
                      <a:pt x="171" y="86397"/>
                    </a:cubicBezTo>
                    <a:cubicBezTo>
                      <a:pt x="554" y="37631"/>
                      <a:pt x="37013" y="768"/>
                      <a:pt x="85753" y="0"/>
                    </a:cubicBezTo>
                    <a:cubicBezTo>
                      <a:pt x="103022" y="0"/>
                      <a:pt x="120676" y="384"/>
                      <a:pt x="137946" y="2304"/>
                    </a:cubicBezTo>
                    <a:cubicBezTo>
                      <a:pt x="146005" y="3072"/>
                      <a:pt x="153681" y="7296"/>
                      <a:pt x="160972" y="9984"/>
                    </a:cubicBezTo>
                    <a:cubicBezTo>
                      <a:pt x="160972" y="12288"/>
                      <a:pt x="161356" y="13056"/>
                      <a:pt x="160972" y="13440"/>
                    </a:cubicBezTo>
                    <a:cubicBezTo>
                      <a:pt x="142167" y="39167"/>
                      <a:pt x="136027" y="67966"/>
                      <a:pt x="137178" y="99069"/>
                    </a:cubicBezTo>
                    <a:cubicBezTo>
                      <a:pt x="137946" y="130172"/>
                      <a:pt x="137562" y="161659"/>
                      <a:pt x="137562" y="193146"/>
                    </a:cubicBezTo>
                    <a:cubicBezTo>
                      <a:pt x="137178" y="195834"/>
                      <a:pt x="137178" y="199674"/>
                      <a:pt x="137178" y="204282"/>
                    </a:cubicBezTo>
                    <a:close/>
                  </a:path>
                </a:pathLst>
              </a:custGeom>
              <a:solidFill>
                <a:srgbClr val="F16924"/>
              </a:solidFill>
              <a:ln w="3834" cap="flat">
                <a:noFill/>
                <a:prstDash val="solid"/>
                <a:miter/>
              </a:ln>
            </p:spPr>
            <p:txBody>
              <a:bodyPr rtlCol="0" anchor="ctr"/>
              <a:lstStyle/>
              <a:p>
                <a:endParaRPr lang="en-US"/>
              </a:p>
            </p:txBody>
          </p:sp>
        </p:grpSp>
        <p:grpSp>
          <p:nvGrpSpPr>
            <p:cNvPr id="72" name="Graphic 2">
              <a:extLst>
                <a:ext uri="{FF2B5EF4-FFF2-40B4-BE49-F238E27FC236}">
                  <a16:creationId xmlns:a16="http://schemas.microsoft.com/office/drawing/2014/main" id="{214FCBA0-8214-56BE-6F21-DEA8B3D9F986}"/>
                </a:ext>
              </a:extLst>
            </p:cNvPr>
            <p:cNvGrpSpPr/>
            <p:nvPr userDrawn="1"/>
          </p:nvGrpSpPr>
          <p:grpSpPr>
            <a:xfrm>
              <a:off x="8360213" y="3458151"/>
              <a:ext cx="853935" cy="991043"/>
              <a:chOff x="2403525" y="3625384"/>
              <a:chExt cx="853935" cy="991043"/>
            </a:xfrm>
            <a:grpFill/>
          </p:grpSpPr>
          <p:sp>
            <p:nvSpPr>
              <p:cNvPr id="73" name="Freeform 72">
                <a:extLst>
                  <a:ext uri="{FF2B5EF4-FFF2-40B4-BE49-F238E27FC236}">
                    <a16:creationId xmlns:a16="http://schemas.microsoft.com/office/drawing/2014/main" id="{635F6AEF-A772-C6DB-23A0-AAB68EF8F64A}"/>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F35B6F86-6232-9187-16D9-0449F8D20F6C}"/>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C3317D83-D740-AFDB-351C-D49849BD1070}"/>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76" name="Freeform 75">
                <a:extLst>
                  <a:ext uri="{FF2B5EF4-FFF2-40B4-BE49-F238E27FC236}">
                    <a16:creationId xmlns:a16="http://schemas.microsoft.com/office/drawing/2014/main" id="{DF8A5D81-7D72-35AD-D031-8E1C06E175B3}"/>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884888376"/>
      </p:ext>
    </p:extLst>
  </p:cSld>
  <p:clrMapOvr>
    <a:masterClrMapping/>
  </p:clrMapOv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a:solidFill>
                  <a:schemeClr val="bg1"/>
                </a:solidFill>
              </a:rPr>
              <a:t>01 </a:t>
            </a:r>
            <a:r>
              <a:rPr lang="en-US">
                <a:solidFill>
                  <a:schemeClr val="bg1"/>
                </a:solidFill>
              </a:rPr>
              <a:t>Fase previa a la crisis</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533196" y="1544044"/>
            <a:ext cx="10658803" cy="4650317"/>
          </a:xfrm>
        </p:spPr>
        <p:txBody>
          <a:bodyPr>
            <a:noAutofit/>
          </a:bodyPr>
          <a:lstStyle/>
          <a:p>
            <a:pPr marL="12700" indent="-12700"/>
            <a:r>
              <a:rPr lang="en-GB" sz="2200">
                <a:latin typeface="Calibri" panose="020F0502020204030204" pitchFamily="34" charset="0"/>
                <a:ea typeface="Lato Light" panose="020F0502020204030203" pitchFamily="34" charset="0"/>
                <a:cs typeface="Calibri" panose="020F0502020204030204" pitchFamily="34" charset="0"/>
              </a:rPr>
              <a:t>La etapa previa a la crisis es una oportunidad para detectar y corregir las señales de alerta temprana para mejorar la previsión, pero ¿qué son exactamente esas señales imprevistas? Para ser exactos, las señales residen en los filtros cognitivos que conforman la interpretación del mundo por parte de las personas. Se denominan </a:t>
            </a:r>
            <a:r>
              <a:rPr lang="en-GB" sz="2200" b="1">
                <a:solidFill>
                  <a:schemeClr val="bg1"/>
                </a:solidFill>
                <a:latin typeface="Calibri" panose="020F0502020204030204" pitchFamily="34" charset="0"/>
                <a:ea typeface="Lato Light" panose="020F0502020204030203" pitchFamily="34" charset="0"/>
                <a:cs typeface="Calibri" panose="020F0502020204030204" pitchFamily="34" charset="0"/>
                <a:hlinkClick r:id="rId2"/>
              </a:rPr>
              <a:t>heurísticos</a:t>
            </a:r>
            <a:r>
              <a:rPr lang="en-GB" sz="2200">
                <a:latin typeface="Calibri" panose="020F0502020204030204" pitchFamily="34" charset="0"/>
                <a:ea typeface="Lato Light" panose="020F0502020204030203" pitchFamily="34" charset="0"/>
                <a:cs typeface="Calibri" panose="020F0502020204030204" pitchFamily="34" charset="0"/>
              </a:rPr>
              <a:t>, es decir, cualquier enfoque para la resolución de problemas o el autodescubrimiento que emplea un método práctico que no está garantizado que sea óptimo, perfecto o racional, pero que, sin embargo, es suficiente para alcanzar un objetivo o una aproximación inmediata y a corto plazo</a:t>
            </a:r>
          </a:p>
        </p:txBody>
      </p:sp>
      <p:grpSp>
        <p:nvGrpSpPr>
          <p:cNvPr id="3" name="Group 2">
            <a:extLst>
              <a:ext uri="{FF2B5EF4-FFF2-40B4-BE49-F238E27FC236}">
                <a16:creationId xmlns:a16="http://schemas.microsoft.com/office/drawing/2014/main" id="{77FEAF0F-B595-DA03-AE51-E7CA5AD4930C}"/>
              </a:ext>
            </a:extLst>
          </p:cNvPr>
          <p:cNvGrpSpPr/>
          <p:nvPr/>
        </p:nvGrpSpPr>
        <p:grpSpPr>
          <a:xfrm>
            <a:off x="7210306" y="4573339"/>
            <a:ext cx="4216035" cy="2093295"/>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17055" y="4511801"/>
              <a:ext cx="606307" cy="607812"/>
              <a:chOff x="3728648" y="2288053"/>
              <a:chExt cx="1103278" cy="1106017"/>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18818454">
            <a:off x="8776650" y="5735059"/>
            <a:ext cx="634727" cy="1066726"/>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nvGrpSpPr>
          <p:cNvPr id="67" name="Group 66">
            <a:extLst>
              <a:ext uri="{FF2B5EF4-FFF2-40B4-BE49-F238E27FC236}">
                <a16:creationId xmlns:a16="http://schemas.microsoft.com/office/drawing/2014/main" id="{EF0E4369-1C45-A720-79F3-18B59E01B877}"/>
              </a:ext>
            </a:extLst>
          </p:cNvPr>
          <p:cNvGrpSpPr/>
          <p:nvPr/>
        </p:nvGrpSpPr>
        <p:grpSpPr>
          <a:xfrm>
            <a:off x="465494" y="1852059"/>
            <a:ext cx="944305" cy="946650"/>
            <a:chOff x="3728648" y="2288053"/>
            <a:chExt cx="1103278" cy="1106017"/>
          </a:xfrm>
        </p:grpSpPr>
        <p:sp>
          <p:nvSpPr>
            <p:cNvPr id="68" name="Freeform 67">
              <a:extLst>
                <a:ext uri="{FF2B5EF4-FFF2-40B4-BE49-F238E27FC236}">
                  <a16:creationId xmlns:a16="http://schemas.microsoft.com/office/drawing/2014/main" id="{0C40E076-A9B5-7957-D346-D71AC17FCE9E}"/>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E982CD77-C423-DCF5-BE0A-C455E4341A94}"/>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F98089D0-7BE7-3372-F0CA-048B5BE05DE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73CF895E-44E0-FE9F-343C-C83686CEB5DC}"/>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966B25C2-8D68-42B2-EBE7-97FABD5F71E3}"/>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4C89743B-F147-E076-46B1-E607699AACA0}"/>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948C010C-CECC-F788-590A-091F0207C627}"/>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9A718581-87E3-52E5-814C-7B86A89ACA4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6" name="Freeform 75">
              <a:extLst>
                <a:ext uri="{FF2B5EF4-FFF2-40B4-BE49-F238E27FC236}">
                  <a16:creationId xmlns:a16="http://schemas.microsoft.com/office/drawing/2014/main" id="{4CB776D0-0A81-0186-5975-CBF4DCC651FB}"/>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77" name="Freeform 76">
              <a:extLst>
                <a:ext uri="{FF2B5EF4-FFF2-40B4-BE49-F238E27FC236}">
                  <a16:creationId xmlns:a16="http://schemas.microsoft.com/office/drawing/2014/main" id="{F9AAEB5F-125A-8FDC-F317-C595A9FF31D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B1DD0803-9948-53EE-8626-49740AA72816}"/>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9F512A78-6C10-1BE9-49B2-30E56D4795C0}"/>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sp>
        <p:nvSpPr>
          <p:cNvPr id="2" name="Text Placeholder 12">
            <a:extLst>
              <a:ext uri="{FF2B5EF4-FFF2-40B4-BE49-F238E27FC236}">
                <a16:creationId xmlns:a16="http://schemas.microsoft.com/office/drawing/2014/main" id="{D621F928-289C-EF05-4889-058A6002A248}"/>
              </a:ext>
            </a:extLst>
          </p:cNvPr>
          <p:cNvSpPr txBox="1"/>
          <p:nvPr/>
        </p:nvSpPr>
        <p:spPr>
          <a:xfrm>
            <a:off x="526524" y="3494223"/>
            <a:ext cx="6957568" cy="259120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spcBef>
                <a:spcPct val="0"/>
              </a:spcBef>
            </a:pPr>
            <a:r>
              <a:rPr lang="en-GB" sz="2200" b="1">
                <a:solidFill>
                  <a:srgbClr val="B41F7A"/>
                </a:solidFill>
                <a:latin typeface="Calibri" panose="020F0502020204030204" pitchFamily="34" charset="0"/>
                <a:cs typeface="Calibri" panose="020F0502020204030204" pitchFamily="34" charset="0"/>
              </a:rPr>
              <a:t>Reducir</a:t>
            </a:r>
            <a:br>
              <a:rPr lang="en-GB" sz="2200">
                <a:latin typeface="Calibri" panose="020F0502020204030204" pitchFamily="34" charset="0"/>
                <a:cs typeface="Calibri" panose="020F0502020204030204" pitchFamily="34" charset="0"/>
              </a:rPr>
            </a:br>
            <a:r>
              <a:rPr lang="en-GB" sz="2200">
                <a:latin typeface="Calibri" panose="020F0502020204030204" pitchFamily="34" charset="0"/>
                <a:cs typeface="Calibri" panose="020F0502020204030204" pitchFamily="34" charset="0"/>
              </a:rPr>
              <a:t>Identificar y poner en marcha un conjunto de actividades que eviten una crisis, reduzcan la posibilidad de que se produzca un incidente o reduzcan los efectos perjudiciales de la crisis.</a:t>
            </a:r>
          </a:p>
          <a:p>
            <a:pPr marL="12700" indent="-12700">
              <a:spcBef>
                <a:spcPct val="0"/>
              </a:spcBef>
            </a:pPr>
            <a:endParaRPr lang="en-GB" sz="800">
              <a:latin typeface="Calibri" panose="020F0502020204030204" pitchFamily="34" charset="0"/>
              <a:cs typeface="Calibri" panose="020F0502020204030204" pitchFamily="34" charset="0"/>
            </a:endParaRPr>
          </a:p>
          <a:p>
            <a:pPr marL="12700" indent="-12700">
              <a:spcBef>
                <a:spcPct val="0"/>
              </a:spcBef>
            </a:pPr>
            <a:r>
              <a:rPr lang="en-GB" sz="2200" b="1">
                <a:solidFill>
                  <a:srgbClr val="B41F7A"/>
                </a:solidFill>
                <a:latin typeface="Calibri" panose="020F0502020204030204" pitchFamily="34" charset="0"/>
                <a:cs typeface="Calibri" panose="020F0502020204030204" pitchFamily="34" charset="0"/>
              </a:rPr>
              <a:t>Prepare </a:t>
            </a:r>
          </a:p>
          <a:p>
            <a:pPr marL="12700" indent="-12700">
              <a:spcBef>
                <a:spcPct val="0"/>
              </a:spcBef>
            </a:pPr>
            <a:r>
              <a:rPr lang="en-GB" sz="2200">
                <a:latin typeface="Calibri" panose="020F0502020204030204" pitchFamily="34" charset="0"/>
                <a:cs typeface="Calibri" panose="020F0502020204030204" pitchFamily="34" charset="0"/>
              </a:rPr>
              <a:t>Desarrollo y aplicación de un programa o plan de gestión de crisis que incluya la aplicación de procedimientos y la formación.</a:t>
            </a:r>
          </a:p>
          <a:p>
            <a:pPr marL="12700" indent="-12700">
              <a:spcBef>
                <a:spcPct val="0"/>
              </a:spcBef>
            </a:pPr>
            <a:endParaRPr lang="en-GB" sz="2200">
              <a:latin typeface="Calibri" panose="020F0502020204030204" pitchFamily="34" charset="0"/>
              <a:ea typeface="Lato Light" panose="020F0502020204030203" pitchFamily="34" charset="0"/>
              <a:cs typeface="Calibri" panose="020F0502020204030204" pitchFamily="34" charset="0"/>
            </a:endParaRPr>
          </a:p>
        </p:txBody>
      </p:sp>
      <p:sp>
        <p:nvSpPr>
          <p:cNvPr id="40" name="TextBox 39">
            <a:extLst>
              <a:ext uri="{FF2B5EF4-FFF2-40B4-BE49-F238E27FC236}">
                <a16:creationId xmlns:a16="http://schemas.microsoft.com/office/drawing/2014/main" id="{5AE901CC-2486-4640-FA00-CBA42AA16DFA}"/>
              </a:ext>
            </a:extLst>
          </p:cNvPr>
          <p:cNvSpPr txBox="1"/>
          <p:nvPr/>
        </p:nvSpPr>
        <p:spPr>
          <a:xfrm>
            <a:off x="1908080" y="6230113"/>
            <a:ext cx="6100762" cy="369332"/>
          </a:xfrm>
          <a:prstGeom prst="rect">
            <a:avLst/>
          </a:prstGeom>
          <a:noFill/>
        </p:spPr>
        <p:txBody>
          <a:bodyPr wrap="square">
            <a:spAutoFit/>
          </a:bodyPr>
          <a:lstStyle/>
          <a:p>
            <a:pPr marL="12700" indent="-12700"/>
            <a:r>
              <a:rPr lang="en-GB" sz="1800">
                <a:solidFill>
                  <a:srgbClr val="595959"/>
                </a:solidFill>
                <a:latin typeface="Calibri" panose="020F0502020204030204" pitchFamily="34" charset="0"/>
                <a:ea typeface="Lato Light" panose="020F0502020204030203" pitchFamily="34" charset="0"/>
                <a:cs typeface="Calibri" panose="020F0502020204030204" pitchFamily="34" charset="0"/>
              </a:rPr>
              <a:t>CRÉDITO - </a:t>
            </a:r>
            <a:r>
              <a:rPr lang="en-IE" sz="1800">
                <a:solidFill>
                  <a:srgbClr val="595959"/>
                </a:solidFill>
                <a:latin typeface="Calibri" panose="020F0502020204030204" pitchFamily="34" charset="0"/>
                <a:cs typeface="Calibri" panose="020F0502020204030204" pitchFamily="34" charset="0"/>
                <a:hlinkClick r:id="rId3">
                  <a:extLst>
                    <a:ext uri="{A12FA001-AC4F-418D-AE19-62706E023703}">
                      <ahyp:hlinkClr xmlns:ahyp="http://schemas.microsoft.com/office/drawing/2018/hyperlinkcolor" val="tx"/>
                    </a:ext>
                  </a:extLst>
                </a:hlinkClick>
              </a:rPr>
              <a:t>Etapas de la crisis: Precrisis (bcm-institute.org)</a:t>
            </a:r>
            <a:endParaRPr lang="en-GB" sz="1800">
              <a:solidFill>
                <a:srgbClr val="595959"/>
              </a:solidFill>
              <a:latin typeface="Calibri" panose="020F0502020204030204" pitchFamily="34" charset="0"/>
              <a:ea typeface="Lato Light" panose="020F0502020204030203" pitchFamily="34" charset="0"/>
              <a:cs typeface="Calibri" panose="020F0502020204030204" pitchFamily="34" charset="0"/>
            </a:endParaRPr>
          </a:p>
        </p:txBody>
      </p:sp>
    </p:spTree>
    <p:extLst>
      <p:ext uri="{BB962C8B-B14F-4D97-AF65-F5344CB8AC3E}">
        <p14:creationId xmlns:p14="http://schemas.microsoft.com/office/powerpoint/2010/main" val="1341626931"/>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a:solidFill>
                  <a:schemeClr val="bg1"/>
                </a:solidFill>
              </a:rPr>
              <a:t>01 </a:t>
            </a:r>
            <a:r>
              <a:rPr lang="en-US">
                <a:solidFill>
                  <a:schemeClr val="bg1"/>
                </a:solidFill>
              </a:rPr>
              <a:t>Fase previa a la crisis</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831525" y="2270929"/>
            <a:ext cx="10090074" cy="3729568"/>
          </a:xfrm>
        </p:spPr>
        <p:txBody>
          <a:bodyPr numCol="2" spcCol="216000">
            <a:noAutofit/>
          </a:bodyPr>
          <a:lstStyle/>
          <a:p>
            <a:pPr marL="12700" indent="-12700" algn="just">
              <a:lnSpc>
                <a:spcPts val="2240"/>
              </a:lnSpc>
              <a:spcBef>
                <a:spcPct val="0"/>
              </a:spcBef>
            </a:pPr>
            <a:r>
              <a:rPr lang="en-GB" sz="2200" b="0" i="0">
                <a:effectLst/>
                <a:latin typeface="Calibri" panose="020F0502020204030204" pitchFamily="34" charset="0"/>
                <a:cs typeface="Calibri" panose="020F0502020204030204" pitchFamily="34" charset="0"/>
              </a:rPr>
              <a:t>Piense en la etapa de precrisis como "prevención".  Consiste en tratar de reducir los riesgos conocidos que podrían conducir a una crisis. Debe formar parte del programa de gestión de riesgos de una PYME. La preparación implica</a:t>
            </a:r>
          </a:p>
          <a:p>
            <a:pPr marL="342900" indent="-342900" algn="just">
              <a:lnSpc>
                <a:spcPts val="2240"/>
              </a:lnSpc>
              <a:spcBef>
                <a:spcPct val="0"/>
              </a:spcBef>
              <a:buClr>
                <a:srgbClr val="F16924"/>
              </a:buClr>
              <a:buFont typeface="Arial" panose="020B0604020202020204" pitchFamily="34" charset="0"/>
              <a:buChar char="•"/>
            </a:pPr>
            <a:r>
              <a:rPr lang="en-GB" sz="2200" b="0" i="0">
                <a:effectLst/>
                <a:latin typeface="Calibri" panose="020F0502020204030204" pitchFamily="34" charset="0"/>
                <a:cs typeface="Calibri" panose="020F0502020204030204" pitchFamily="34" charset="0"/>
              </a:rPr>
              <a:t>creación del plan de gestión de crisis,</a:t>
            </a:r>
          </a:p>
          <a:p>
            <a:pPr marL="342900" indent="-342900" algn="just">
              <a:lnSpc>
                <a:spcPts val="2240"/>
              </a:lnSpc>
              <a:spcBef>
                <a:spcPct val="0"/>
              </a:spcBef>
              <a:buClr>
                <a:srgbClr val="F16924"/>
              </a:buClr>
              <a:buFont typeface="Arial" panose="020B0604020202020204" pitchFamily="34" charset="0"/>
              <a:buChar char="•"/>
            </a:pPr>
            <a:r>
              <a:rPr lang="en-GB" sz="2200" b="0" i="0">
                <a:effectLst/>
                <a:latin typeface="Calibri" panose="020F0502020204030204" pitchFamily="34" charset="0"/>
                <a:cs typeface="Calibri" panose="020F0502020204030204" pitchFamily="34" charset="0"/>
              </a:rPr>
              <a:t>seleccionar y formar al equipo de gestión de crisis, y </a:t>
            </a:r>
          </a:p>
          <a:p>
            <a:pPr marL="342900" indent="-342900" algn="just">
              <a:lnSpc>
                <a:spcPts val="2240"/>
              </a:lnSpc>
              <a:spcBef>
                <a:spcPct val="0"/>
              </a:spcBef>
              <a:buClr>
                <a:srgbClr val="F16924"/>
              </a:buClr>
              <a:buFont typeface="Arial" panose="020B0604020202020204" pitchFamily="34" charset="0"/>
              <a:buChar char="•"/>
            </a:pPr>
            <a:r>
              <a:rPr lang="en-GB" sz="2200" b="0" i="0">
                <a:effectLst/>
                <a:latin typeface="Calibri" panose="020F0502020204030204" pitchFamily="34" charset="0"/>
                <a:cs typeface="Calibri" panose="020F0502020204030204" pitchFamily="34" charset="0"/>
              </a:rPr>
              <a:t>realizar ejercicios para poner a prueba el plan de gestión de crisis y el equipo de gestión de crisis.  </a:t>
            </a:r>
            <a:endParaRPr lang="en-GB" sz="2200">
              <a:latin typeface="Calibri" panose="020F0502020204030204" pitchFamily="34" charset="0"/>
              <a:cs typeface="Calibri" panose="020F0502020204030204" pitchFamily="34" charset="0"/>
            </a:endParaRPr>
          </a:p>
          <a:p>
            <a:pPr marL="12700" indent="-12700" algn="just">
              <a:lnSpc>
                <a:spcPts val="2240"/>
              </a:lnSpc>
              <a:spcBef>
                <a:spcPct val="0"/>
              </a:spcBef>
            </a:pPr>
            <a:endParaRPr lang="en-GB" sz="2200">
              <a:latin typeface="Calibri" panose="020F0502020204030204" pitchFamily="34" charset="0"/>
              <a:cs typeface="Calibri" panose="020F0502020204030204" pitchFamily="34" charset="0"/>
            </a:endParaRPr>
          </a:p>
          <a:p>
            <a:pPr marL="12700" indent="-12700" algn="just">
              <a:lnSpc>
                <a:spcPts val="2240"/>
              </a:lnSpc>
              <a:spcBef>
                <a:spcPct val="0"/>
              </a:spcBef>
            </a:pPr>
            <a:r>
              <a:rPr lang="en-GB" sz="2200" b="0" i="0">
                <a:effectLst/>
                <a:latin typeface="Calibri" panose="020F0502020204030204" pitchFamily="34" charset="0"/>
                <a:cs typeface="Calibri" panose="020F0502020204030204" pitchFamily="34" charset="0"/>
              </a:rPr>
              <a:t>Durante esta etapa, </a:t>
            </a:r>
            <a:r>
              <a:rPr lang="en-GB" sz="2200">
                <a:latin typeface="Calibri" panose="020F0502020204030204" pitchFamily="34" charset="0"/>
                <a:cs typeface="Calibri" panose="020F0502020204030204" pitchFamily="34" charset="0"/>
              </a:rPr>
              <a:t>un </a:t>
            </a:r>
            <a:r>
              <a:rPr lang="en-GB" sz="2200" b="0" i="0">
                <a:effectLst/>
                <a:latin typeface="Calibri" panose="020F0502020204030204" pitchFamily="34" charset="0"/>
                <a:cs typeface="Calibri" panose="020F0502020204030204" pitchFamily="34" charset="0"/>
              </a:rPr>
              <a:t>equipo de gestión de crisis debe elaborar una lista exhaustiva de todas las posibles crisis que podrían afectar a la PYME. Esto incluye tener en cuenta los retos anteriores y asegurarse de que se dispone de los recursos adecuados para evitar que se repitan las situaciones. La revisión de esta lista puede ayudar a identificar situaciones que se pueden prevenir modificando los procesos y procedimientos existentes.</a:t>
            </a:r>
          </a:p>
          <a:p>
            <a:pPr marL="12700" indent="-12700" algn="just">
              <a:lnSpc>
                <a:spcPts val="2240"/>
              </a:lnSpc>
              <a:spcBef>
                <a:spcPct val="0"/>
              </a:spcBef>
            </a:pPr>
            <a:endParaRPr lang="en-GB" sz="2200" b="0" i="0">
              <a:effectLst/>
              <a:latin typeface="Calibri" panose="020F0502020204030204" pitchFamily="34" charset="0"/>
              <a:cs typeface="Calibri" panose="020F0502020204030204" pitchFamily="34" charset="0"/>
            </a:endParaRPr>
          </a:p>
          <a:p>
            <a:pPr marL="12700" indent="-12700" algn="just">
              <a:lnSpc>
                <a:spcPts val="2240"/>
              </a:lnSpc>
              <a:spcBef>
                <a:spcPct val="0"/>
              </a:spcBef>
            </a:pPr>
            <a:r>
              <a:rPr lang="en-GB" sz="2200" b="0" i="0">
                <a:effectLst/>
                <a:latin typeface="Calibri" panose="020F0502020204030204" pitchFamily="34" charset="0"/>
                <a:cs typeface="Calibri" panose="020F0502020204030204" pitchFamily="34" charset="0"/>
              </a:rPr>
              <a:t>Una organización con un plan avanzado de gestión de crisis sabe exactamente qué hacer cuando </a:t>
            </a:r>
            <a:r>
              <a:rPr lang="en-GB" sz="2200">
                <a:latin typeface="Calibri" panose="020F0502020204030204" pitchFamily="34" charset="0"/>
                <a:cs typeface="Calibri" panose="020F0502020204030204" pitchFamily="34" charset="0"/>
              </a:rPr>
              <a:t>ocurre </a:t>
            </a:r>
            <a:r>
              <a:rPr lang="en-GB" sz="2200" b="0" i="0">
                <a:effectLst/>
                <a:latin typeface="Calibri" panose="020F0502020204030204" pitchFamily="34" charset="0"/>
                <a:cs typeface="Calibri" panose="020F0502020204030204" pitchFamily="34" charset="0"/>
              </a:rPr>
              <a:t>un desastre. Esto incluye la elaboración de una lista de posibles respuestas y de los mejores y peores escenarios.</a:t>
            </a:r>
          </a:p>
        </p:txBody>
      </p:sp>
      <p:grpSp>
        <p:nvGrpSpPr>
          <p:cNvPr id="67" name="Group 66">
            <a:extLst>
              <a:ext uri="{FF2B5EF4-FFF2-40B4-BE49-F238E27FC236}">
                <a16:creationId xmlns:a16="http://schemas.microsoft.com/office/drawing/2014/main" id="{EF0E4369-1C45-A720-79F3-18B59E01B877}"/>
              </a:ext>
            </a:extLst>
          </p:cNvPr>
          <p:cNvGrpSpPr/>
          <p:nvPr/>
        </p:nvGrpSpPr>
        <p:grpSpPr>
          <a:xfrm>
            <a:off x="465494" y="1852059"/>
            <a:ext cx="944305" cy="946650"/>
            <a:chOff x="3728648" y="2288053"/>
            <a:chExt cx="1103278" cy="1106017"/>
          </a:xfrm>
        </p:grpSpPr>
        <p:sp>
          <p:nvSpPr>
            <p:cNvPr id="68" name="Freeform 67">
              <a:extLst>
                <a:ext uri="{FF2B5EF4-FFF2-40B4-BE49-F238E27FC236}">
                  <a16:creationId xmlns:a16="http://schemas.microsoft.com/office/drawing/2014/main" id="{0C40E076-A9B5-7957-D346-D71AC17FCE9E}"/>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E982CD77-C423-DCF5-BE0A-C455E4341A94}"/>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F98089D0-7BE7-3372-F0CA-048B5BE05DE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73CF895E-44E0-FE9F-343C-C83686CEB5DC}"/>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966B25C2-8D68-42B2-EBE7-97FABD5F71E3}"/>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4C89743B-F147-E076-46B1-E607699AACA0}"/>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948C010C-CECC-F788-590A-091F0207C627}"/>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9A718581-87E3-52E5-814C-7B86A89ACA4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6" name="Freeform 75">
              <a:extLst>
                <a:ext uri="{FF2B5EF4-FFF2-40B4-BE49-F238E27FC236}">
                  <a16:creationId xmlns:a16="http://schemas.microsoft.com/office/drawing/2014/main" id="{4CB776D0-0A81-0186-5975-CBF4DCC651FB}"/>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77" name="Freeform 76">
              <a:extLst>
                <a:ext uri="{FF2B5EF4-FFF2-40B4-BE49-F238E27FC236}">
                  <a16:creationId xmlns:a16="http://schemas.microsoft.com/office/drawing/2014/main" id="{F9AAEB5F-125A-8FDC-F317-C595A9FF31D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B1DD0803-9948-53EE-8626-49740AA72816}"/>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9F512A78-6C10-1BE9-49B2-30E56D4795C0}"/>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sp>
        <p:nvSpPr>
          <p:cNvPr id="2" name="Text Placeholder 12">
            <a:extLst>
              <a:ext uri="{FF2B5EF4-FFF2-40B4-BE49-F238E27FC236}">
                <a16:creationId xmlns:a16="http://schemas.microsoft.com/office/drawing/2014/main" id="{4E775511-0F7D-86DF-F599-0529AC62FD62}"/>
              </a:ext>
            </a:extLst>
          </p:cNvPr>
          <p:cNvSpPr txBox="1"/>
          <p:nvPr/>
        </p:nvSpPr>
        <p:spPr>
          <a:xfrm>
            <a:off x="1831526" y="1755650"/>
            <a:ext cx="9515167" cy="1043060"/>
          </a:xfrm>
          <a:prstGeom prst="rect">
            <a:avLst/>
          </a:prstGeom>
        </p:spPr>
        <p:txBody>
          <a:bodyPr vert="horz" lIns="91440" tIns="45720" rIns="91440" bIns="45720" numCol="2" spcCol="14400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2200" b="1">
                <a:solidFill>
                  <a:srgbClr val="B41F7A"/>
                </a:solidFill>
                <a:latin typeface="Calibri" panose="020F0502020204030204" pitchFamily="34" charset="0"/>
                <a:cs typeface="Calibri" panose="020F0502020204030204" pitchFamily="34" charset="0"/>
              </a:rPr>
              <a:t>Prevención</a:t>
            </a:r>
          </a:p>
        </p:txBody>
      </p:sp>
    </p:spTree>
    <p:extLst>
      <p:ext uri="{BB962C8B-B14F-4D97-AF65-F5344CB8AC3E}">
        <p14:creationId xmlns:p14="http://schemas.microsoft.com/office/powerpoint/2010/main" val="1765516098"/>
      </p:ext>
    </p:extLst>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a:solidFill>
                  <a:schemeClr val="bg1"/>
                </a:solidFill>
              </a:rPr>
              <a:t>01 </a:t>
            </a:r>
            <a:r>
              <a:rPr lang="en-US">
                <a:solidFill>
                  <a:schemeClr val="bg1"/>
                </a:solidFill>
              </a:rPr>
              <a:t>Fase previa a la crisis</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831525" y="2375564"/>
            <a:ext cx="9515167" cy="3891897"/>
          </a:xfrm>
        </p:spPr>
        <p:txBody>
          <a:bodyPr numCol="2" spcCol="216000">
            <a:noAutofit/>
          </a:bodyPr>
          <a:lstStyle/>
          <a:p>
            <a:pPr marL="12700" indent="-12700" algn="just">
              <a:lnSpc>
                <a:spcPts val="2240"/>
              </a:lnSpc>
              <a:spcBef>
                <a:spcPct val="0"/>
              </a:spcBef>
            </a:pPr>
            <a:r>
              <a:rPr lang="en-GB" sz="2200" b="0" i="0">
                <a:effectLst/>
                <a:latin typeface="Calibri" panose="020F0502020204030204" pitchFamily="34" charset="0"/>
                <a:cs typeface="Calibri" panose="020F0502020204030204" pitchFamily="34" charset="0"/>
              </a:rPr>
              <a:t>Todo el equipo de gestión de crisis debe estar incluido en el desarrollo del plan y debe conocer todos los procesos y procedimientos finales</a:t>
            </a:r>
            <a:r>
              <a:rPr lang="en-GB" sz="2200" b="0" i="0">
                <a:effectLst/>
                <a:latin typeface="Calibri" panose="020F0502020204030204" pitchFamily="34" charset="0"/>
                <a:ea typeface="Lato Light" panose="020F0502020204030203" pitchFamily="34" charset="0"/>
                <a:cs typeface="Calibri" panose="020F0502020204030204" pitchFamily="34" charset="0"/>
              </a:rPr>
              <a:t>. </a:t>
            </a:r>
          </a:p>
          <a:p>
            <a:pPr marL="12700" indent="-12700" algn="just">
              <a:lnSpc>
                <a:spcPts val="2240"/>
              </a:lnSpc>
              <a:spcBef>
                <a:spcPct val="0"/>
              </a:spcBef>
            </a:pPr>
            <a:endParaRPr lang="en-GB" sz="2200">
              <a:latin typeface="Calibri" panose="020F0502020204030204" pitchFamily="34" charset="0"/>
              <a:ea typeface="Lato Light" panose="020F0502020204030203" pitchFamily="34" charset="0"/>
              <a:cs typeface="Calibri" panose="020F0502020204030204" pitchFamily="34" charset="0"/>
            </a:endParaRPr>
          </a:p>
          <a:p>
            <a:pPr marL="12700" indent="-12700" algn="just">
              <a:lnSpc>
                <a:spcPts val="2240"/>
              </a:lnSpc>
              <a:spcBef>
                <a:spcPct val="0"/>
              </a:spcBef>
            </a:pPr>
            <a:r>
              <a:rPr lang="en-GB" sz="2200">
                <a:latin typeface="Calibri" panose="020F0502020204030204" pitchFamily="34" charset="0"/>
                <a:ea typeface="Lato Light" panose="020F0502020204030203" pitchFamily="34" charset="0"/>
                <a:cs typeface="Calibri" panose="020F0502020204030204" pitchFamily="34" charset="0"/>
              </a:rPr>
              <a:t>La prevención consiste en tratar de reducir los riesgos conocidos que podrían conducir a una crisis.  Forma parte del programa de gestión de riesgos de una organización. La preparación implica la creación del plan de gestión de crisis, la selección y formación del equipo de gestión de crisis y la realización de ejercicios para poner a prueba el plan y el equipo de gestión de crisis. </a:t>
            </a:r>
          </a:p>
          <a:p>
            <a:pPr marL="12700" indent="-12700" algn="just">
              <a:lnSpc>
                <a:spcPts val="2240"/>
              </a:lnSpc>
              <a:spcBef>
                <a:spcPct val="0"/>
              </a:spcBef>
            </a:pPr>
            <a:endParaRPr lang="en-GB" sz="2200">
              <a:latin typeface="Calibri" panose="020F0502020204030204" pitchFamily="34" charset="0"/>
              <a:ea typeface="Lato Light" panose="020F0502020204030203" pitchFamily="34" charset="0"/>
              <a:cs typeface="Calibri" panose="020F0502020204030204" pitchFamily="34" charset="0"/>
            </a:endParaRPr>
          </a:p>
          <a:p>
            <a:pPr marL="12700" indent="-12700" algn="just">
              <a:lnSpc>
                <a:spcPts val="2240"/>
              </a:lnSpc>
              <a:spcBef>
                <a:spcPct val="0"/>
              </a:spcBef>
            </a:pPr>
            <a:r>
              <a:rPr lang="en-GB" sz="2200" b="0" i="0">
                <a:effectLst/>
                <a:latin typeface="Calibri" panose="020F0502020204030204" pitchFamily="34" charset="0"/>
                <a:cs typeface="Calibri" panose="020F0502020204030204" pitchFamily="34" charset="0"/>
              </a:rPr>
              <a:t>Desde el punto de vista de la comunicación de crisis, la designación de un portavoz de la empresa, una lista de recursos disponibles y un plan paso a paso para combatir las crisis ayudan a que la situación se maneje de manera profesional y unificada, evitando la aparición de un caos adicional.</a:t>
            </a:r>
          </a:p>
          <a:p>
            <a:pPr marL="12700" indent="-12700" algn="just">
              <a:lnSpc>
                <a:spcPts val="2240"/>
              </a:lnSpc>
              <a:spcBef>
                <a:spcPct val="0"/>
              </a:spcBef>
            </a:pPr>
            <a:endParaRPr lang="en-GB" sz="2200" b="0" i="0">
              <a:effectLst/>
              <a:latin typeface="Calibri" panose="020F0502020204030204" pitchFamily="34" charset="0"/>
              <a:cs typeface="Calibri" panose="020F0502020204030204" pitchFamily="34" charset="0"/>
            </a:endParaRPr>
          </a:p>
        </p:txBody>
      </p:sp>
      <p:grpSp>
        <p:nvGrpSpPr>
          <p:cNvPr id="67" name="Group 66">
            <a:extLst>
              <a:ext uri="{FF2B5EF4-FFF2-40B4-BE49-F238E27FC236}">
                <a16:creationId xmlns:a16="http://schemas.microsoft.com/office/drawing/2014/main" id="{EF0E4369-1C45-A720-79F3-18B59E01B877}"/>
              </a:ext>
            </a:extLst>
          </p:cNvPr>
          <p:cNvGrpSpPr/>
          <p:nvPr/>
        </p:nvGrpSpPr>
        <p:grpSpPr>
          <a:xfrm>
            <a:off x="465494" y="1852059"/>
            <a:ext cx="944305" cy="946650"/>
            <a:chOff x="3728648" y="2288053"/>
            <a:chExt cx="1103278" cy="1106017"/>
          </a:xfrm>
        </p:grpSpPr>
        <p:sp>
          <p:nvSpPr>
            <p:cNvPr id="68" name="Freeform 67">
              <a:extLst>
                <a:ext uri="{FF2B5EF4-FFF2-40B4-BE49-F238E27FC236}">
                  <a16:creationId xmlns:a16="http://schemas.microsoft.com/office/drawing/2014/main" id="{0C40E076-A9B5-7957-D346-D71AC17FCE9E}"/>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E982CD77-C423-DCF5-BE0A-C455E4341A94}"/>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F98089D0-7BE7-3372-F0CA-048B5BE05DE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73CF895E-44E0-FE9F-343C-C83686CEB5DC}"/>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966B25C2-8D68-42B2-EBE7-97FABD5F71E3}"/>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4C89743B-F147-E076-46B1-E607699AACA0}"/>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74" name="Freeform 73">
              <a:extLst>
                <a:ext uri="{FF2B5EF4-FFF2-40B4-BE49-F238E27FC236}">
                  <a16:creationId xmlns:a16="http://schemas.microsoft.com/office/drawing/2014/main" id="{948C010C-CECC-F788-590A-091F0207C627}"/>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5" name="Freeform 74">
              <a:extLst>
                <a:ext uri="{FF2B5EF4-FFF2-40B4-BE49-F238E27FC236}">
                  <a16:creationId xmlns:a16="http://schemas.microsoft.com/office/drawing/2014/main" id="{9A718581-87E3-52E5-814C-7B86A89ACA4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76" name="Freeform 75">
              <a:extLst>
                <a:ext uri="{FF2B5EF4-FFF2-40B4-BE49-F238E27FC236}">
                  <a16:creationId xmlns:a16="http://schemas.microsoft.com/office/drawing/2014/main" id="{4CB776D0-0A81-0186-5975-CBF4DCC651FB}"/>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77" name="Freeform 76">
              <a:extLst>
                <a:ext uri="{FF2B5EF4-FFF2-40B4-BE49-F238E27FC236}">
                  <a16:creationId xmlns:a16="http://schemas.microsoft.com/office/drawing/2014/main" id="{F9AAEB5F-125A-8FDC-F317-C595A9FF31D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78" name="Freeform 77">
              <a:extLst>
                <a:ext uri="{FF2B5EF4-FFF2-40B4-BE49-F238E27FC236}">
                  <a16:creationId xmlns:a16="http://schemas.microsoft.com/office/drawing/2014/main" id="{B1DD0803-9948-53EE-8626-49740AA72816}"/>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79" name="Freeform 78">
              <a:extLst>
                <a:ext uri="{FF2B5EF4-FFF2-40B4-BE49-F238E27FC236}">
                  <a16:creationId xmlns:a16="http://schemas.microsoft.com/office/drawing/2014/main" id="{9F512A78-6C10-1BE9-49B2-30E56D4795C0}"/>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sp>
        <p:nvSpPr>
          <p:cNvPr id="2" name="Text Placeholder 12">
            <a:extLst>
              <a:ext uri="{FF2B5EF4-FFF2-40B4-BE49-F238E27FC236}">
                <a16:creationId xmlns:a16="http://schemas.microsoft.com/office/drawing/2014/main" id="{4E775511-0F7D-86DF-F599-0529AC62FD62}"/>
              </a:ext>
            </a:extLst>
          </p:cNvPr>
          <p:cNvSpPr txBox="1"/>
          <p:nvPr/>
        </p:nvSpPr>
        <p:spPr>
          <a:xfrm>
            <a:off x="1831526" y="1755650"/>
            <a:ext cx="9515167" cy="1043060"/>
          </a:xfrm>
          <a:prstGeom prst="rect">
            <a:avLst/>
          </a:prstGeom>
        </p:spPr>
        <p:txBody>
          <a:bodyPr vert="horz" lIns="91440" tIns="45720" rIns="91440" bIns="45720" numCol="2" spcCol="144000" rtlCol="0">
            <a:no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2200" b="1">
                <a:solidFill>
                  <a:srgbClr val="B41F7A"/>
                </a:solidFill>
                <a:latin typeface="Calibri" panose="020F0502020204030204" pitchFamily="34" charset="0"/>
                <a:cs typeface="Calibri" panose="020F0502020204030204" pitchFamily="34" charset="0"/>
              </a:rPr>
              <a:t>Prevención</a:t>
            </a:r>
          </a:p>
        </p:txBody>
      </p:sp>
      <p:sp>
        <p:nvSpPr>
          <p:cNvPr id="3" name="TextBox 2">
            <a:extLst>
              <a:ext uri="{FF2B5EF4-FFF2-40B4-BE49-F238E27FC236}">
                <a16:creationId xmlns:a16="http://schemas.microsoft.com/office/drawing/2014/main" id="{CF749DBD-6F78-21D1-103B-04D91A0F15AA}"/>
              </a:ext>
            </a:extLst>
          </p:cNvPr>
          <p:cNvSpPr txBox="1"/>
          <p:nvPr/>
        </p:nvSpPr>
        <p:spPr>
          <a:xfrm>
            <a:off x="6589108" y="6082795"/>
            <a:ext cx="6100762" cy="369332"/>
          </a:xfrm>
          <a:prstGeom prst="rect">
            <a:avLst/>
          </a:prstGeom>
          <a:noFill/>
        </p:spPr>
        <p:txBody>
          <a:bodyPr wrap="square">
            <a:spAutoFit/>
          </a:bodyPr>
          <a:lstStyle/>
          <a:p>
            <a:pPr marL="12700" indent="-12700"/>
            <a:r>
              <a:rPr lang="en-GB" sz="1800">
                <a:solidFill>
                  <a:srgbClr val="595959"/>
                </a:solidFill>
                <a:latin typeface="Calibri" panose="020F0502020204030204" pitchFamily="34" charset="0"/>
                <a:ea typeface="Lato Light" panose="020F0502020204030203" pitchFamily="34" charset="0"/>
                <a:cs typeface="Calibri" panose="020F0502020204030204" pitchFamily="34" charset="0"/>
              </a:rPr>
              <a:t>CRÉDITO - </a:t>
            </a:r>
            <a:r>
              <a:rPr lang="en-IE" sz="1800">
                <a:solidFill>
                  <a:srgbClr val="595959"/>
                </a:solidFill>
                <a:latin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Etapas de la crisis: Precrisis (bcm-institute.org)</a:t>
            </a:r>
            <a:endParaRPr lang="en-GB" sz="1800">
              <a:solidFill>
                <a:srgbClr val="595959"/>
              </a:solidFill>
              <a:latin typeface="Calibri" panose="020F0502020204030204" pitchFamily="34" charset="0"/>
              <a:ea typeface="Lato Light" panose="020F0502020204030203" pitchFamily="34" charset="0"/>
              <a:cs typeface="Calibri" panose="020F0502020204030204" pitchFamily="34" charset="0"/>
            </a:endParaRPr>
          </a:p>
        </p:txBody>
      </p:sp>
    </p:spTree>
    <p:extLst>
      <p:ext uri="{BB962C8B-B14F-4D97-AF65-F5344CB8AC3E}">
        <p14:creationId xmlns:p14="http://schemas.microsoft.com/office/powerpoint/2010/main" val="822978623"/>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a:solidFill>
                  <a:schemeClr val="bg1"/>
                </a:solidFill>
              </a:rPr>
              <a:t>01 </a:t>
            </a:r>
            <a:r>
              <a:rPr lang="en-US">
                <a:solidFill>
                  <a:schemeClr val="bg1"/>
                </a:solidFill>
              </a:rPr>
              <a:t>Fase previa a la crisis</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911175" y="1915895"/>
            <a:ext cx="9515167" cy="4650317"/>
          </a:xfrm>
        </p:spPr>
        <p:txBody>
          <a:bodyPr>
            <a:normAutofit/>
          </a:bodyPr>
          <a:lstStyle/>
          <a:p>
            <a:pPr marL="12700" indent="-12700"/>
            <a:r>
              <a:rPr lang="en-GB" sz="2200">
                <a:latin typeface="Calibri" panose="020F0502020204030204" pitchFamily="34" charset="0"/>
                <a:ea typeface="Lato Light" panose="020F0502020204030203" pitchFamily="34" charset="0"/>
                <a:cs typeface="Calibri" panose="020F0502020204030204" pitchFamily="34" charset="0"/>
              </a:rPr>
              <a:t>Recapitulando, las PYMES son más capaces de manejar las crisis cuando:</a:t>
            </a:r>
          </a:p>
          <a:p>
            <a:pPr marL="457200" indent="-457200">
              <a:buClr>
                <a:srgbClr val="F16924"/>
              </a:buClr>
              <a:buFont typeface="+mj-lt"/>
              <a:buAutoNum type="arabicPeriod"/>
            </a:pPr>
            <a:endParaRPr lang="en-GB" sz="2200">
              <a:latin typeface="Calibri" panose="020F0502020204030204" pitchFamily="34" charset="0"/>
              <a:ea typeface="Lato Light" panose="020F0502020204030203" pitchFamily="34" charset="0"/>
              <a:cs typeface="Calibri" panose="020F0502020204030204" pitchFamily="34" charset="0"/>
            </a:endParaRPr>
          </a:p>
          <a:p>
            <a:pPr marL="457200" lvl="0" indent="-457200">
              <a:buClr>
                <a:srgbClr val="F16924"/>
              </a:buClr>
              <a:buFont typeface="+mj-lt"/>
              <a:buAutoNum type="arabicPeriod"/>
            </a:pPr>
            <a:r>
              <a:rPr lang="en-US" sz="2200"/>
              <a:t>Disponer de un plan de gestión de crisis que se actualice al menos anualmente </a:t>
            </a:r>
          </a:p>
          <a:p>
            <a:pPr marL="457200" lvl="0" indent="-457200">
              <a:buClr>
                <a:srgbClr val="F16924"/>
              </a:buClr>
              <a:buFont typeface="+mj-lt"/>
              <a:buAutoNum type="arabicPeriod"/>
            </a:pPr>
            <a:r>
              <a:rPr lang="en-US" sz="2200"/>
              <a:t>Tener un equipo de gestión de crisis designado</a:t>
            </a:r>
          </a:p>
          <a:p>
            <a:pPr marL="457200" lvl="0" indent="-457200">
              <a:buClr>
                <a:srgbClr val="F16924"/>
              </a:buClr>
              <a:buFont typeface="+mj-lt"/>
              <a:buAutoNum type="arabicPeriod"/>
            </a:pPr>
            <a:r>
              <a:rPr lang="en-US" sz="2200"/>
              <a:t>Realizar ejercicios para poner a prueba los planes y los equipos al menos una vez al año</a:t>
            </a:r>
          </a:p>
          <a:p>
            <a:pPr marL="457200" lvl="0" indent="-457200">
              <a:buClr>
                <a:srgbClr val="F16924"/>
              </a:buClr>
              <a:buFont typeface="+mj-lt"/>
              <a:buAutoNum type="arabicPeriod"/>
            </a:pPr>
            <a:r>
              <a:rPr lang="en-US" sz="2200"/>
              <a:t>Redactar previamente algunos mensajes de crisis</a:t>
            </a:r>
          </a:p>
          <a:p>
            <a:pPr marL="12700" indent="-12700"/>
            <a:r>
              <a:rPr lang="en-GB" sz="2200">
                <a:latin typeface="Calibri" panose="020F0502020204030204" pitchFamily="34" charset="0"/>
                <a:ea typeface="Lato Light" panose="020F0502020204030203" pitchFamily="34" charset="0"/>
                <a:cs typeface="Calibri" panose="020F0502020204030204" pitchFamily="34" charset="0"/>
              </a:rPr>
              <a:t> </a:t>
            </a:r>
          </a:p>
        </p:txBody>
      </p:sp>
      <p:grpSp>
        <p:nvGrpSpPr>
          <p:cNvPr id="3" name="Group 2">
            <a:extLst>
              <a:ext uri="{FF2B5EF4-FFF2-40B4-BE49-F238E27FC236}">
                <a16:creationId xmlns:a16="http://schemas.microsoft.com/office/drawing/2014/main" id="{77FEAF0F-B595-DA03-AE51-E7CA5AD4930C}"/>
              </a:ext>
            </a:extLst>
          </p:cNvPr>
          <p:cNvGrpSpPr/>
          <p:nvPr/>
        </p:nvGrpSpPr>
        <p:grpSpPr>
          <a:xfrm>
            <a:off x="7210306" y="4573339"/>
            <a:ext cx="4216035" cy="2093295"/>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17055" y="4511801"/>
              <a:ext cx="606307" cy="607812"/>
              <a:chOff x="3728648" y="2288053"/>
              <a:chExt cx="1103278" cy="1106017"/>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18818454">
            <a:off x="8776650" y="5735059"/>
            <a:ext cx="634727" cy="1066726"/>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nvGrpSpPr>
          <p:cNvPr id="2" name="Group 1">
            <a:extLst>
              <a:ext uri="{FF2B5EF4-FFF2-40B4-BE49-F238E27FC236}">
                <a16:creationId xmlns:a16="http://schemas.microsoft.com/office/drawing/2014/main" id="{97CEE594-CD15-457B-4652-4CE42FBABA84}"/>
              </a:ext>
            </a:extLst>
          </p:cNvPr>
          <p:cNvGrpSpPr/>
          <p:nvPr/>
        </p:nvGrpSpPr>
        <p:grpSpPr>
          <a:xfrm>
            <a:off x="465494" y="1852059"/>
            <a:ext cx="944305" cy="946650"/>
            <a:chOff x="3728648" y="2288053"/>
            <a:chExt cx="1103278" cy="1106017"/>
          </a:xfrm>
        </p:grpSpPr>
        <p:sp>
          <p:nvSpPr>
            <p:cNvPr id="47" name="Freeform 46">
              <a:extLst>
                <a:ext uri="{FF2B5EF4-FFF2-40B4-BE49-F238E27FC236}">
                  <a16:creationId xmlns:a16="http://schemas.microsoft.com/office/drawing/2014/main" id="{06486A43-BF45-F069-FB6D-F99FCBFE0160}"/>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solidFill>
              <a:srgbClr val="595959"/>
            </a:solidFill>
            <a:ln w="27426" cap="flat">
              <a:noFill/>
              <a:prstDash val="solid"/>
              <a:miter/>
            </a:ln>
          </p:spPr>
          <p:txBody>
            <a:bodyPr rtlCol="0" anchor="ctr"/>
            <a:lstStyle/>
            <a:p>
              <a:endParaRPr lang="en-US"/>
            </a:p>
          </p:txBody>
        </p:sp>
        <p:sp>
          <p:nvSpPr>
            <p:cNvPr id="48" name="Freeform 47">
              <a:extLst>
                <a:ext uri="{FF2B5EF4-FFF2-40B4-BE49-F238E27FC236}">
                  <a16:creationId xmlns:a16="http://schemas.microsoft.com/office/drawing/2014/main" id="{246B1444-D251-B957-A016-E04EFA2FD168}"/>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49" name="Freeform 48">
              <a:extLst>
                <a:ext uri="{FF2B5EF4-FFF2-40B4-BE49-F238E27FC236}">
                  <a16:creationId xmlns:a16="http://schemas.microsoft.com/office/drawing/2014/main" id="{ABB04471-3323-FA0D-EA34-ABC2A6B1FB16}"/>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595959"/>
            </a:solidFill>
            <a:ln w="27426" cap="flat">
              <a:noFill/>
              <a:prstDash val="solid"/>
              <a:miter/>
            </a:ln>
          </p:spPr>
          <p:txBody>
            <a:bodyPr rtlCol="0" anchor="ctr"/>
            <a:lstStyle/>
            <a:p>
              <a:endParaRPr lang="en-US"/>
            </a:p>
          </p:txBody>
        </p:sp>
        <p:sp>
          <p:nvSpPr>
            <p:cNvPr id="50" name="Freeform 49">
              <a:extLst>
                <a:ext uri="{FF2B5EF4-FFF2-40B4-BE49-F238E27FC236}">
                  <a16:creationId xmlns:a16="http://schemas.microsoft.com/office/drawing/2014/main" id="{667643C4-61CD-FB99-25DA-9D9396A7E28A}"/>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solidFill>
              <a:srgbClr val="F16924"/>
            </a:solidFill>
            <a:ln w="27426"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098EC4B0-E916-6821-BADF-EB4B5FFAA2D5}"/>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solidFill>
              <a:srgbClr val="F16924"/>
            </a:solidFill>
            <a:ln w="27426"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A4C88553-4773-9F33-AF0C-22CE8DC0B58D}"/>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solidFill>
              <a:srgbClr val="595959"/>
            </a:solidFill>
            <a:ln w="27426"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099EA05E-82E8-70A1-2B2F-BC1F1424E06A}"/>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54" name="Freeform 53">
              <a:extLst>
                <a:ext uri="{FF2B5EF4-FFF2-40B4-BE49-F238E27FC236}">
                  <a16:creationId xmlns:a16="http://schemas.microsoft.com/office/drawing/2014/main" id="{4481C2B6-9FB6-0E53-ADE6-897135E909EA}"/>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solidFill>
              <a:srgbClr val="F16924"/>
            </a:solidFill>
            <a:ln w="27426"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B326C7DD-7D58-884C-6B00-31D5B0B2EF01}"/>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solidFill>
              <a:srgbClr val="F16924"/>
            </a:solidFill>
            <a:ln w="27426" cap="flat">
              <a:noFill/>
              <a:prstDash val="solid"/>
              <a:miter/>
            </a:ln>
          </p:spPr>
          <p:txBody>
            <a:bodyPr rtlCol="0" anchor="ctr"/>
            <a:lstStyle/>
            <a:p>
              <a:endParaRPr lang="en-US"/>
            </a:p>
          </p:txBody>
        </p:sp>
        <p:sp>
          <p:nvSpPr>
            <p:cNvPr id="56" name="Freeform 55">
              <a:extLst>
                <a:ext uri="{FF2B5EF4-FFF2-40B4-BE49-F238E27FC236}">
                  <a16:creationId xmlns:a16="http://schemas.microsoft.com/office/drawing/2014/main" id="{2CB7F99C-9E6C-A02D-F6FF-E28AAE43C9C9}"/>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solidFill>
              <a:srgbClr val="F16924"/>
            </a:solidFill>
            <a:ln w="27426" cap="flat">
              <a:noFill/>
              <a:prstDash val="solid"/>
              <a:miter/>
            </a:ln>
          </p:spPr>
          <p:txBody>
            <a:bodyPr rtlCol="0" anchor="ctr"/>
            <a:lstStyle/>
            <a:p>
              <a:endParaRPr lang="en-US"/>
            </a:p>
          </p:txBody>
        </p:sp>
        <p:sp>
          <p:nvSpPr>
            <p:cNvPr id="57" name="Freeform 56">
              <a:extLst>
                <a:ext uri="{FF2B5EF4-FFF2-40B4-BE49-F238E27FC236}">
                  <a16:creationId xmlns:a16="http://schemas.microsoft.com/office/drawing/2014/main" id="{E840CC0B-F2FC-5583-BDBE-1C9F4B35D707}"/>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solidFill>
              <a:srgbClr val="F16924"/>
            </a:solidFill>
            <a:ln w="27426" cap="flat">
              <a:noFill/>
              <a:prstDash val="solid"/>
              <a:miter/>
            </a:ln>
          </p:spPr>
          <p:txBody>
            <a:bodyPr rtlCol="0" anchor="ctr"/>
            <a:lstStyle/>
            <a:p>
              <a:endParaRPr lang="en-US"/>
            </a:p>
          </p:txBody>
        </p:sp>
        <p:sp>
          <p:nvSpPr>
            <p:cNvPr id="58" name="Freeform 57">
              <a:extLst>
                <a:ext uri="{FF2B5EF4-FFF2-40B4-BE49-F238E27FC236}">
                  <a16:creationId xmlns:a16="http://schemas.microsoft.com/office/drawing/2014/main" id="{83A5B9BC-D19E-AFC6-AB42-82432A35E7E7}"/>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solidFill>
              <a:srgbClr val="F16924"/>
            </a:solidFill>
            <a:ln w="27426" cap="flat">
              <a:noFill/>
              <a:prstDash val="solid"/>
              <a:miter/>
            </a:ln>
          </p:spPr>
          <p:txBody>
            <a:bodyPr rtlCol="0" anchor="ctr"/>
            <a:lstStyle/>
            <a:p>
              <a:endParaRPr lang="en-US"/>
            </a:p>
          </p:txBody>
        </p:sp>
      </p:grpSp>
    </p:spTree>
    <p:extLst>
      <p:ext uri="{BB962C8B-B14F-4D97-AF65-F5344CB8AC3E}">
        <p14:creationId xmlns:p14="http://schemas.microsoft.com/office/powerpoint/2010/main" val="854512212"/>
      </p:ext>
    </p:extLst>
  </p:cSld>
  <p:clrMapOvr>
    <a:masterClrMapping/>
  </p:clrMapOv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a:solidFill>
                  <a:schemeClr val="bg1"/>
                </a:solidFill>
              </a:rPr>
              <a:t>02 </a:t>
            </a:r>
            <a:r>
              <a:rPr lang="en-US">
                <a:solidFill>
                  <a:schemeClr val="bg1"/>
                </a:solidFill>
              </a:rPr>
              <a:t>Respuesta a la crisis</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911175" y="1915895"/>
            <a:ext cx="9515167" cy="4650317"/>
          </a:xfrm>
        </p:spPr>
        <p:txBody>
          <a:bodyPr>
            <a:normAutofit/>
          </a:bodyPr>
          <a:lstStyle/>
          <a:p>
            <a:pPr marL="12700" indent="-12700" algn="just"/>
            <a:r>
              <a:rPr lang="en-GB" sz="2200">
                <a:latin typeface="Calibri" panose="020F0502020204030204" pitchFamily="34" charset="0"/>
                <a:ea typeface="Lato Light" panose="020F0502020204030203" pitchFamily="34" charset="0"/>
                <a:cs typeface="Calibri" panose="020F0502020204030204" pitchFamily="34" charset="0"/>
              </a:rPr>
              <a:t>La respuesta a la crisis es </a:t>
            </a:r>
            <a:r>
              <a:rPr lang="en-GB" sz="2200" b="1" u="sng">
                <a:latin typeface="Calibri" panose="020F0502020204030204" pitchFamily="34" charset="0"/>
                <a:ea typeface="Lato Light" panose="020F0502020204030203" pitchFamily="34" charset="0"/>
                <a:cs typeface="Calibri" panose="020F0502020204030204" pitchFamily="34" charset="0"/>
              </a:rPr>
              <a:t>lo que la dirección hace y dice </a:t>
            </a:r>
            <a:r>
              <a:rPr lang="en-GB" sz="2200">
                <a:latin typeface="Calibri" panose="020F0502020204030204" pitchFamily="34" charset="0"/>
                <a:ea typeface="Lato Light" panose="020F0502020204030203" pitchFamily="34" charset="0"/>
                <a:cs typeface="Calibri" panose="020F0502020204030204" pitchFamily="34" charset="0"/>
              </a:rPr>
              <a:t>durante y después de la crisis.  Las relaciones públicas desempeñan un papel fundamental en la respuesta a la crisis al ayudar a elaborar los mensajes que se envían a los distintos públicos.  Una gran cantidad de investigaciones han examinado la respuesta a la crisis.  </a:t>
            </a:r>
          </a:p>
          <a:p>
            <a:pPr marL="12700" indent="-12700"/>
            <a:endParaRPr lang="en-GB" sz="2200">
              <a:latin typeface="Calibri" panose="020F0502020204030204" pitchFamily="34" charset="0"/>
              <a:ea typeface="Lato Light" panose="020F0502020204030203" pitchFamily="34" charset="0"/>
              <a:cs typeface="Calibri" panose="020F0502020204030204" pitchFamily="34" charset="0"/>
            </a:endParaRPr>
          </a:p>
          <a:p>
            <a:pPr marL="12700" indent="-12700"/>
            <a:r>
              <a:rPr lang="en-GB" sz="2200" b="1">
                <a:latin typeface="Calibri" panose="020F0502020204030204" pitchFamily="34" charset="0"/>
                <a:ea typeface="Lato Light" panose="020F0502020204030203" pitchFamily="34" charset="0"/>
                <a:cs typeface="Calibri" panose="020F0502020204030204" pitchFamily="34" charset="0"/>
              </a:rPr>
              <a:t>Esta investigación se ha dividido en dos secciones:  </a:t>
            </a:r>
          </a:p>
          <a:p>
            <a:pPr marL="457200" indent="-457200">
              <a:buClr>
                <a:srgbClr val="F16924"/>
              </a:buClr>
              <a:buFont typeface="+mj-lt"/>
              <a:buAutoNum type="arabicPeriod"/>
            </a:pPr>
            <a:r>
              <a:rPr lang="en-GB" sz="2200">
                <a:latin typeface="Calibri" panose="020F0502020204030204" pitchFamily="34" charset="0"/>
                <a:ea typeface="Lato Light" panose="020F0502020204030203" pitchFamily="34" charset="0"/>
                <a:cs typeface="Calibri" panose="020F0502020204030204" pitchFamily="34" charset="0"/>
              </a:rPr>
              <a:t>la respuesta inicial a la crisis y</a:t>
            </a:r>
          </a:p>
          <a:p>
            <a:pPr marL="457200" indent="-457200">
              <a:buClr>
                <a:srgbClr val="F16924"/>
              </a:buClr>
              <a:buFont typeface="+mj-lt"/>
              <a:buAutoNum type="arabicPeriod"/>
            </a:pPr>
            <a:r>
              <a:rPr lang="en-GB" sz="2200">
                <a:latin typeface="Calibri" panose="020F0502020204030204" pitchFamily="34" charset="0"/>
                <a:ea typeface="Lato Light" panose="020F0502020204030203" pitchFamily="34" charset="0"/>
                <a:cs typeface="Calibri" panose="020F0502020204030204" pitchFamily="34" charset="0"/>
              </a:rPr>
              <a:t>la reparación de la reputación y las intenciones de comportamiento.</a:t>
            </a:r>
          </a:p>
          <a:p>
            <a:pPr marL="457200" indent="-457200">
              <a:buClr>
                <a:srgbClr val="F16924"/>
              </a:buClr>
              <a:buFont typeface="+mj-lt"/>
              <a:buAutoNum type="arabicPeriod"/>
            </a:pPr>
            <a:endParaRPr lang="en-GB" sz="2200">
              <a:latin typeface="Calibri" panose="020F0502020204030204" pitchFamily="34" charset="0"/>
              <a:ea typeface="Lato Light" panose="020F0502020204030203" pitchFamily="34" charset="0"/>
              <a:cs typeface="Calibri" panose="020F0502020204030204" pitchFamily="34" charset="0"/>
            </a:endParaRPr>
          </a:p>
          <a:p>
            <a:pPr marL="0" indent="0">
              <a:buClr>
                <a:srgbClr val="F16924"/>
              </a:buClr>
            </a:pPr>
            <a:r>
              <a:rPr lang="en-GB" sz="2200">
                <a:latin typeface="Calibri" panose="020F0502020204030204" pitchFamily="34" charset="0"/>
                <a:ea typeface="Lato Light" panose="020F0502020204030203" pitchFamily="34" charset="0"/>
                <a:cs typeface="Calibri" panose="020F0502020204030204" pitchFamily="34" charset="0"/>
              </a:rPr>
              <a:t>Más adelante en este curso, el MÓDULO 4 te equipará bien en términos de comunicación y relaciones públicas.</a:t>
            </a:r>
          </a:p>
        </p:txBody>
      </p:sp>
      <p:grpSp>
        <p:nvGrpSpPr>
          <p:cNvPr id="3" name="Group 2">
            <a:extLst>
              <a:ext uri="{FF2B5EF4-FFF2-40B4-BE49-F238E27FC236}">
                <a16:creationId xmlns:a16="http://schemas.microsoft.com/office/drawing/2014/main" id="{77FEAF0F-B595-DA03-AE51-E7CA5AD4930C}"/>
              </a:ext>
            </a:extLst>
          </p:cNvPr>
          <p:cNvGrpSpPr/>
          <p:nvPr/>
        </p:nvGrpSpPr>
        <p:grpSpPr>
          <a:xfrm>
            <a:off x="7210306" y="4573339"/>
            <a:ext cx="4216035" cy="2093295"/>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17055" y="4511801"/>
              <a:ext cx="606307" cy="607812"/>
              <a:chOff x="3728648" y="2288053"/>
              <a:chExt cx="1103278" cy="1106017"/>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1925567">
            <a:off x="9081128" y="5704164"/>
            <a:ext cx="634727" cy="1066726"/>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nvGrpSpPr>
          <p:cNvPr id="62" name="Group 61">
            <a:extLst>
              <a:ext uri="{FF2B5EF4-FFF2-40B4-BE49-F238E27FC236}">
                <a16:creationId xmlns:a16="http://schemas.microsoft.com/office/drawing/2014/main" id="{2E81A677-DA72-17E1-9332-6B74B3A3433F}"/>
              </a:ext>
            </a:extLst>
          </p:cNvPr>
          <p:cNvGrpSpPr/>
          <p:nvPr/>
        </p:nvGrpSpPr>
        <p:grpSpPr>
          <a:xfrm>
            <a:off x="397261" y="1795010"/>
            <a:ext cx="1012538" cy="1014493"/>
            <a:chOff x="7284496" y="2127428"/>
            <a:chExt cx="2245645" cy="2249982"/>
          </a:xfrm>
          <a:solidFill>
            <a:srgbClr val="595959"/>
          </a:solidFill>
        </p:grpSpPr>
        <p:grpSp>
          <p:nvGrpSpPr>
            <p:cNvPr id="63" name="Graphic 3">
              <a:extLst>
                <a:ext uri="{FF2B5EF4-FFF2-40B4-BE49-F238E27FC236}">
                  <a16:creationId xmlns:a16="http://schemas.microsoft.com/office/drawing/2014/main" id="{0E91A77A-5756-225C-8D3E-7C1BD017E10B}"/>
                </a:ext>
              </a:extLst>
            </p:cNvPr>
            <p:cNvGrpSpPr/>
            <p:nvPr/>
          </p:nvGrpSpPr>
          <p:grpSpPr>
            <a:xfrm>
              <a:off x="7284496" y="2127428"/>
              <a:ext cx="2245645" cy="2249982"/>
              <a:chOff x="5098317" y="2100784"/>
              <a:chExt cx="2245645" cy="2249982"/>
            </a:xfrm>
            <a:grpFill/>
          </p:grpSpPr>
          <p:sp>
            <p:nvSpPr>
              <p:cNvPr id="68" name="Freeform 67">
                <a:extLst>
                  <a:ext uri="{FF2B5EF4-FFF2-40B4-BE49-F238E27FC236}">
                    <a16:creationId xmlns:a16="http://schemas.microsoft.com/office/drawing/2014/main" id="{D61CE88D-DAC9-B307-5ED3-DD705C1EA427}"/>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FB707B84-03FD-7793-F153-1F18133F17C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1478DD49-64EC-1835-5409-F5E91E3207B5}"/>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FD12C702-8386-9CB2-5DF6-FF5A04DF05DF}"/>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B901E839-2206-5449-0FA1-20C7836764E9}"/>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6E40EEE5-C94F-72C3-8AB0-EAFBCFC703A6}"/>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grpSp>
          <p:nvGrpSpPr>
            <p:cNvPr id="64" name="Graphic 3">
              <a:extLst>
                <a:ext uri="{FF2B5EF4-FFF2-40B4-BE49-F238E27FC236}">
                  <a16:creationId xmlns:a16="http://schemas.microsoft.com/office/drawing/2014/main" id="{BC5366BE-F541-F027-7232-78600A98FFA2}"/>
                </a:ext>
              </a:extLst>
            </p:cNvPr>
            <p:cNvGrpSpPr/>
            <p:nvPr/>
          </p:nvGrpSpPr>
          <p:grpSpPr>
            <a:xfrm>
              <a:off x="8878245" y="2200268"/>
              <a:ext cx="144167" cy="725714"/>
              <a:chOff x="6692066" y="2173624"/>
              <a:chExt cx="144167" cy="725714"/>
            </a:xfrm>
            <a:grpFill/>
          </p:grpSpPr>
          <p:sp>
            <p:nvSpPr>
              <p:cNvPr id="65" name="Freeform 64">
                <a:extLst>
                  <a:ext uri="{FF2B5EF4-FFF2-40B4-BE49-F238E27FC236}">
                    <a16:creationId xmlns:a16="http://schemas.microsoft.com/office/drawing/2014/main" id="{EA9F6B40-57C8-BDB7-F0B4-75CDE9C889EE}"/>
                  </a:ext>
                </a:extLst>
              </p:cNvPr>
              <p:cNvSpPr/>
              <p:nvPr/>
            </p:nvSpPr>
            <p:spPr>
              <a:xfrm>
                <a:off x="6692066" y="2173624"/>
                <a:ext cx="144167" cy="434823"/>
              </a:xfrm>
              <a:custGeom>
                <a:avLst/>
                <a:gdLst>
                  <a:gd name="connsiteX0" fmla="*/ 111346 w 144167"/>
                  <a:gd name="connsiteY0" fmla="*/ 434824 h 434823"/>
                  <a:gd name="connsiteX1" fmla="*/ 33347 w 144167"/>
                  <a:gd name="connsiteY1" fmla="*/ 434824 h 434823"/>
                  <a:gd name="connsiteX2" fmla="*/ 22464 w 144167"/>
                  <a:gd name="connsiteY2" fmla="*/ 313872 h 434823"/>
                  <a:gd name="connsiteX3" fmla="*/ 697 w 144167"/>
                  <a:gd name="connsiteY3" fmla="*/ 54429 h 434823"/>
                  <a:gd name="connsiteX4" fmla="*/ 50278 w 144167"/>
                  <a:gd name="connsiteY4" fmla="*/ 0 h 434823"/>
                  <a:gd name="connsiteX5" fmla="*/ 104696 w 144167"/>
                  <a:gd name="connsiteY5" fmla="*/ 0 h 434823"/>
                  <a:gd name="connsiteX6" fmla="*/ 143997 w 144167"/>
                  <a:gd name="connsiteY6" fmla="*/ 42938 h 434823"/>
                  <a:gd name="connsiteX7" fmla="*/ 119207 w 144167"/>
                  <a:gd name="connsiteY7" fmla="*/ 336248 h 434823"/>
                  <a:gd name="connsiteX8" fmla="*/ 111346 w 144167"/>
                  <a:gd name="connsiteY8" fmla="*/ 434824 h 4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167" h="434823">
                    <a:moveTo>
                      <a:pt x="111346" y="434824"/>
                    </a:moveTo>
                    <a:cubicBezTo>
                      <a:pt x="84138" y="434824"/>
                      <a:pt x="60556" y="434824"/>
                      <a:pt x="33347" y="434824"/>
                    </a:cubicBezTo>
                    <a:cubicBezTo>
                      <a:pt x="29720" y="394305"/>
                      <a:pt x="26092" y="353786"/>
                      <a:pt x="22464" y="313872"/>
                    </a:cubicBezTo>
                    <a:cubicBezTo>
                      <a:pt x="15208" y="227391"/>
                      <a:pt x="8557" y="140910"/>
                      <a:pt x="697" y="54429"/>
                    </a:cubicBezTo>
                    <a:cubicBezTo>
                      <a:pt x="-2931" y="11491"/>
                      <a:pt x="6743" y="0"/>
                      <a:pt x="50278" y="0"/>
                    </a:cubicBezTo>
                    <a:cubicBezTo>
                      <a:pt x="68417" y="0"/>
                      <a:pt x="86556" y="0"/>
                      <a:pt x="104696" y="0"/>
                    </a:cubicBezTo>
                    <a:cubicBezTo>
                      <a:pt x="133113" y="605"/>
                      <a:pt x="145811" y="13910"/>
                      <a:pt x="143997" y="42938"/>
                    </a:cubicBezTo>
                    <a:cubicBezTo>
                      <a:pt x="136137" y="140910"/>
                      <a:pt x="127672" y="238276"/>
                      <a:pt x="119207" y="336248"/>
                    </a:cubicBezTo>
                    <a:cubicBezTo>
                      <a:pt x="116788" y="368905"/>
                      <a:pt x="114370" y="400957"/>
                      <a:pt x="111346" y="434824"/>
                    </a:cubicBezTo>
                    <a:close/>
                  </a:path>
                </a:pathLst>
              </a:custGeom>
              <a:solidFill>
                <a:srgbClr val="F16924"/>
              </a:solidFill>
              <a:ln w="6040" cap="flat">
                <a:noFill/>
                <a:prstDash val="solid"/>
                <a:miter/>
              </a:ln>
            </p:spPr>
            <p:txBody>
              <a:bodyPr rtlCol="0" anchor="ctr"/>
              <a:lstStyle/>
              <a:p>
                <a:endParaRPr lang="en-US"/>
              </a:p>
            </p:txBody>
          </p:sp>
          <p:sp>
            <p:nvSpPr>
              <p:cNvPr id="67" name="Freeform 66">
                <a:extLst>
                  <a:ext uri="{FF2B5EF4-FFF2-40B4-BE49-F238E27FC236}">
                    <a16:creationId xmlns:a16="http://schemas.microsoft.com/office/drawing/2014/main" id="{862D0DEA-6420-0DF5-C7E4-9EE6821AC04E}"/>
                  </a:ext>
                </a:extLst>
              </p:cNvPr>
              <p:cNvSpPr/>
              <p:nvPr/>
            </p:nvSpPr>
            <p:spPr>
              <a:xfrm>
                <a:off x="6728436" y="2827355"/>
                <a:ext cx="71952" cy="71982"/>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solidFill>
                <a:srgbClr val="F16924"/>
              </a:solidFill>
              <a:ln w="6040"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744048168"/>
      </p:ext>
    </p:extLst>
  </p:cSld>
  <p:clrMapOvr>
    <a:masterClrMapping/>
  </p:clrMapOv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a:solidFill>
                  <a:schemeClr val="bg1"/>
                </a:solidFill>
              </a:rPr>
              <a:t>02 </a:t>
            </a:r>
            <a:r>
              <a:rPr lang="en-US">
                <a:solidFill>
                  <a:schemeClr val="bg1"/>
                </a:solidFill>
              </a:rPr>
              <a:t>Respuesta a la crisis</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911176" y="1915895"/>
            <a:ext cx="3070520" cy="4650317"/>
          </a:xfrm>
        </p:spPr>
        <p:txBody>
          <a:bodyPr>
            <a:normAutofit/>
          </a:bodyPr>
          <a:lstStyle/>
          <a:p>
            <a:pPr marL="12700" indent="-12700"/>
            <a:r>
              <a:rPr lang="en-GB" sz="2200" b="1">
                <a:latin typeface="Calibri" panose="020F0502020204030204" pitchFamily="34" charset="0"/>
                <a:ea typeface="Lato Light" panose="020F0502020204030203" pitchFamily="34" charset="0"/>
                <a:cs typeface="Calibri" panose="020F0502020204030204" pitchFamily="34" charset="0"/>
              </a:rPr>
              <a:t>Las directrices iniciales de respuesta a la crisis se centran en tres puntos: </a:t>
            </a:r>
          </a:p>
          <a:p>
            <a:pPr marL="457200" indent="-457200">
              <a:buClr>
                <a:srgbClr val="F16924"/>
              </a:buClr>
              <a:buFont typeface="+mj-lt"/>
              <a:buAutoNum type="arabicPeriod"/>
            </a:pPr>
            <a:r>
              <a:rPr lang="en-GB" sz="2200">
                <a:latin typeface="Calibri" panose="020F0502020204030204" pitchFamily="34" charset="0"/>
                <a:ea typeface="Lato Light" panose="020F0502020204030203" pitchFamily="34" charset="0"/>
                <a:cs typeface="Calibri" panose="020F0502020204030204" pitchFamily="34" charset="0"/>
              </a:rPr>
              <a:t>sea rápido,</a:t>
            </a:r>
          </a:p>
          <a:p>
            <a:pPr marL="457200" indent="-457200">
              <a:buClr>
                <a:srgbClr val="F16924"/>
              </a:buClr>
              <a:buFont typeface="+mj-lt"/>
              <a:buAutoNum type="arabicPeriod"/>
            </a:pPr>
            <a:r>
              <a:rPr lang="en-GB" sz="2200">
                <a:latin typeface="Calibri" panose="020F0502020204030204" pitchFamily="34" charset="0"/>
                <a:ea typeface="Lato Light" panose="020F0502020204030203" pitchFamily="34" charset="0"/>
                <a:cs typeface="Calibri" panose="020F0502020204030204" pitchFamily="34" charset="0"/>
              </a:rPr>
              <a:t> precisa, </a:t>
            </a:r>
          </a:p>
          <a:p>
            <a:pPr marL="457200" indent="-457200">
              <a:buClr>
                <a:srgbClr val="F16924"/>
              </a:buClr>
              <a:buFont typeface="+mj-lt"/>
              <a:buAutoNum type="arabicPeriod"/>
            </a:pPr>
            <a:r>
              <a:rPr lang="en-GB" sz="2200">
                <a:latin typeface="Calibri" panose="020F0502020204030204" pitchFamily="34" charset="0"/>
                <a:ea typeface="Lato Light" panose="020F0502020204030203" pitchFamily="34" charset="0"/>
                <a:cs typeface="Calibri" panose="020F0502020204030204" pitchFamily="34" charset="0"/>
              </a:rPr>
              <a:t>y consistente.</a:t>
            </a:r>
          </a:p>
        </p:txBody>
      </p:sp>
      <p:grpSp>
        <p:nvGrpSpPr>
          <p:cNvPr id="3" name="Group 2">
            <a:extLst>
              <a:ext uri="{FF2B5EF4-FFF2-40B4-BE49-F238E27FC236}">
                <a16:creationId xmlns:a16="http://schemas.microsoft.com/office/drawing/2014/main" id="{77FEAF0F-B595-DA03-AE51-E7CA5AD4930C}"/>
              </a:ext>
            </a:extLst>
          </p:cNvPr>
          <p:cNvGrpSpPr/>
          <p:nvPr/>
        </p:nvGrpSpPr>
        <p:grpSpPr>
          <a:xfrm>
            <a:off x="7210306" y="4573339"/>
            <a:ext cx="4216035" cy="2093295"/>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17055" y="4511801"/>
              <a:ext cx="606307" cy="607812"/>
              <a:chOff x="3728648" y="2288053"/>
              <a:chExt cx="1103278" cy="1106017"/>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1925567">
            <a:off x="9081128" y="5704164"/>
            <a:ext cx="634727" cy="1066726"/>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nvGrpSpPr>
          <p:cNvPr id="62" name="Group 61">
            <a:extLst>
              <a:ext uri="{FF2B5EF4-FFF2-40B4-BE49-F238E27FC236}">
                <a16:creationId xmlns:a16="http://schemas.microsoft.com/office/drawing/2014/main" id="{2E81A677-DA72-17E1-9332-6B74B3A3433F}"/>
              </a:ext>
            </a:extLst>
          </p:cNvPr>
          <p:cNvGrpSpPr/>
          <p:nvPr/>
        </p:nvGrpSpPr>
        <p:grpSpPr>
          <a:xfrm>
            <a:off x="397261" y="1795010"/>
            <a:ext cx="1012538" cy="1014493"/>
            <a:chOff x="7284496" y="2127428"/>
            <a:chExt cx="2245645" cy="2249982"/>
          </a:xfrm>
          <a:solidFill>
            <a:srgbClr val="595959"/>
          </a:solidFill>
        </p:grpSpPr>
        <p:grpSp>
          <p:nvGrpSpPr>
            <p:cNvPr id="63" name="Graphic 3">
              <a:extLst>
                <a:ext uri="{FF2B5EF4-FFF2-40B4-BE49-F238E27FC236}">
                  <a16:creationId xmlns:a16="http://schemas.microsoft.com/office/drawing/2014/main" id="{0E91A77A-5756-225C-8D3E-7C1BD017E10B}"/>
                </a:ext>
              </a:extLst>
            </p:cNvPr>
            <p:cNvGrpSpPr/>
            <p:nvPr/>
          </p:nvGrpSpPr>
          <p:grpSpPr>
            <a:xfrm>
              <a:off x="7284496" y="2127428"/>
              <a:ext cx="2245645" cy="2249982"/>
              <a:chOff x="5098317" y="2100784"/>
              <a:chExt cx="2245645" cy="2249982"/>
            </a:xfrm>
            <a:grpFill/>
          </p:grpSpPr>
          <p:sp>
            <p:nvSpPr>
              <p:cNvPr id="68" name="Freeform 67">
                <a:extLst>
                  <a:ext uri="{FF2B5EF4-FFF2-40B4-BE49-F238E27FC236}">
                    <a16:creationId xmlns:a16="http://schemas.microsoft.com/office/drawing/2014/main" id="{D61CE88D-DAC9-B307-5ED3-DD705C1EA427}"/>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69" name="Freeform 68">
                <a:extLst>
                  <a:ext uri="{FF2B5EF4-FFF2-40B4-BE49-F238E27FC236}">
                    <a16:creationId xmlns:a16="http://schemas.microsoft.com/office/drawing/2014/main" id="{FB707B84-03FD-7793-F153-1F18133F17C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1478DD49-64EC-1835-5409-F5E91E3207B5}"/>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FD12C702-8386-9CB2-5DF6-FF5A04DF05DF}"/>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B901E839-2206-5449-0FA1-20C7836764E9}"/>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6E40EEE5-C94F-72C3-8AB0-EAFBCFC703A6}"/>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grpSp>
          <p:nvGrpSpPr>
            <p:cNvPr id="64" name="Graphic 3">
              <a:extLst>
                <a:ext uri="{FF2B5EF4-FFF2-40B4-BE49-F238E27FC236}">
                  <a16:creationId xmlns:a16="http://schemas.microsoft.com/office/drawing/2014/main" id="{BC5366BE-F541-F027-7232-78600A98FFA2}"/>
                </a:ext>
              </a:extLst>
            </p:cNvPr>
            <p:cNvGrpSpPr/>
            <p:nvPr/>
          </p:nvGrpSpPr>
          <p:grpSpPr>
            <a:xfrm>
              <a:off x="8878245" y="2200268"/>
              <a:ext cx="144167" cy="725714"/>
              <a:chOff x="6692066" y="2173624"/>
              <a:chExt cx="144167" cy="725714"/>
            </a:xfrm>
            <a:grpFill/>
          </p:grpSpPr>
          <p:sp>
            <p:nvSpPr>
              <p:cNvPr id="65" name="Freeform 64">
                <a:extLst>
                  <a:ext uri="{FF2B5EF4-FFF2-40B4-BE49-F238E27FC236}">
                    <a16:creationId xmlns:a16="http://schemas.microsoft.com/office/drawing/2014/main" id="{EA9F6B40-57C8-BDB7-F0B4-75CDE9C889EE}"/>
                  </a:ext>
                </a:extLst>
              </p:cNvPr>
              <p:cNvSpPr/>
              <p:nvPr/>
            </p:nvSpPr>
            <p:spPr>
              <a:xfrm>
                <a:off x="6692066" y="2173624"/>
                <a:ext cx="144167" cy="434823"/>
              </a:xfrm>
              <a:custGeom>
                <a:avLst/>
                <a:gdLst>
                  <a:gd name="connsiteX0" fmla="*/ 111346 w 144167"/>
                  <a:gd name="connsiteY0" fmla="*/ 434824 h 434823"/>
                  <a:gd name="connsiteX1" fmla="*/ 33347 w 144167"/>
                  <a:gd name="connsiteY1" fmla="*/ 434824 h 434823"/>
                  <a:gd name="connsiteX2" fmla="*/ 22464 w 144167"/>
                  <a:gd name="connsiteY2" fmla="*/ 313872 h 434823"/>
                  <a:gd name="connsiteX3" fmla="*/ 697 w 144167"/>
                  <a:gd name="connsiteY3" fmla="*/ 54429 h 434823"/>
                  <a:gd name="connsiteX4" fmla="*/ 50278 w 144167"/>
                  <a:gd name="connsiteY4" fmla="*/ 0 h 434823"/>
                  <a:gd name="connsiteX5" fmla="*/ 104696 w 144167"/>
                  <a:gd name="connsiteY5" fmla="*/ 0 h 434823"/>
                  <a:gd name="connsiteX6" fmla="*/ 143997 w 144167"/>
                  <a:gd name="connsiteY6" fmla="*/ 42938 h 434823"/>
                  <a:gd name="connsiteX7" fmla="*/ 119207 w 144167"/>
                  <a:gd name="connsiteY7" fmla="*/ 336248 h 434823"/>
                  <a:gd name="connsiteX8" fmla="*/ 111346 w 144167"/>
                  <a:gd name="connsiteY8" fmla="*/ 434824 h 4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167" h="434823">
                    <a:moveTo>
                      <a:pt x="111346" y="434824"/>
                    </a:moveTo>
                    <a:cubicBezTo>
                      <a:pt x="84138" y="434824"/>
                      <a:pt x="60556" y="434824"/>
                      <a:pt x="33347" y="434824"/>
                    </a:cubicBezTo>
                    <a:cubicBezTo>
                      <a:pt x="29720" y="394305"/>
                      <a:pt x="26092" y="353786"/>
                      <a:pt x="22464" y="313872"/>
                    </a:cubicBezTo>
                    <a:cubicBezTo>
                      <a:pt x="15208" y="227391"/>
                      <a:pt x="8557" y="140910"/>
                      <a:pt x="697" y="54429"/>
                    </a:cubicBezTo>
                    <a:cubicBezTo>
                      <a:pt x="-2931" y="11491"/>
                      <a:pt x="6743" y="0"/>
                      <a:pt x="50278" y="0"/>
                    </a:cubicBezTo>
                    <a:cubicBezTo>
                      <a:pt x="68417" y="0"/>
                      <a:pt x="86556" y="0"/>
                      <a:pt x="104696" y="0"/>
                    </a:cubicBezTo>
                    <a:cubicBezTo>
                      <a:pt x="133113" y="605"/>
                      <a:pt x="145811" y="13910"/>
                      <a:pt x="143997" y="42938"/>
                    </a:cubicBezTo>
                    <a:cubicBezTo>
                      <a:pt x="136137" y="140910"/>
                      <a:pt x="127672" y="238276"/>
                      <a:pt x="119207" y="336248"/>
                    </a:cubicBezTo>
                    <a:cubicBezTo>
                      <a:pt x="116788" y="368905"/>
                      <a:pt x="114370" y="400957"/>
                      <a:pt x="111346" y="434824"/>
                    </a:cubicBezTo>
                    <a:close/>
                  </a:path>
                </a:pathLst>
              </a:custGeom>
              <a:solidFill>
                <a:srgbClr val="F16924"/>
              </a:solidFill>
              <a:ln w="6040" cap="flat">
                <a:noFill/>
                <a:prstDash val="solid"/>
                <a:miter/>
              </a:ln>
            </p:spPr>
            <p:txBody>
              <a:bodyPr rtlCol="0" anchor="ctr"/>
              <a:lstStyle/>
              <a:p>
                <a:endParaRPr lang="en-US"/>
              </a:p>
            </p:txBody>
          </p:sp>
          <p:sp>
            <p:nvSpPr>
              <p:cNvPr id="67" name="Freeform 66">
                <a:extLst>
                  <a:ext uri="{FF2B5EF4-FFF2-40B4-BE49-F238E27FC236}">
                    <a16:creationId xmlns:a16="http://schemas.microsoft.com/office/drawing/2014/main" id="{862D0DEA-6420-0DF5-C7E4-9EE6821AC04E}"/>
                  </a:ext>
                </a:extLst>
              </p:cNvPr>
              <p:cNvSpPr/>
              <p:nvPr/>
            </p:nvSpPr>
            <p:spPr>
              <a:xfrm>
                <a:off x="6728436" y="2827355"/>
                <a:ext cx="71952" cy="71982"/>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solidFill>
                <a:srgbClr val="F16924"/>
              </a:solidFill>
              <a:ln w="6040" cap="flat">
                <a:noFill/>
                <a:prstDash val="solid"/>
                <a:miter/>
              </a:ln>
            </p:spPr>
            <p:txBody>
              <a:bodyPr rtlCol="0" anchor="ctr"/>
              <a:lstStyle/>
              <a:p>
                <a:endParaRPr lang="en-US"/>
              </a:p>
            </p:txBody>
          </p:sp>
        </p:grpSp>
      </p:grpSp>
      <p:sp>
        <p:nvSpPr>
          <p:cNvPr id="2" name="Text Placeholder 12">
            <a:extLst>
              <a:ext uri="{FF2B5EF4-FFF2-40B4-BE49-F238E27FC236}">
                <a16:creationId xmlns:a16="http://schemas.microsoft.com/office/drawing/2014/main" id="{F75CCBA6-441B-5944-AFFA-EFE86A7871F6}"/>
              </a:ext>
            </a:extLst>
          </p:cNvPr>
          <p:cNvSpPr txBox="1"/>
          <p:nvPr/>
        </p:nvSpPr>
        <p:spPr>
          <a:xfrm>
            <a:off x="5349911" y="1908699"/>
            <a:ext cx="6378488" cy="370360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lgn="just"/>
            <a:r>
              <a:rPr lang="en-GB" sz="2200">
                <a:latin typeface="Calibri" panose="020F0502020204030204" pitchFamily="34" charset="0"/>
                <a:ea typeface="Lato Light" panose="020F0502020204030203" pitchFamily="34" charset="0"/>
                <a:cs typeface="Calibri" panose="020F0502020204030204" pitchFamily="34" charset="0"/>
              </a:rPr>
              <a:t>Las estrategias de reparación de la reputación varían en cuanto a la medida en que se acomodan a las personas en riesgo o perjudicadas por la crisis.  Acomodar significa que la respuesta se centra más en ayudar a las víctimas que en abordar las preocupaciones de las PYMES.  La lista maestra ordena las estrategias de reparación de la reputación desde las menos hasta las más acomodaticias.</a:t>
            </a:r>
          </a:p>
        </p:txBody>
      </p:sp>
    </p:spTree>
    <p:extLst>
      <p:ext uri="{BB962C8B-B14F-4D97-AF65-F5344CB8AC3E}">
        <p14:creationId xmlns:p14="http://schemas.microsoft.com/office/powerpoint/2010/main" val="387664756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12">
            <a:extLst>
              <a:ext uri="{FF2B5EF4-FFF2-40B4-BE49-F238E27FC236}">
                <a16:creationId xmlns:a16="http://schemas.microsoft.com/office/drawing/2014/main" id="{7238C968-C39E-9A3B-89CE-FF07F4771B26}"/>
              </a:ext>
            </a:extLst>
          </p:cNvPr>
          <p:cNvSpPr>
            <a:spLocks noGrp="1"/>
          </p:cNvSpPr>
          <p:nvPr>
            <p:ph type="body" sz="quarter" idx="17"/>
          </p:nvPr>
        </p:nvSpPr>
        <p:spPr/>
        <p:txBody>
          <a:bodyPr/>
          <a:lstStyle/>
          <a:p>
            <a:r>
              <a:rPr lang="en-US"/>
              <a:t>01</a:t>
            </a:r>
          </a:p>
        </p:txBody>
      </p:sp>
      <p:sp>
        <p:nvSpPr>
          <p:cNvPr id="15" name="Text Placeholder 14">
            <a:extLst>
              <a:ext uri="{FF2B5EF4-FFF2-40B4-BE49-F238E27FC236}">
                <a16:creationId xmlns:a16="http://schemas.microsoft.com/office/drawing/2014/main" id="{7809C9F3-7300-02EB-CC8E-3AFB4F775186}"/>
              </a:ext>
            </a:extLst>
          </p:cNvPr>
          <p:cNvSpPr>
            <a:spLocks noGrp="1"/>
          </p:cNvSpPr>
          <p:nvPr>
            <p:ph type="body" sz="quarter" idx="16"/>
          </p:nvPr>
        </p:nvSpPr>
        <p:spPr>
          <a:xfrm>
            <a:off x="2149154" y="1264769"/>
            <a:ext cx="3729132" cy="2588774"/>
          </a:xfrm>
        </p:spPr>
        <p:txBody>
          <a:bodyPr>
            <a:normAutofit/>
          </a:bodyPr>
          <a:lstStyle/>
          <a:p>
            <a:r>
              <a:rPr lang="en-US"/>
              <a:t>¿QUÉ ES UNA CRISIS EMPRESARIAL?</a:t>
            </a:r>
          </a:p>
          <a:p>
            <a:endParaRPr lang="en-US"/>
          </a:p>
          <a:p>
            <a:endParaRPr lang="en-US"/>
          </a:p>
        </p:txBody>
      </p:sp>
    </p:spTree>
    <p:extLst>
      <p:ext uri="{BB962C8B-B14F-4D97-AF65-F5344CB8AC3E}">
        <p14:creationId xmlns:p14="http://schemas.microsoft.com/office/powerpoint/2010/main" val="945518355"/>
      </p:ext>
    </p:extLst>
  </p:cSld>
  <p:clrMapOvr>
    <a:masterClrMapping/>
  </p:clrMapOv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228314" y="572475"/>
            <a:ext cx="3291071" cy="4658741"/>
          </a:xfrm>
        </p:spPr>
        <p:txBody>
          <a:bodyPr>
            <a:normAutofit fontScale="62500" lnSpcReduction="20000"/>
          </a:bodyPr>
          <a:lstStyle/>
          <a:p>
            <a:pPr>
              <a:lnSpc>
                <a:spcPct val="120000"/>
              </a:lnSpc>
            </a:pPr>
            <a:r>
              <a:rPr lang="en-GB" sz="4600">
                <a:solidFill>
                  <a:schemeClr val="bg1"/>
                </a:solidFill>
                <a:hlinkClick r:id="rId2">
                  <a:extLst>
                    <a:ext uri="{A12FA001-AC4F-418D-AE19-62706E023703}">
                      <ahyp:hlinkClr xmlns:ahyp="http://schemas.microsoft.com/office/drawing/2018/hyperlinkcolor" val="tx"/>
                    </a:ext>
                  </a:extLst>
                </a:hlinkClick>
              </a:rPr>
              <a:t>Superar el Brexit: cómo una pequeña empresa irlandesa convirtió una crisis en una oportunidad - Independent.ie</a:t>
            </a:r>
            <a:endParaRPr lang="en-GB" sz="4600">
              <a:solidFill>
                <a:schemeClr val="bg1"/>
              </a:solidFill>
            </a:endParaRPr>
          </a:p>
          <a:p>
            <a:endParaRPr lang="en-GB" sz="5100">
              <a:solidFill>
                <a:schemeClr val="bg1"/>
              </a:solidFill>
            </a:endParaRPr>
          </a:p>
          <a:p>
            <a:r>
              <a:rPr lang="en-US" sz="5100">
                <a:solidFill>
                  <a:schemeClr val="bg1"/>
                </a:solidFill>
              </a:rPr>
              <a:t>Cortesía : Local Enterprise Office, Irlanda</a:t>
            </a:r>
          </a:p>
          <a:p>
            <a:endParaRPr lang="en-US"/>
          </a:p>
          <a:p>
            <a:endParaRPr lang="en-US"/>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8"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8"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3"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5"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5"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5" name="Rectangle 82">
            <a:extLst>
              <a:ext uri="{FF2B5EF4-FFF2-40B4-BE49-F238E27FC236}">
                <a16:creationId xmlns:a16="http://schemas.microsoft.com/office/drawing/2014/main" id="{17A638CD-E16A-4268-90BE-49D660E063BC}"/>
              </a:ext>
            </a:extLst>
          </p:cNvPr>
          <p:cNvSpPr>
            <a:spLocks noChangeArrowheads="1"/>
          </p:cNvSpPr>
          <p:nvPr/>
        </p:nvSpPr>
        <p:spPr bwMode="auto">
          <a:xfrm>
            <a:off x="3852469" y="503441"/>
            <a:ext cx="8215987" cy="5539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l"/>
            <a:r>
              <a:rPr lang="en-GB" sz="2400" b="0" i="0">
                <a:solidFill>
                  <a:srgbClr val="595959"/>
                </a:solidFill>
                <a:effectLst/>
                <a:latin typeface="Nuacht Serif Text"/>
              </a:rPr>
              <a:t>Cuando se aprobó el Brexit en el verano de 2016, el empresario irlandés Peter Morrow, de </a:t>
            </a:r>
            <a:r>
              <a:rPr lang="en-GB" sz="2400" b="0" i="0">
                <a:solidFill>
                  <a:srgbClr val="595959"/>
                </a:solidFill>
                <a:effectLst/>
                <a:latin typeface="Nuacht Serif Text"/>
                <a:hlinkClick r:id="rId3"/>
              </a:rPr>
              <a:t>SKYLARK Stairs, </a:t>
            </a:r>
            <a:r>
              <a:rPr lang="en-GB" sz="2400" b="0" i="0">
                <a:solidFill>
                  <a:srgbClr val="595959"/>
                </a:solidFill>
                <a:effectLst/>
                <a:latin typeface="Nuacht Serif Text"/>
              </a:rPr>
              <a:t>supo que su negocio de escaleras eléctricas para áticos estaba en problemas.  El 90 por ciento de su negocio procedía del mercado británico. </a:t>
            </a:r>
          </a:p>
          <a:p>
            <a:pPr algn="l"/>
            <a:endParaRPr lang="en-GB" sz="2400" b="0" i="0">
              <a:solidFill>
                <a:srgbClr val="595959"/>
              </a:solidFill>
              <a:effectLst/>
              <a:latin typeface="Nuacht Serif Text"/>
            </a:endParaRPr>
          </a:p>
          <a:p>
            <a:pPr algn="l"/>
            <a:r>
              <a:rPr lang="en-GB" sz="2400" b="0" i="0">
                <a:solidFill>
                  <a:srgbClr val="595959"/>
                </a:solidFill>
                <a:effectLst/>
                <a:latin typeface="Nuacht Serif Text"/>
              </a:rPr>
              <a:t>De repente, la incertidumbre creada por la decisión del Reino Unido de abandonar la Unión Europea podría diezmar su medio de vida.</a:t>
            </a:r>
          </a:p>
          <a:p>
            <a:pPr algn="l"/>
            <a:endParaRPr lang="en-GB" sz="2400">
              <a:solidFill>
                <a:srgbClr val="595959"/>
              </a:solidFill>
              <a:latin typeface="Nuacht Serif Text"/>
            </a:endParaRPr>
          </a:p>
          <a:p>
            <a:pPr algn="l"/>
            <a:r>
              <a:rPr lang="en-GB" sz="2400" b="0" i="0">
                <a:solidFill>
                  <a:srgbClr val="595959"/>
                </a:solidFill>
                <a:effectLst/>
                <a:latin typeface="Nuacht Serif Text"/>
              </a:rPr>
              <a:t>Sin embargo, tras solicitar la ayuda de su </a:t>
            </a:r>
            <a:r>
              <a:rPr lang="en-GB" sz="2400" b="0" i="0">
                <a:solidFill>
                  <a:srgbClr val="595959"/>
                </a:solidFill>
                <a:effectLst/>
                <a:latin typeface="Nuacht Serif Text"/>
                <a:hlinkClick r:id="rId4"/>
              </a:rPr>
              <a:t>Oficina Empresarial Local de Galway</a:t>
            </a:r>
            <a:r>
              <a:rPr lang="en-GB" sz="2400" b="0" i="0">
                <a:solidFill>
                  <a:srgbClr val="595959"/>
                </a:solidFill>
                <a:effectLst/>
                <a:latin typeface="Nuacht Serif Text"/>
              </a:rPr>
              <a:t>, el negocio de Peter vuelve a prosperar después de que le dieran las herramientas necesarias para llevar su empresa tanto a Estados Unidos como a Australia.  Participó en un programa llamado </a:t>
            </a:r>
            <a:r>
              <a:rPr lang="en-GB" sz="2400" b="0" i="0">
                <a:solidFill>
                  <a:srgbClr val="595959"/>
                </a:solidFill>
                <a:effectLst/>
                <a:latin typeface="Nuacht Serif Text"/>
                <a:hlinkClick r:id="rId5"/>
              </a:rPr>
              <a:t>Lean for Micro</a:t>
            </a:r>
            <a:r>
              <a:rPr lang="en-GB" sz="2400" b="0" i="0">
                <a:solidFill>
                  <a:srgbClr val="595959"/>
                </a:solidFill>
                <a:effectLst/>
                <a:latin typeface="Nuacht Serif Text"/>
              </a:rPr>
              <a:t>.  </a:t>
            </a:r>
          </a:p>
          <a:p>
            <a:pPr algn="l"/>
            <a:endParaRPr lang="en-GB" sz="2400">
              <a:solidFill>
                <a:srgbClr val="595959"/>
              </a:solidFill>
              <a:latin typeface="Nuacht Serif Text"/>
            </a:endParaRPr>
          </a:p>
          <a:p>
            <a:pPr marL="0" marR="0" lvl="0" indent="0" algn="l" defTabSz="914400" rtl="0" eaLnBrk="0" fontAlgn="base" latinLnBrk="0" hangingPunct="0">
              <a:lnSpc>
                <a:spcPct val="100000"/>
              </a:lnSpc>
              <a:spcBef>
                <a:spcPct val="0"/>
              </a:spcBef>
              <a:spcAft>
                <a:spcPct val="0"/>
              </a:spcAft>
              <a:buClrTx/>
              <a:buSzTx/>
              <a:buFontTx/>
              <a:buNone/>
            </a:pPr>
            <a:endParaRPr kumimoji="0" lang="en-IE" altLang="en-US" sz="1800" b="0" i="0" u="none" strike="noStrike" cap="none" normalizeH="0" baseline="0">
              <a:ln>
                <a:noFill/>
              </a:ln>
              <a:solidFill>
                <a:schemeClr val="tx1"/>
              </a:solidFill>
              <a:effectLst/>
              <a:latin typeface="Arial" panose="020B0604020202020204" pitchFamily="34" charset="0"/>
            </a:endParaRPr>
          </a:p>
        </p:txBody>
      </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pic>
        <p:nvPicPr>
          <p:cNvPr id="5" name="Picture 4">
            <a:extLst>
              <a:ext uri="{FF2B5EF4-FFF2-40B4-BE49-F238E27FC236}">
                <a16:creationId xmlns:a16="http://schemas.microsoft.com/office/drawing/2014/main" id="{565803FC-720F-D576-A476-A414FA274A34}"/>
              </a:ext>
            </a:extLst>
          </p:cNvPr>
          <p:cNvPicPr>
            <a:picLocks noChangeAspect="1"/>
          </p:cNvPicPr>
          <p:nvPr/>
        </p:nvPicPr>
        <p:blipFill>
          <a:blip r:embed="rId6"/>
          <a:stretch>
            <a:fillRect/>
          </a:stretch>
        </p:blipFill>
        <p:spPr>
          <a:xfrm>
            <a:off x="223444" y="3689229"/>
            <a:ext cx="3111660" cy="2368672"/>
          </a:xfrm>
          <a:prstGeom prst="rect">
            <a:avLst/>
          </a:prstGeom>
        </p:spPr>
      </p:pic>
    </p:spTree>
    <p:extLst>
      <p:ext uri="{BB962C8B-B14F-4D97-AF65-F5344CB8AC3E}">
        <p14:creationId xmlns:p14="http://schemas.microsoft.com/office/powerpoint/2010/main" val="641879422"/>
      </p:ext>
    </p:extLst>
  </p:cSld>
  <p:clrMapOvr>
    <a:masterClrMapping/>
  </p:clrMapOv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7E73099-5E33-CABF-B2A4-4D037F26FBD7}"/>
              </a:ext>
            </a:extLst>
          </p:cNvPr>
          <p:cNvSpPr/>
          <p:nvPr/>
        </p:nvSpPr>
        <p:spPr>
          <a:xfrm>
            <a:off x="0" y="0"/>
            <a:ext cx="3629025" cy="628552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BB1AAFEC-7F9F-7F8B-E76B-8336E3E29394}"/>
              </a:ext>
            </a:extLst>
          </p:cNvPr>
          <p:cNvSpPr>
            <a:spLocks noGrp="1"/>
          </p:cNvSpPr>
          <p:nvPr>
            <p:ph type="body" sz="quarter" idx="16"/>
          </p:nvPr>
        </p:nvSpPr>
        <p:spPr>
          <a:xfrm>
            <a:off x="228314" y="572475"/>
            <a:ext cx="3291071" cy="4658741"/>
          </a:xfrm>
        </p:spPr>
        <p:txBody>
          <a:bodyPr>
            <a:normAutofit fontScale="62500" lnSpcReduction="20000"/>
          </a:bodyPr>
          <a:lstStyle/>
          <a:p>
            <a:pPr>
              <a:lnSpc>
                <a:spcPct val="120000"/>
              </a:lnSpc>
            </a:pPr>
            <a:r>
              <a:rPr lang="en-GB" sz="4600">
                <a:solidFill>
                  <a:schemeClr val="bg1"/>
                </a:solidFill>
                <a:hlinkClick r:id="rId2">
                  <a:extLst>
                    <a:ext uri="{A12FA001-AC4F-418D-AE19-62706E023703}">
                      <ahyp:hlinkClr xmlns:ahyp="http://schemas.microsoft.com/office/drawing/2018/hyperlinkcolor" val="tx"/>
                    </a:ext>
                  </a:extLst>
                </a:hlinkClick>
              </a:rPr>
              <a:t>Superar el Brexit: cómo una pequeña empresa irlandesa convirtió una crisis en una oportunidad - Independent.ie</a:t>
            </a:r>
            <a:endParaRPr lang="en-GB" sz="4600">
              <a:solidFill>
                <a:schemeClr val="bg1"/>
              </a:solidFill>
            </a:endParaRPr>
          </a:p>
          <a:p>
            <a:endParaRPr lang="en-GB" sz="5100">
              <a:solidFill>
                <a:schemeClr val="bg1"/>
              </a:solidFill>
            </a:endParaRPr>
          </a:p>
          <a:p>
            <a:r>
              <a:rPr lang="en-US" sz="5100">
                <a:solidFill>
                  <a:schemeClr val="bg1"/>
                </a:solidFill>
              </a:rPr>
              <a:t>Cortesía : Local Enterprise Office, Irlanda</a:t>
            </a:r>
          </a:p>
          <a:p>
            <a:endParaRPr lang="en-US"/>
          </a:p>
          <a:p>
            <a:endParaRPr lang="en-US"/>
          </a:p>
        </p:txBody>
      </p:sp>
      <p:grpSp>
        <p:nvGrpSpPr>
          <p:cNvPr id="6" name="Graphic 6">
            <a:extLst>
              <a:ext uri="{FF2B5EF4-FFF2-40B4-BE49-F238E27FC236}">
                <a16:creationId xmlns:a16="http://schemas.microsoft.com/office/drawing/2014/main" id="{4E9D68E5-B4C6-E081-4853-5A8823A1D109}"/>
              </a:ext>
            </a:extLst>
          </p:cNvPr>
          <p:cNvGrpSpPr/>
          <p:nvPr/>
        </p:nvGrpSpPr>
        <p:grpSpPr>
          <a:xfrm>
            <a:off x="5071110" y="12356465"/>
            <a:ext cx="1872615" cy="447040"/>
            <a:chOff x="-80578" y="3873532"/>
            <a:chExt cx="772037" cy="184499"/>
          </a:xfrm>
        </p:grpSpPr>
        <p:sp>
          <p:nvSpPr>
            <p:cNvPr id="7" name="Freeform 15">
              <a:extLst>
                <a:ext uri="{FF2B5EF4-FFF2-40B4-BE49-F238E27FC236}">
                  <a16:creationId xmlns:a16="http://schemas.microsoft.com/office/drawing/2014/main" id="{D9566F94-8773-7261-DE79-3283AFDE8334}"/>
                </a:ext>
              </a:extLst>
            </p:cNvPr>
            <p:cNvSpPr/>
            <p:nvPr/>
          </p:nvSpPr>
          <p:spPr>
            <a:xfrm>
              <a:off x="-80578" y="3873532"/>
              <a:ext cx="772037" cy="184499"/>
            </a:xfrm>
            <a:custGeom>
              <a:avLst/>
              <a:gdLst>
                <a:gd name="connsiteX0" fmla="*/ 0 w 691324"/>
                <a:gd name="connsiteY0" fmla="*/ 0 h 184499"/>
                <a:gd name="connsiteX1" fmla="*/ 691324 w 691324"/>
                <a:gd name="connsiteY1" fmla="*/ 0 h 184499"/>
                <a:gd name="connsiteX2" fmla="*/ 691324 w 691324"/>
                <a:gd name="connsiteY2" fmla="*/ 184499 h 184499"/>
                <a:gd name="connsiteX3" fmla="*/ 0 w 691324"/>
                <a:gd name="connsiteY3" fmla="*/ 184499 h 184499"/>
              </a:gdLst>
              <a:ahLst/>
              <a:cxnLst>
                <a:cxn ang="0">
                  <a:pos x="connsiteX0" y="connsiteY0"/>
                </a:cxn>
                <a:cxn ang="0">
                  <a:pos x="connsiteX1" y="connsiteY1"/>
                </a:cxn>
                <a:cxn ang="0">
                  <a:pos x="connsiteX2" y="connsiteY2"/>
                </a:cxn>
                <a:cxn ang="0">
                  <a:pos x="connsiteX3" y="connsiteY3"/>
                </a:cxn>
              </a:cxnLst>
              <a:rect l="l" t="t" r="r" b="b"/>
              <a:pathLst>
                <a:path w="691324" h="184499">
                  <a:moveTo>
                    <a:pt x="0" y="0"/>
                  </a:moveTo>
                  <a:lnTo>
                    <a:pt x="691324" y="0"/>
                  </a:lnTo>
                  <a:lnTo>
                    <a:pt x="691324" y="184499"/>
                  </a:lnTo>
                  <a:lnTo>
                    <a:pt x="0" y="184499"/>
                  </a:lnTo>
                  <a:close/>
                </a:path>
              </a:pathLst>
            </a:custGeom>
            <a:solidFill>
              <a:srgbClr val="FFFFFF"/>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8" name="Graphic 6">
              <a:extLst>
                <a:ext uri="{FF2B5EF4-FFF2-40B4-BE49-F238E27FC236}">
                  <a16:creationId xmlns:a16="http://schemas.microsoft.com/office/drawing/2014/main" id="{580A595F-AF7A-FCC0-B739-AFD22CCA225F}"/>
                </a:ext>
              </a:extLst>
            </p:cNvPr>
            <p:cNvGrpSpPr/>
            <p:nvPr/>
          </p:nvGrpSpPr>
          <p:grpSpPr>
            <a:xfrm>
              <a:off x="67531" y="3914680"/>
              <a:ext cx="500824" cy="109156"/>
              <a:chOff x="67531" y="3914680"/>
              <a:chExt cx="500824" cy="109156"/>
            </a:xfrm>
          </p:grpSpPr>
          <p:sp>
            <p:nvSpPr>
              <p:cNvPr id="9" name="Freeform 17">
                <a:extLst>
                  <a:ext uri="{FF2B5EF4-FFF2-40B4-BE49-F238E27FC236}">
                    <a16:creationId xmlns:a16="http://schemas.microsoft.com/office/drawing/2014/main" id="{3098C537-B349-B173-7082-D9BE7A80F166}"/>
                  </a:ext>
                </a:extLst>
              </p:cNvPr>
              <p:cNvSpPr/>
              <p:nvPr/>
            </p:nvSpPr>
            <p:spPr>
              <a:xfrm>
                <a:off x="67531" y="3914680"/>
                <a:ext cx="160972" cy="108489"/>
              </a:xfrm>
              <a:custGeom>
                <a:avLst/>
                <a:gdLst>
                  <a:gd name="connsiteX0" fmla="*/ 0 w 160972"/>
                  <a:gd name="connsiteY0" fmla="*/ 0 h 108489"/>
                  <a:gd name="connsiteX1" fmla="*/ 160972 w 160972"/>
                  <a:gd name="connsiteY1" fmla="*/ 0 h 108489"/>
                  <a:gd name="connsiteX2" fmla="*/ 160972 w 160972"/>
                  <a:gd name="connsiteY2" fmla="*/ 108490 h 108489"/>
                  <a:gd name="connsiteX3" fmla="*/ 0 w 160972"/>
                  <a:gd name="connsiteY3" fmla="*/ 108490 h 108489"/>
                </a:gdLst>
                <a:ahLst/>
                <a:cxnLst>
                  <a:cxn ang="0">
                    <a:pos x="connsiteX0" y="connsiteY0"/>
                  </a:cxn>
                  <a:cxn ang="0">
                    <a:pos x="connsiteX1" y="connsiteY1"/>
                  </a:cxn>
                  <a:cxn ang="0">
                    <a:pos x="connsiteX2" y="connsiteY2"/>
                  </a:cxn>
                  <a:cxn ang="0">
                    <a:pos x="connsiteX3" y="connsiteY3"/>
                  </a:cxn>
                </a:cxnLst>
                <a:rect l="l" t="t" r="r" b="b"/>
                <a:pathLst>
                  <a:path w="160972" h="108489">
                    <a:moveTo>
                      <a:pt x="0" y="0"/>
                    </a:moveTo>
                    <a:lnTo>
                      <a:pt x="160972" y="0"/>
                    </a:lnTo>
                    <a:lnTo>
                      <a:pt x="160972" y="108490"/>
                    </a:lnTo>
                    <a:lnTo>
                      <a:pt x="0" y="10849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0" name="Freeform 18">
                <a:extLst>
                  <a:ext uri="{FF2B5EF4-FFF2-40B4-BE49-F238E27FC236}">
                    <a16:creationId xmlns:a16="http://schemas.microsoft.com/office/drawing/2014/main" id="{59454B6E-5989-3E49-4672-EECD80AC02EE}"/>
                  </a:ext>
                </a:extLst>
              </p:cNvPr>
              <p:cNvSpPr/>
              <p:nvPr/>
            </p:nvSpPr>
            <p:spPr>
              <a:xfrm>
                <a:off x="177450" y="3963448"/>
                <a:ext cx="10953" cy="9810"/>
              </a:xfrm>
              <a:custGeom>
                <a:avLst/>
                <a:gdLst>
                  <a:gd name="connsiteX0" fmla="*/ 10954 w 10953"/>
                  <a:gd name="connsiteY0" fmla="*/ 3715 h 9810"/>
                  <a:gd name="connsiteX1" fmla="*/ 9239 w 10953"/>
                  <a:gd name="connsiteY1" fmla="*/ 3715 h 9810"/>
                  <a:gd name="connsiteX2" fmla="*/ 6763 w 10953"/>
                  <a:gd name="connsiteY2" fmla="*/ 3620 h 9810"/>
                  <a:gd name="connsiteX3" fmla="*/ 6001 w 10953"/>
                  <a:gd name="connsiteY3" fmla="*/ 1429 h 9810"/>
                  <a:gd name="connsiteX4" fmla="*/ 5429 w 10953"/>
                  <a:gd name="connsiteY4" fmla="*/ 0 h 9810"/>
                  <a:gd name="connsiteX5" fmla="*/ 4953 w 10953"/>
                  <a:gd name="connsiteY5" fmla="*/ 1429 h 9810"/>
                  <a:gd name="connsiteX6" fmla="*/ 4096 w 10953"/>
                  <a:gd name="connsiteY6" fmla="*/ 3620 h 9810"/>
                  <a:gd name="connsiteX7" fmla="*/ 1619 w 10953"/>
                  <a:gd name="connsiteY7" fmla="*/ 3715 h 9810"/>
                  <a:gd name="connsiteX8" fmla="*/ 0 w 10953"/>
                  <a:gd name="connsiteY8" fmla="*/ 3715 h 9810"/>
                  <a:gd name="connsiteX9" fmla="*/ 1333 w 10953"/>
                  <a:gd name="connsiteY9" fmla="*/ 4667 h 9810"/>
                  <a:gd name="connsiteX10" fmla="*/ 3238 w 10953"/>
                  <a:gd name="connsiteY10" fmla="*/ 6096 h 9810"/>
                  <a:gd name="connsiteX11" fmla="*/ 2572 w 10953"/>
                  <a:gd name="connsiteY11" fmla="*/ 8287 h 9810"/>
                  <a:gd name="connsiteX12" fmla="*/ 2095 w 10953"/>
                  <a:gd name="connsiteY12" fmla="*/ 9811 h 9810"/>
                  <a:gd name="connsiteX13" fmla="*/ 3429 w 10953"/>
                  <a:gd name="connsiteY13" fmla="*/ 8954 h 9810"/>
                  <a:gd name="connsiteX14" fmla="*/ 5429 w 10953"/>
                  <a:gd name="connsiteY14" fmla="*/ 7620 h 9810"/>
                  <a:gd name="connsiteX15" fmla="*/ 7525 w 10953"/>
                  <a:gd name="connsiteY15" fmla="*/ 8954 h 9810"/>
                  <a:gd name="connsiteX16" fmla="*/ 8763 w 10953"/>
                  <a:gd name="connsiteY16" fmla="*/ 9811 h 9810"/>
                  <a:gd name="connsiteX17" fmla="*/ 7620 w 10953"/>
                  <a:gd name="connsiteY17" fmla="*/ 6096 h 9810"/>
                  <a:gd name="connsiteX18" fmla="*/ 10954 w 10953"/>
                  <a:gd name="connsiteY18" fmla="*/ 3715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53" h="9810">
                    <a:moveTo>
                      <a:pt x="10954" y="3715"/>
                    </a:moveTo>
                    <a:lnTo>
                      <a:pt x="9239" y="3715"/>
                    </a:lnTo>
                    <a:lnTo>
                      <a:pt x="6763" y="3620"/>
                    </a:lnTo>
                    <a:lnTo>
                      <a:pt x="6001" y="1429"/>
                    </a:lnTo>
                    <a:lnTo>
                      <a:pt x="5429" y="0"/>
                    </a:lnTo>
                    <a:lnTo>
                      <a:pt x="4953" y="1429"/>
                    </a:lnTo>
                    <a:lnTo>
                      <a:pt x="4096" y="3620"/>
                    </a:lnTo>
                    <a:lnTo>
                      <a:pt x="1619" y="3715"/>
                    </a:lnTo>
                    <a:lnTo>
                      <a:pt x="0" y="3715"/>
                    </a:lnTo>
                    <a:lnTo>
                      <a:pt x="1333" y="4667"/>
                    </a:lnTo>
                    <a:lnTo>
                      <a:pt x="3238" y="6096"/>
                    </a:lnTo>
                    <a:lnTo>
                      <a:pt x="2572" y="8287"/>
                    </a:lnTo>
                    <a:lnTo>
                      <a:pt x="2095" y="9811"/>
                    </a:lnTo>
                    <a:lnTo>
                      <a:pt x="3429" y="8954"/>
                    </a:lnTo>
                    <a:lnTo>
                      <a:pt x="5429" y="7620"/>
                    </a:lnTo>
                    <a:lnTo>
                      <a:pt x="7525" y="8954"/>
                    </a:lnTo>
                    <a:lnTo>
                      <a:pt x="8763" y="9811"/>
                    </a:lnTo>
                    <a:lnTo>
                      <a:pt x="7620" y="6096"/>
                    </a:lnTo>
                    <a:lnTo>
                      <a:pt x="10954" y="3715"/>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1" name="Freeform 19">
                <a:extLst>
                  <a:ext uri="{FF2B5EF4-FFF2-40B4-BE49-F238E27FC236}">
                    <a16:creationId xmlns:a16="http://schemas.microsoft.com/office/drawing/2014/main" id="{DCCD53C5-DD3C-3C39-20CB-0A38A84727FA}"/>
                  </a:ext>
                </a:extLst>
              </p:cNvPr>
              <p:cNvSpPr/>
              <p:nvPr/>
            </p:nvSpPr>
            <p:spPr>
              <a:xfrm>
                <a:off x="176307" y="3962400"/>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191 w 13144"/>
                  <a:gd name="connsiteY11" fmla="*/ 5048 h 11715"/>
                  <a:gd name="connsiteX12" fmla="*/ 4858 w 13144"/>
                  <a:gd name="connsiteY12" fmla="*/ 6953 h 11715"/>
                  <a:gd name="connsiteX13" fmla="*/ 3905 w 13144"/>
                  <a:gd name="connsiteY13" fmla="*/ 10001 h 11715"/>
                  <a:gd name="connsiteX14" fmla="*/ 6572 w 13144"/>
                  <a:gd name="connsiteY14" fmla="*/ 8192 h 11715"/>
                  <a:gd name="connsiteX15" fmla="*/ 9335 w 13144"/>
                  <a:gd name="connsiteY15" fmla="*/ 10001 h 11715"/>
                  <a:gd name="connsiteX16" fmla="*/ 8382 w 13144"/>
                  <a:gd name="connsiteY16" fmla="*/ 7049 h 11715"/>
                  <a:gd name="connsiteX17" fmla="*/ 11049 w 13144"/>
                  <a:gd name="connsiteY17" fmla="*/ 5144 h 11715"/>
                  <a:gd name="connsiteX18" fmla="*/ 7715 w 13144"/>
                  <a:gd name="connsiteY18" fmla="*/ 5048 h 11715"/>
                  <a:gd name="connsiteX19" fmla="*/ 6667 w 13144"/>
                  <a:gd name="connsiteY19" fmla="*/ 2096 h 11715"/>
                  <a:gd name="connsiteX20" fmla="*/ 5620 w 13144"/>
                  <a:gd name="connsiteY20" fmla="*/ 5048 h 11715"/>
                  <a:gd name="connsiteX21" fmla="*/ 2191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191" y="5048"/>
                    </a:moveTo>
                    <a:lnTo>
                      <a:pt x="4858" y="6953"/>
                    </a:lnTo>
                    <a:lnTo>
                      <a:pt x="3905" y="10001"/>
                    </a:lnTo>
                    <a:lnTo>
                      <a:pt x="6572" y="8192"/>
                    </a:lnTo>
                    <a:lnTo>
                      <a:pt x="9335" y="10001"/>
                    </a:lnTo>
                    <a:lnTo>
                      <a:pt x="8382" y="7049"/>
                    </a:lnTo>
                    <a:lnTo>
                      <a:pt x="11049" y="5144"/>
                    </a:lnTo>
                    <a:lnTo>
                      <a:pt x="7715" y="5048"/>
                    </a:lnTo>
                    <a:lnTo>
                      <a:pt x="6667" y="2096"/>
                    </a:lnTo>
                    <a:lnTo>
                      <a:pt x="5620" y="5048"/>
                    </a:lnTo>
                    <a:lnTo>
                      <a:pt x="2191"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2" name="Freeform 20">
                <a:extLst>
                  <a:ext uri="{FF2B5EF4-FFF2-40B4-BE49-F238E27FC236}">
                    <a16:creationId xmlns:a16="http://schemas.microsoft.com/office/drawing/2014/main" id="{BEAFC179-0042-1DEF-8443-5244D2306185}"/>
                  </a:ext>
                </a:extLst>
              </p:cNvPr>
              <p:cNvSpPr/>
              <p:nvPr/>
            </p:nvSpPr>
            <p:spPr>
              <a:xfrm>
                <a:off x="172782" y="3945922"/>
                <a:ext cx="10953" cy="9905"/>
              </a:xfrm>
              <a:custGeom>
                <a:avLst/>
                <a:gdLst>
                  <a:gd name="connsiteX0" fmla="*/ 3239 w 10953"/>
                  <a:gd name="connsiteY0" fmla="*/ 6096 h 9905"/>
                  <a:gd name="connsiteX1" fmla="*/ 2572 w 10953"/>
                  <a:gd name="connsiteY1" fmla="*/ 8382 h 9905"/>
                  <a:gd name="connsiteX2" fmla="*/ 2096 w 10953"/>
                  <a:gd name="connsiteY2" fmla="*/ 9906 h 9905"/>
                  <a:gd name="connsiteX3" fmla="*/ 3429 w 10953"/>
                  <a:gd name="connsiteY3" fmla="*/ 8954 h 9905"/>
                  <a:gd name="connsiteX4" fmla="*/ 5429 w 10953"/>
                  <a:gd name="connsiteY4" fmla="*/ 7620 h 9905"/>
                  <a:gd name="connsiteX5" fmla="*/ 7525 w 10953"/>
                  <a:gd name="connsiteY5" fmla="*/ 8954 h 9905"/>
                  <a:gd name="connsiteX6" fmla="*/ 8858 w 10953"/>
                  <a:gd name="connsiteY6" fmla="*/ 9906 h 9905"/>
                  <a:gd name="connsiteX7" fmla="*/ 8382 w 10953"/>
                  <a:gd name="connsiteY7" fmla="*/ 8382 h 9905"/>
                  <a:gd name="connsiteX8" fmla="*/ 7620 w 10953"/>
                  <a:gd name="connsiteY8" fmla="*/ 6096 h 9905"/>
                  <a:gd name="connsiteX9" fmla="*/ 9620 w 10953"/>
                  <a:gd name="connsiteY9" fmla="*/ 4763 h 9905"/>
                  <a:gd name="connsiteX10" fmla="*/ 10954 w 10953"/>
                  <a:gd name="connsiteY10" fmla="*/ 3715 h 9905"/>
                  <a:gd name="connsiteX11" fmla="*/ 9239 w 10953"/>
                  <a:gd name="connsiteY11" fmla="*/ 3715 h 9905"/>
                  <a:gd name="connsiteX12" fmla="*/ 6763 w 10953"/>
                  <a:gd name="connsiteY12" fmla="*/ 3715 h 9905"/>
                  <a:gd name="connsiteX13" fmla="*/ 6001 w 10953"/>
                  <a:gd name="connsiteY13" fmla="*/ 1429 h 9905"/>
                  <a:gd name="connsiteX14" fmla="*/ 5429 w 10953"/>
                  <a:gd name="connsiteY14" fmla="*/ 0 h 9905"/>
                  <a:gd name="connsiteX15" fmla="*/ 4953 w 10953"/>
                  <a:gd name="connsiteY15" fmla="*/ 1429 h 9905"/>
                  <a:gd name="connsiteX16" fmla="*/ 4096 w 10953"/>
                  <a:gd name="connsiteY16" fmla="*/ 3715 h 9905"/>
                  <a:gd name="connsiteX17" fmla="*/ 1619 w 10953"/>
                  <a:gd name="connsiteY17" fmla="*/ 3715 h 9905"/>
                  <a:gd name="connsiteX18" fmla="*/ 0 w 10953"/>
                  <a:gd name="connsiteY18" fmla="*/ 3715 h 9905"/>
                  <a:gd name="connsiteX19" fmla="*/ 1333 w 10953"/>
                  <a:gd name="connsiteY19" fmla="*/ 4763 h 9905"/>
                  <a:gd name="connsiteX20" fmla="*/ 3239 w 10953"/>
                  <a:gd name="connsiteY20" fmla="*/ 6096 h 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905">
                    <a:moveTo>
                      <a:pt x="3239" y="6096"/>
                    </a:moveTo>
                    <a:lnTo>
                      <a:pt x="2572" y="8382"/>
                    </a:lnTo>
                    <a:lnTo>
                      <a:pt x="2096" y="9906"/>
                    </a:lnTo>
                    <a:lnTo>
                      <a:pt x="3429" y="8954"/>
                    </a:lnTo>
                    <a:lnTo>
                      <a:pt x="5429" y="7620"/>
                    </a:lnTo>
                    <a:lnTo>
                      <a:pt x="7525" y="8954"/>
                    </a:lnTo>
                    <a:lnTo>
                      <a:pt x="8858" y="9906"/>
                    </a:lnTo>
                    <a:lnTo>
                      <a:pt x="8382" y="8382"/>
                    </a:lnTo>
                    <a:lnTo>
                      <a:pt x="7620" y="6096"/>
                    </a:lnTo>
                    <a:lnTo>
                      <a:pt x="9620" y="4763"/>
                    </a:lnTo>
                    <a:lnTo>
                      <a:pt x="10954" y="3715"/>
                    </a:lnTo>
                    <a:lnTo>
                      <a:pt x="9239" y="3715"/>
                    </a:lnTo>
                    <a:lnTo>
                      <a:pt x="6763" y="3715"/>
                    </a:lnTo>
                    <a:lnTo>
                      <a:pt x="6001" y="1429"/>
                    </a:lnTo>
                    <a:lnTo>
                      <a:pt x="5429" y="0"/>
                    </a:lnTo>
                    <a:lnTo>
                      <a:pt x="4953" y="1429"/>
                    </a:lnTo>
                    <a:lnTo>
                      <a:pt x="4096" y="3715"/>
                    </a:lnTo>
                    <a:lnTo>
                      <a:pt x="1619" y="3715"/>
                    </a:lnTo>
                    <a:lnTo>
                      <a:pt x="0" y="3715"/>
                    </a:lnTo>
                    <a:lnTo>
                      <a:pt x="1333" y="4763"/>
                    </a:lnTo>
                    <a:lnTo>
                      <a:pt x="3239" y="6096"/>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3" name="Freeform 21">
                <a:extLst>
                  <a:ext uri="{FF2B5EF4-FFF2-40B4-BE49-F238E27FC236}">
                    <a16:creationId xmlns:a16="http://schemas.microsoft.com/office/drawing/2014/main" id="{3825E35A-8A94-7F41-D562-5F1718550A9D}"/>
                  </a:ext>
                </a:extLst>
              </p:cNvPr>
              <p:cNvSpPr/>
              <p:nvPr/>
            </p:nvSpPr>
            <p:spPr>
              <a:xfrm>
                <a:off x="171639" y="3944874"/>
                <a:ext cx="13239" cy="11810"/>
              </a:xfrm>
              <a:custGeom>
                <a:avLst/>
                <a:gdLst>
                  <a:gd name="connsiteX0" fmla="*/ 10573 w 13239"/>
                  <a:gd name="connsiteY0" fmla="*/ 11811 h 11810"/>
                  <a:gd name="connsiteX1" fmla="*/ 6572 w 13239"/>
                  <a:gd name="connsiteY1" fmla="*/ 9144 h 11810"/>
                  <a:gd name="connsiteX2" fmla="*/ 2572 w 13239"/>
                  <a:gd name="connsiteY2" fmla="*/ 11811 h 11810"/>
                  <a:gd name="connsiteX3" fmla="*/ 4000 w 13239"/>
                  <a:gd name="connsiteY3" fmla="*/ 7334 h 11810"/>
                  <a:gd name="connsiteX4" fmla="*/ 0 w 13239"/>
                  <a:gd name="connsiteY4" fmla="*/ 4477 h 11810"/>
                  <a:gd name="connsiteX5" fmla="*/ 4953 w 13239"/>
                  <a:gd name="connsiteY5" fmla="*/ 4381 h 11810"/>
                  <a:gd name="connsiteX6" fmla="*/ 6572 w 13239"/>
                  <a:gd name="connsiteY6" fmla="*/ 0 h 11810"/>
                  <a:gd name="connsiteX7" fmla="*/ 8192 w 13239"/>
                  <a:gd name="connsiteY7" fmla="*/ 4381 h 11810"/>
                  <a:gd name="connsiteX8" fmla="*/ 13240 w 13239"/>
                  <a:gd name="connsiteY8" fmla="*/ 4477 h 11810"/>
                  <a:gd name="connsiteX9" fmla="*/ 9239 w 13239"/>
                  <a:gd name="connsiteY9" fmla="*/ 7334 h 11810"/>
                  <a:gd name="connsiteX10" fmla="*/ 10573 w 13239"/>
                  <a:gd name="connsiteY10" fmla="*/ 11811 h 11810"/>
                  <a:gd name="connsiteX11" fmla="*/ 2191 w 13239"/>
                  <a:gd name="connsiteY11" fmla="*/ 5144 h 11810"/>
                  <a:gd name="connsiteX12" fmla="*/ 4858 w 13239"/>
                  <a:gd name="connsiteY12" fmla="*/ 7048 h 11810"/>
                  <a:gd name="connsiteX13" fmla="*/ 3905 w 13239"/>
                  <a:gd name="connsiteY13" fmla="*/ 10096 h 11810"/>
                  <a:gd name="connsiteX14" fmla="*/ 6572 w 13239"/>
                  <a:gd name="connsiteY14" fmla="*/ 8287 h 11810"/>
                  <a:gd name="connsiteX15" fmla="*/ 9239 w 13239"/>
                  <a:gd name="connsiteY15" fmla="*/ 10096 h 11810"/>
                  <a:gd name="connsiteX16" fmla="*/ 8287 w 13239"/>
                  <a:gd name="connsiteY16" fmla="*/ 7048 h 11810"/>
                  <a:gd name="connsiteX17" fmla="*/ 10954 w 13239"/>
                  <a:gd name="connsiteY17" fmla="*/ 5144 h 11810"/>
                  <a:gd name="connsiteX18" fmla="*/ 7715 w 13239"/>
                  <a:gd name="connsiteY18" fmla="*/ 5048 h 11810"/>
                  <a:gd name="connsiteX19" fmla="*/ 6667 w 13239"/>
                  <a:gd name="connsiteY19" fmla="*/ 2096 h 11810"/>
                  <a:gd name="connsiteX20" fmla="*/ 5620 w 13239"/>
                  <a:gd name="connsiteY20" fmla="*/ 5048 h 11810"/>
                  <a:gd name="connsiteX21" fmla="*/ 2191 w 13239"/>
                  <a:gd name="connsiteY21" fmla="*/ 5144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8" h="11810">
                    <a:moveTo>
                      <a:pt x="10573" y="11811"/>
                    </a:moveTo>
                    <a:lnTo>
                      <a:pt x="6572" y="9144"/>
                    </a:lnTo>
                    <a:lnTo>
                      <a:pt x="2572" y="11811"/>
                    </a:lnTo>
                    <a:lnTo>
                      <a:pt x="4000" y="7334"/>
                    </a:lnTo>
                    <a:lnTo>
                      <a:pt x="0" y="4477"/>
                    </a:lnTo>
                    <a:lnTo>
                      <a:pt x="4953" y="4381"/>
                    </a:lnTo>
                    <a:lnTo>
                      <a:pt x="6572" y="0"/>
                    </a:lnTo>
                    <a:lnTo>
                      <a:pt x="8192" y="4381"/>
                    </a:lnTo>
                    <a:lnTo>
                      <a:pt x="13240" y="4477"/>
                    </a:lnTo>
                    <a:lnTo>
                      <a:pt x="9239" y="7334"/>
                    </a:lnTo>
                    <a:lnTo>
                      <a:pt x="10573" y="11811"/>
                    </a:lnTo>
                    <a:close/>
                    <a:moveTo>
                      <a:pt x="2191" y="5144"/>
                    </a:moveTo>
                    <a:lnTo>
                      <a:pt x="4858" y="7048"/>
                    </a:lnTo>
                    <a:lnTo>
                      <a:pt x="3905" y="10096"/>
                    </a:lnTo>
                    <a:lnTo>
                      <a:pt x="6572" y="8287"/>
                    </a:lnTo>
                    <a:lnTo>
                      <a:pt x="9239" y="10096"/>
                    </a:lnTo>
                    <a:lnTo>
                      <a:pt x="8287" y="7048"/>
                    </a:lnTo>
                    <a:lnTo>
                      <a:pt x="10954" y="5144"/>
                    </a:lnTo>
                    <a:lnTo>
                      <a:pt x="7715" y="5048"/>
                    </a:lnTo>
                    <a:lnTo>
                      <a:pt x="6667" y="2096"/>
                    </a:lnTo>
                    <a:lnTo>
                      <a:pt x="5620" y="5048"/>
                    </a:lnTo>
                    <a:lnTo>
                      <a:pt x="2191" y="5144"/>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4" name="Freeform 22">
                <a:extLst>
                  <a:ext uri="{FF2B5EF4-FFF2-40B4-BE49-F238E27FC236}">
                    <a16:creationId xmlns:a16="http://schemas.microsoft.com/office/drawing/2014/main" id="{DB21FA29-BF57-3EF5-1A85-B7C75DA36C89}"/>
                  </a:ext>
                </a:extLst>
              </p:cNvPr>
              <p:cNvSpPr/>
              <p:nvPr/>
            </p:nvSpPr>
            <p:spPr>
              <a:xfrm>
                <a:off x="160114" y="3933254"/>
                <a:ext cx="10953" cy="9810"/>
              </a:xfrm>
              <a:custGeom>
                <a:avLst/>
                <a:gdLst>
                  <a:gd name="connsiteX0" fmla="*/ 6763 w 10953"/>
                  <a:gd name="connsiteY0" fmla="*/ 3620 h 9810"/>
                  <a:gd name="connsiteX1" fmla="*/ 6001 w 10953"/>
                  <a:gd name="connsiteY1" fmla="*/ 1429 h 9810"/>
                  <a:gd name="connsiteX2" fmla="*/ 5429 w 10953"/>
                  <a:gd name="connsiteY2" fmla="*/ 0 h 9810"/>
                  <a:gd name="connsiteX3" fmla="*/ 4191 w 10953"/>
                  <a:gd name="connsiteY3" fmla="*/ 3620 h 9810"/>
                  <a:gd name="connsiteX4" fmla="*/ 1619 w 10953"/>
                  <a:gd name="connsiteY4" fmla="*/ 3620 h 9810"/>
                  <a:gd name="connsiteX5" fmla="*/ 0 w 10953"/>
                  <a:gd name="connsiteY5" fmla="*/ 3715 h 9810"/>
                  <a:gd name="connsiteX6" fmla="*/ 1333 w 10953"/>
                  <a:gd name="connsiteY6" fmla="*/ 4667 h 9810"/>
                  <a:gd name="connsiteX7" fmla="*/ 3334 w 10953"/>
                  <a:gd name="connsiteY7" fmla="*/ 6096 h 9810"/>
                  <a:gd name="connsiteX8" fmla="*/ 2572 w 10953"/>
                  <a:gd name="connsiteY8" fmla="*/ 8287 h 9810"/>
                  <a:gd name="connsiteX9" fmla="*/ 2096 w 10953"/>
                  <a:gd name="connsiteY9" fmla="*/ 9811 h 9810"/>
                  <a:gd name="connsiteX10" fmla="*/ 3429 w 10953"/>
                  <a:gd name="connsiteY10" fmla="*/ 8954 h 9810"/>
                  <a:gd name="connsiteX11" fmla="*/ 5429 w 10953"/>
                  <a:gd name="connsiteY11" fmla="*/ 7620 h 9810"/>
                  <a:gd name="connsiteX12" fmla="*/ 7525 w 10953"/>
                  <a:gd name="connsiteY12" fmla="*/ 8954 h 9810"/>
                  <a:gd name="connsiteX13" fmla="*/ 8858 w 10953"/>
                  <a:gd name="connsiteY13" fmla="*/ 9811 h 9810"/>
                  <a:gd name="connsiteX14" fmla="*/ 8382 w 10953"/>
                  <a:gd name="connsiteY14" fmla="*/ 8287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620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429" y="0"/>
                    </a:lnTo>
                    <a:lnTo>
                      <a:pt x="4191" y="3620"/>
                    </a:lnTo>
                    <a:lnTo>
                      <a:pt x="1619" y="3620"/>
                    </a:lnTo>
                    <a:lnTo>
                      <a:pt x="0" y="3715"/>
                    </a:lnTo>
                    <a:lnTo>
                      <a:pt x="1333" y="4667"/>
                    </a:lnTo>
                    <a:lnTo>
                      <a:pt x="3334" y="6096"/>
                    </a:lnTo>
                    <a:lnTo>
                      <a:pt x="2572" y="8287"/>
                    </a:lnTo>
                    <a:lnTo>
                      <a:pt x="2096" y="9811"/>
                    </a:lnTo>
                    <a:lnTo>
                      <a:pt x="3429" y="8954"/>
                    </a:lnTo>
                    <a:lnTo>
                      <a:pt x="5429" y="7620"/>
                    </a:lnTo>
                    <a:lnTo>
                      <a:pt x="7525" y="8954"/>
                    </a:lnTo>
                    <a:lnTo>
                      <a:pt x="8858" y="9811"/>
                    </a:lnTo>
                    <a:lnTo>
                      <a:pt x="8382" y="8287"/>
                    </a:lnTo>
                    <a:lnTo>
                      <a:pt x="7620" y="6096"/>
                    </a:lnTo>
                    <a:lnTo>
                      <a:pt x="9620" y="4667"/>
                    </a:lnTo>
                    <a:lnTo>
                      <a:pt x="10954" y="3715"/>
                    </a:lnTo>
                    <a:lnTo>
                      <a:pt x="9334" y="3620"/>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5" name="Freeform 23">
                <a:extLst>
                  <a:ext uri="{FF2B5EF4-FFF2-40B4-BE49-F238E27FC236}">
                    <a16:creationId xmlns:a16="http://schemas.microsoft.com/office/drawing/2014/main" id="{22BD3E4C-D9E3-C831-A5AB-2F48BE7CCDB0}"/>
                  </a:ext>
                </a:extLst>
              </p:cNvPr>
              <p:cNvSpPr/>
              <p:nvPr/>
            </p:nvSpPr>
            <p:spPr>
              <a:xfrm>
                <a:off x="159066" y="3932206"/>
                <a:ext cx="13239" cy="11715"/>
              </a:xfrm>
              <a:custGeom>
                <a:avLst/>
                <a:gdLst>
                  <a:gd name="connsiteX0" fmla="*/ 10573 w 13239"/>
                  <a:gd name="connsiteY0" fmla="*/ 11716 h 11715"/>
                  <a:gd name="connsiteX1" fmla="*/ 6572 w 13239"/>
                  <a:gd name="connsiteY1" fmla="*/ 9049 h 11715"/>
                  <a:gd name="connsiteX2" fmla="*/ 2572 w 13239"/>
                  <a:gd name="connsiteY2" fmla="*/ 11716 h 11715"/>
                  <a:gd name="connsiteX3" fmla="*/ 4001 w 13239"/>
                  <a:gd name="connsiteY3" fmla="*/ 7239 h 11715"/>
                  <a:gd name="connsiteX4" fmla="*/ 0 w 13239"/>
                  <a:gd name="connsiteY4" fmla="*/ 4381 h 11715"/>
                  <a:gd name="connsiteX5" fmla="*/ 5048 w 13239"/>
                  <a:gd name="connsiteY5" fmla="*/ 4286 h 11715"/>
                  <a:gd name="connsiteX6" fmla="*/ 6668 w 13239"/>
                  <a:gd name="connsiteY6" fmla="*/ 0 h 11715"/>
                  <a:gd name="connsiteX7" fmla="*/ 8287 w 13239"/>
                  <a:gd name="connsiteY7" fmla="*/ 4286 h 11715"/>
                  <a:gd name="connsiteX8" fmla="*/ 13240 w 13239"/>
                  <a:gd name="connsiteY8" fmla="*/ 4381 h 11715"/>
                  <a:gd name="connsiteX9" fmla="*/ 9239 w 13239"/>
                  <a:gd name="connsiteY9" fmla="*/ 7239 h 11715"/>
                  <a:gd name="connsiteX10" fmla="*/ 10573 w 13239"/>
                  <a:gd name="connsiteY10" fmla="*/ 11716 h 11715"/>
                  <a:gd name="connsiteX11" fmla="*/ 2096 w 13239"/>
                  <a:gd name="connsiteY11" fmla="*/ 5048 h 11715"/>
                  <a:gd name="connsiteX12" fmla="*/ 4763 w 13239"/>
                  <a:gd name="connsiteY12" fmla="*/ 6953 h 11715"/>
                  <a:gd name="connsiteX13" fmla="*/ 3810 w 13239"/>
                  <a:gd name="connsiteY13" fmla="*/ 10001 h 11715"/>
                  <a:gd name="connsiteX14" fmla="*/ 6477 w 13239"/>
                  <a:gd name="connsiteY14" fmla="*/ 8191 h 11715"/>
                  <a:gd name="connsiteX15" fmla="*/ 9144 w 13239"/>
                  <a:gd name="connsiteY15" fmla="*/ 10001 h 11715"/>
                  <a:gd name="connsiteX16" fmla="*/ 8192 w 13239"/>
                  <a:gd name="connsiteY16" fmla="*/ 6953 h 11715"/>
                  <a:gd name="connsiteX17" fmla="*/ 10859 w 13239"/>
                  <a:gd name="connsiteY17" fmla="*/ 5048 h 11715"/>
                  <a:gd name="connsiteX18" fmla="*/ 7525 w 13239"/>
                  <a:gd name="connsiteY18" fmla="*/ 4953 h 11715"/>
                  <a:gd name="connsiteX19" fmla="*/ 6477 w 13239"/>
                  <a:gd name="connsiteY19" fmla="*/ 2000 h 11715"/>
                  <a:gd name="connsiteX20" fmla="*/ 5429 w 13239"/>
                  <a:gd name="connsiteY20" fmla="*/ 4953 h 11715"/>
                  <a:gd name="connsiteX21" fmla="*/ 2096 w 1323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238" h="11715">
                    <a:moveTo>
                      <a:pt x="10573" y="11716"/>
                    </a:moveTo>
                    <a:lnTo>
                      <a:pt x="6572" y="9049"/>
                    </a:lnTo>
                    <a:lnTo>
                      <a:pt x="2572" y="11716"/>
                    </a:lnTo>
                    <a:lnTo>
                      <a:pt x="4001" y="7239"/>
                    </a:lnTo>
                    <a:lnTo>
                      <a:pt x="0" y="4381"/>
                    </a:lnTo>
                    <a:lnTo>
                      <a:pt x="5048" y="4286"/>
                    </a:lnTo>
                    <a:lnTo>
                      <a:pt x="6668" y="0"/>
                    </a:lnTo>
                    <a:lnTo>
                      <a:pt x="8287" y="4286"/>
                    </a:lnTo>
                    <a:lnTo>
                      <a:pt x="13240" y="4381"/>
                    </a:lnTo>
                    <a:lnTo>
                      <a:pt x="9239" y="7239"/>
                    </a:lnTo>
                    <a:lnTo>
                      <a:pt x="10573" y="11716"/>
                    </a:lnTo>
                    <a:close/>
                    <a:moveTo>
                      <a:pt x="2096" y="5048"/>
                    </a:moveTo>
                    <a:lnTo>
                      <a:pt x="4763" y="6953"/>
                    </a:lnTo>
                    <a:lnTo>
                      <a:pt x="3810" y="10001"/>
                    </a:lnTo>
                    <a:lnTo>
                      <a:pt x="6477" y="8191"/>
                    </a:lnTo>
                    <a:lnTo>
                      <a:pt x="9144" y="10001"/>
                    </a:lnTo>
                    <a:lnTo>
                      <a:pt x="8192" y="6953"/>
                    </a:lnTo>
                    <a:lnTo>
                      <a:pt x="10859" y="5048"/>
                    </a:lnTo>
                    <a:lnTo>
                      <a:pt x="7525" y="4953"/>
                    </a:lnTo>
                    <a:lnTo>
                      <a:pt x="6477" y="2000"/>
                    </a:lnTo>
                    <a:lnTo>
                      <a:pt x="5429"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6" name="Freeform 24">
                <a:extLst>
                  <a:ext uri="{FF2B5EF4-FFF2-40B4-BE49-F238E27FC236}">
                    <a16:creationId xmlns:a16="http://schemas.microsoft.com/office/drawing/2014/main" id="{815F8C7C-9ED2-BE62-6406-490B9287CCFB}"/>
                  </a:ext>
                </a:extLst>
              </p:cNvPr>
              <p:cNvSpPr/>
              <p:nvPr/>
            </p:nvSpPr>
            <p:spPr>
              <a:xfrm>
                <a:off x="142397" y="3928587"/>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7" name="Freeform 25">
                <a:extLst>
                  <a:ext uri="{FF2B5EF4-FFF2-40B4-BE49-F238E27FC236}">
                    <a16:creationId xmlns:a16="http://schemas.microsoft.com/office/drawing/2014/main" id="{C514A78C-E4E9-897D-CF3A-5640F1255A49}"/>
                  </a:ext>
                </a:extLst>
              </p:cNvPr>
              <p:cNvSpPr/>
              <p:nvPr/>
            </p:nvSpPr>
            <p:spPr>
              <a:xfrm>
                <a:off x="141255" y="3927539"/>
                <a:ext cx="13144" cy="11715"/>
              </a:xfrm>
              <a:custGeom>
                <a:avLst/>
                <a:gdLst>
                  <a:gd name="connsiteX0" fmla="*/ 2572 w 13144"/>
                  <a:gd name="connsiteY0" fmla="*/ 11716 h 11715"/>
                  <a:gd name="connsiteX1" fmla="*/ 4000 w 13144"/>
                  <a:gd name="connsiteY1" fmla="*/ 7239 h 11715"/>
                  <a:gd name="connsiteX2" fmla="*/ 0 w 13144"/>
                  <a:gd name="connsiteY2" fmla="*/ 4382 h 11715"/>
                  <a:gd name="connsiteX3" fmla="*/ 5048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668 w 13144"/>
                  <a:gd name="connsiteY11" fmla="*/ 8192 h 11715"/>
                  <a:gd name="connsiteX12" fmla="*/ 9430 w 13144"/>
                  <a:gd name="connsiteY12" fmla="*/ 10001 h 11715"/>
                  <a:gd name="connsiteX13" fmla="*/ 8477 w 13144"/>
                  <a:gd name="connsiteY13" fmla="*/ 6953 h 11715"/>
                  <a:gd name="connsiteX14" fmla="*/ 11144 w 13144"/>
                  <a:gd name="connsiteY14" fmla="*/ 5048 h 11715"/>
                  <a:gd name="connsiteX15" fmla="*/ 7810 w 13144"/>
                  <a:gd name="connsiteY15" fmla="*/ 4953 h 11715"/>
                  <a:gd name="connsiteX16" fmla="*/ 6763 w 13144"/>
                  <a:gd name="connsiteY16" fmla="*/ 2000 h 11715"/>
                  <a:gd name="connsiteX17" fmla="*/ 5715 w 13144"/>
                  <a:gd name="connsiteY17" fmla="*/ 4953 h 11715"/>
                  <a:gd name="connsiteX18" fmla="*/ 2381 w 13144"/>
                  <a:gd name="connsiteY18" fmla="*/ 5048 h 11715"/>
                  <a:gd name="connsiteX19" fmla="*/ 5048 w 13144"/>
                  <a:gd name="connsiteY19" fmla="*/ 6953 h 11715"/>
                  <a:gd name="connsiteX20" fmla="*/ 4096 w 13144"/>
                  <a:gd name="connsiteY20" fmla="*/ 10001 h 11715"/>
                  <a:gd name="connsiteX21" fmla="*/ 6668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0" y="7239"/>
                    </a:lnTo>
                    <a:lnTo>
                      <a:pt x="0" y="4382"/>
                    </a:lnTo>
                    <a:lnTo>
                      <a:pt x="5048" y="4286"/>
                    </a:lnTo>
                    <a:lnTo>
                      <a:pt x="6572" y="0"/>
                    </a:lnTo>
                    <a:lnTo>
                      <a:pt x="8192" y="4286"/>
                    </a:lnTo>
                    <a:lnTo>
                      <a:pt x="13145" y="4382"/>
                    </a:lnTo>
                    <a:lnTo>
                      <a:pt x="9144" y="7239"/>
                    </a:lnTo>
                    <a:lnTo>
                      <a:pt x="10573" y="11716"/>
                    </a:lnTo>
                    <a:lnTo>
                      <a:pt x="6572" y="9049"/>
                    </a:lnTo>
                    <a:lnTo>
                      <a:pt x="2572" y="11716"/>
                    </a:lnTo>
                    <a:close/>
                    <a:moveTo>
                      <a:pt x="6668" y="8192"/>
                    </a:moveTo>
                    <a:lnTo>
                      <a:pt x="9430" y="10001"/>
                    </a:lnTo>
                    <a:lnTo>
                      <a:pt x="8477" y="6953"/>
                    </a:lnTo>
                    <a:lnTo>
                      <a:pt x="11144" y="5048"/>
                    </a:lnTo>
                    <a:lnTo>
                      <a:pt x="7810" y="4953"/>
                    </a:lnTo>
                    <a:lnTo>
                      <a:pt x="6763" y="2000"/>
                    </a:lnTo>
                    <a:lnTo>
                      <a:pt x="5715" y="4953"/>
                    </a:lnTo>
                    <a:lnTo>
                      <a:pt x="2381" y="5048"/>
                    </a:lnTo>
                    <a:lnTo>
                      <a:pt x="5048" y="6953"/>
                    </a:lnTo>
                    <a:lnTo>
                      <a:pt x="4096" y="10001"/>
                    </a:lnTo>
                    <a:lnTo>
                      <a:pt x="6668"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8" name="Freeform 26">
                <a:extLst>
                  <a:ext uri="{FF2B5EF4-FFF2-40B4-BE49-F238E27FC236}">
                    <a16:creationId xmlns:a16="http://schemas.microsoft.com/office/drawing/2014/main" id="{A8686417-449B-AC63-4038-06AD13F9B026}"/>
                  </a:ext>
                </a:extLst>
              </p:cNvPr>
              <p:cNvSpPr/>
              <p:nvPr/>
            </p:nvSpPr>
            <p:spPr>
              <a:xfrm>
                <a:off x="124871" y="3933254"/>
                <a:ext cx="10953" cy="9810"/>
              </a:xfrm>
              <a:custGeom>
                <a:avLst/>
                <a:gdLst>
                  <a:gd name="connsiteX0" fmla="*/ 6858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620 h 9810"/>
                  <a:gd name="connsiteX6" fmla="*/ 0 w 10953"/>
                  <a:gd name="connsiteY6" fmla="*/ 3715 h 9810"/>
                  <a:gd name="connsiteX7" fmla="*/ 1333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620 w 10953"/>
                  <a:gd name="connsiteY16" fmla="*/ 6096 h 9810"/>
                  <a:gd name="connsiteX17" fmla="*/ 9620 w 10953"/>
                  <a:gd name="connsiteY17" fmla="*/ 4667 h 9810"/>
                  <a:gd name="connsiteX18" fmla="*/ 10954 w 10953"/>
                  <a:gd name="connsiteY18" fmla="*/ 3715 h 9810"/>
                  <a:gd name="connsiteX19" fmla="*/ 9334 w 10953"/>
                  <a:gd name="connsiteY19" fmla="*/ 3620 h 9810"/>
                  <a:gd name="connsiteX20" fmla="*/ 6858 w 10953"/>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20"/>
                    </a:moveTo>
                    <a:lnTo>
                      <a:pt x="6001" y="1429"/>
                    </a:lnTo>
                    <a:lnTo>
                      <a:pt x="5525" y="0"/>
                    </a:lnTo>
                    <a:lnTo>
                      <a:pt x="4953" y="1429"/>
                    </a:lnTo>
                    <a:lnTo>
                      <a:pt x="4191" y="3620"/>
                    </a:lnTo>
                    <a:lnTo>
                      <a:pt x="1715" y="3620"/>
                    </a:lnTo>
                    <a:lnTo>
                      <a:pt x="0" y="3715"/>
                    </a:lnTo>
                    <a:lnTo>
                      <a:pt x="1333" y="4667"/>
                    </a:lnTo>
                    <a:lnTo>
                      <a:pt x="3334" y="6096"/>
                    </a:lnTo>
                    <a:lnTo>
                      <a:pt x="2572" y="8287"/>
                    </a:lnTo>
                    <a:lnTo>
                      <a:pt x="2096" y="9811"/>
                    </a:lnTo>
                    <a:lnTo>
                      <a:pt x="3429" y="8954"/>
                    </a:lnTo>
                    <a:lnTo>
                      <a:pt x="5525" y="7620"/>
                    </a:lnTo>
                    <a:lnTo>
                      <a:pt x="7525" y="8954"/>
                    </a:lnTo>
                    <a:lnTo>
                      <a:pt x="8858" y="9811"/>
                    </a:lnTo>
                    <a:lnTo>
                      <a:pt x="8382" y="8287"/>
                    </a:lnTo>
                    <a:lnTo>
                      <a:pt x="7620"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19" name="Freeform 27">
                <a:extLst>
                  <a:ext uri="{FF2B5EF4-FFF2-40B4-BE49-F238E27FC236}">
                    <a16:creationId xmlns:a16="http://schemas.microsoft.com/office/drawing/2014/main" id="{46C3435E-600C-BEAF-A765-A868AA25EB34}"/>
                  </a:ext>
                </a:extLst>
              </p:cNvPr>
              <p:cNvSpPr/>
              <p:nvPr/>
            </p:nvSpPr>
            <p:spPr>
              <a:xfrm>
                <a:off x="123728" y="3932111"/>
                <a:ext cx="13335" cy="11810"/>
              </a:xfrm>
              <a:custGeom>
                <a:avLst/>
                <a:gdLst>
                  <a:gd name="connsiteX0" fmla="*/ 2572 w 13335"/>
                  <a:gd name="connsiteY0" fmla="*/ 11811 h 11810"/>
                  <a:gd name="connsiteX1" fmla="*/ 4001 w 13335"/>
                  <a:gd name="connsiteY1" fmla="*/ 7334 h 11810"/>
                  <a:gd name="connsiteX2" fmla="*/ 0 w 13335"/>
                  <a:gd name="connsiteY2" fmla="*/ 4477 h 11810"/>
                  <a:gd name="connsiteX3" fmla="*/ 5048 w 13335"/>
                  <a:gd name="connsiteY3" fmla="*/ 4381 h 11810"/>
                  <a:gd name="connsiteX4" fmla="*/ 6668 w 13335"/>
                  <a:gd name="connsiteY4" fmla="*/ 0 h 11810"/>
                  <a:gd name="connsiteX5" fmla="*/ 8287 w 13335"/>
                  <a:gd name="connsiteY5" fmla="*/ 4381 h 11810"/>
                  <a:gd name="connsiteX6" fmla="*/ 13335 w 13335"/>
                  <a:gd name="connsiteY6" fmla="*/ 4477 h 11810"/>
                  <a:gd name="connsiteX7" fmla="*/ 9334 w 13335"/>
                  <a:gd name="connsiteY7" fmla="*/ 7334 h 11810"/>
                  <a:gd name="connsiteX8" fmla="*/ 10763 w 13335"/>
                  <a:gd name="connsiteY8" fmla="*/ 11811 h 11810"/>
                  <a:gd name="connsiteX9" fmla="*/ 6763 w 13335"/>
                  <a:gd name="connsiteY9" fmla="*/ 9144 h 11810"/>
                  <a:gd name="connsiteX10" fmla="*/ 2572 w 13335"/>
                  <a:gd name="connsiteY10" fmla="*/ 11811 h 11810"/>
                  <a:gd name="connsiteX11" fmla="*/ 6668 w 13335"/>
                  <a:gd name="connsiteY11" fmla="*/ 8287 h 11810"/>
                  <a:gd name="connsiteX12" fmla="*/ 9334 w 13335"/>
                  <a:gd name="connsiteY12" fmla="*/ 10096 h 11810"/>
                  <a:gd name="connsiteX13" fmla="*/ 8382 w 13335"/>
                  <a:gd name="connsiteY13" fmla="*/ 7048 h 11810"/>
                  <a:gd name="connsiteX14" fmla="*/ 11049 w 13335"/>
                  <a:gd name="connsiteY14" fmla="*/ 5144 h 11810"/>
                  <a:gd name="connsiteX15" fmla="*/ 7715 w 13335"/>
                  <a:gd name="connsiteY15" fmla="*/ 5048 h 11810"/>
                  <a:gd name="connsiteX16" fmla="*/ 6668 w 13335"/>
                  <a:gd name="connsiteY16" fmla="*/ 2096 h 11810"/>
                  <a:gd name="connsiteX17" fmla="*/ 5620 w 13335"/>
                  <a:gd name="connsiteY17" fmla="*/ 5048 h 11810"/>
                  <a:gd name="connsiteX18" fmla="*/ 2286 w 13335"/>
                  <a:gd name="connsiteY18" fmla="*/ 5144 h 11810"/>
                  <a:gd name="connsiteX19" fmla="*/ 4953 w 13335"/>
                  <a:gd name="connsiteY19" fmla="*/ 7048 h 11810"/>
                  <a:gd name="connsiteX20" fmla="*/ 4001 w 13335"/>
                  <a:gd name="connsiteY20" fmla="*/ 10096 h 11810"/>
                  <a:gd name="connsiteX21" fmla="*/ 6668 w 13335"/>
                  <a:gd name="connsiteY21" fmla="*/ 8287 h 1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810">
                    <a:moveTo>
                      <a:pt x="2572" y="11811"/>
                    </a:moveTo>
                    <a:lnTo>
                      <a:pt x="4001" y="7334"/>
                    </a:lnTo>
                    <a:lnTo>
                      <a:pt x="0" y="4477"/>
                    </a:lnTo>
                    <a:lnTo>
                      <a:pt x="5048" y="4381"/>
                    </a:lnTo>
                    <a:lnTo>
                      <a:pt x="6668" y="0"/>
                    </a:lnTo>
                    <a:lnTo>
                      <a:pt x="8287" y="4381"/>
                    </a:lnTo>
                    <a:lnTo>
                      <a:pt x="13335" y="4477"/>
                    </a:lnTo>
                    <a:lnTo>
                      <a:pt x="9334" y="7334"/>
                    </a:lnTo>
                    <a:lnTo>
                      <a:pt x="10763" y="11811"/>
                    </a:lnTo>
                    <a:lnTo>
                      <a:pt x="6763" y="9144"/>
                    </a:lnTo>
                    <a:lnTo>
                      <a:pt x="2572" y="11811"/>
                    </a:lnTo>
                    <a:close/>
                    <a:moveTo>
                      <a:pt x="6668" y="8287"/>
                    </a:moveTo>
                    <a:lnTo>
                      <a:pt x="9334" y="10096"/>
                    </a:lnTo>
                    <a:lnTo>
                      <a:pt x="8382" y="7048"/>
                    </a:lnTo>
                    <a:lnTo>
                      <a:pt x="11049" y="5144"/>
                    </a:lnTo>
                    <a:lnTo>
                      <a:pt x="7715" y="5048"/>
                    </a:lnTo>
                    <a:lnTo>
                      <a:pt x="6668" y="2096"/>
                    </a:lnTo>
                    <a:lnTo>
                      <a:pt x="5620" y="5048"/>
                    </a:lnTo>
                    <a:lnTo>
                      <a:pt x="2286" y="5144"/>
                    </a:lnTo>
                    <a:lnTo>
                      <a:pt x="4953" y="7048"/>
                    </a:lnTo>
                    <a:lnTo>
                      <a:pt x="4001" y="10096"/>
                    </a:lnTo>
                    <a:lnTo>
                      <a:pt x="6668" y="8287"/>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0" name="Freeform 28">
                <a:extLst>
                  <a:ext uri="{FF2B5EF4-FFF2-40B4-BE49-F238E27FC236}">
                    <a16:creationId xmlns:a16="http://schemas.microsoft.com/office/drawing/2014/main" id="{7F520F26-8C83-ADA8-8BDF-61265ABD2463}"/>
                  </a:ext>
                </a:extLst>
              </p:cNvPr>
              <p:cNvSpPr/>
              <p:nvPr/>
            </p:nvSpPr>
            <p:spPr>
              <a:xfrm>
                <a:off x="112108" y="3945827"/>
                <a:ext cx="10953" cy="9810"/>
              </a:xfrm>
              <a:custGeom>
                <a:avLst/>
                <a:gdLst>
                  <a:gd name="connsiteX0" fmla="*/ 6763 w 10953"/>
                  <a:gd name="connsiteY0" fmla="*/ 3620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20 h 9810"/>
                  <a:gd name="connsiteX5" fmla="*/ 1715 w 10953"/>
                  <a:gd name="connsiteY5" fmla="*/ 3715 h 9810"/>
                  <a:gd name="connsiteX6" fmla="*/ 0 w 10953"/>
                  <a:gd name="connsiteY6" fmla="*/ 3715 h 9810"/>
                  <a:gd name="connsiteX7" fmla="*/ 1334 w 10953"/>
                  <a:gd name="connsiteY7" fmla="*/ 4667 h 9810"/>
                  <a:gd name="connsiteX8" fmla="*/ 3334 w 10953"/>
                  <a:gd name="connsiteY8" fmla="*/ 6096 h 9810"/>
                  <a:gd name="connsiteX9" fmla="*/ 2572 w 10953"/>
                  <a:gd name="connsiteY9" fmla="*/ 8287 h 9810"/>
                  <a:gd name="connsiteX10" fmla="*/ 2096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7620 w 10953"/>
                  <a:gd name="connsiteY15" fmla="*/ 6096 h 9810"/>
                  <a:gd name="connsiteX16" fmla="*/ 9620 w 10953"/>
                  <a:gd name="connsiteY16" fmla="*/ 4667 h 9810"/>
                  <a:gd name="connsiteX17" fmla="*/ 10954 w 10953"/>
                  <a:gd name="connsiteY17" fmla="*/ 3715 h 9810"/>
                  <a:gd name="connsiteX18" fmla="*/ 9334 w 10953"/>
                  <a:gd name="connsiteY18" fmla="*/ 3715 h 9810"/>
                  <a:gd name="connsiteX19" fmla="*/ 6763 w 10953"/>
                  <a:gd name="connsiteY19"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810">
                    <a:moveTo>
                      <a:pt x="6763" y="3620"/>
                    </a:moveTo>
                    <a:lnTo>
                      <a:pt x="6001" y="1429"/>
                    </a:lnTo>
                    <a:lnTo>
                      <a:pt x="5525" y="0"/>
                    </a:lnTo>
                    <a:lnTo>
                      <a:pt x="4953" y="1429"/>
                    </a:lnTo>
                    <a:lnTo>
                      <a:pt x="4191" y="3620"/>
                    </a:lnTo>
                    <a:lnTo>
                      <a:pt x="1715" y="3715"/>
                    </a:lnTo>
                    <a:lnTo>
                      <a:pt x="0" y="3715"/>
                    </a:lnTo>
                    <a:lnTo>
                      <a:pt x="1334" y="4667"/>
                    </a:lnTo>
                    <a:lnTo>
                      <a:pt x="3334" y="6096"/>
                    </a:lnTo>
                    <a:lnTo>
                      <a:pt x="2572" y="8287"/>
                    </a:lnTo>
                    <a:lnTo>
                      <a:pt x="2096" y="9811"/>
                    </a:lnTo>
                    <a:lnTo>
                      <a:pt x="3429" y="8954"/>
                    </a:lnTo>
                    <a:lnTo>
                      <a:pt x="5525" y="7620"/>
                    </a:lnTo>
                    <a:lnTo>
                      <a:pt x="7525" y="8954"/>
                    </a:lnTo>
                    <a:lnTo>
                      <a:pt x="8858" y="9811"/>
                    </a:lnTo>
                    <a:lnTo>
                      <a:pt x="7620" y="6096"/>
                    </a:lnTo>
                    <a:lnTo>
                      <a:pt x="9620" y="4667"/>
                    </a:lnTo>
                    <a:lnTo>
                      <a:pt x="10954" y="3715"/>
                    </a:lnTo>
                    <a:lnTo>
                      <a:pt x="9334" y="3715"/>
                    </a:lnTo>
                    <a:lnTo>
                      <a:pt x="6763"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 name="Freeform 29">
                <a:extLst>
                  <a:ext uri="{FF2B5EF4-FFF2-40B4-BE49-F238E27FC236}">
                    <a16:creationId xmlns:a16="http://schemas.microsoft.com/office/drawing/2014/main" id="{04EDD802-AB05-CBE2-D39E-96942A8F0044}"/>
                  </a:ext>
                </a:extLst>
              </p:cNvPr>
              <p:cNvSpPr/>
              <p:nvPr/>
            </p:nvSpPr>
            <p:spPr>
              <a:xfrm>
                <a:off x="111060" y="3944779"/>
                <a:ext cx="13049" cy="11715"/>
              </a:xfrm>
              <a:custGeom>
                <a:avLst/>
                <a:gdLst>
                  <a:gd name="connsiteX0" fmla="*/ 2572 w 13049"/>
                  <a:gd name="connsiteY0" fmla="*/ 11716 h 11715"/>
                  <a:gd name="connsiteX1" fmla="*/ 4000 w 13049"/>
                  <a:gd name="connsiteY1" fmla="*/ 7239 h 11715"/>
                  <a:gd name="connsiteX2" fmla="*/ 0 w 13049"/>
                  <a:gd name="connsiteY2" fmla="*/ 4382 h 11715"/>
                  <a:gd name="connsiteX3" fmla="*/ 4953 w 13049"/>
                  <a:gd name="connsiteY3" fmla="*/ 4286 h 11715"/>
                  <a:gd name="connsiteX4" fmla="*/ 6572 w 13049"/>
                  <a:gd name="connsiteY4" fmla="*/ 0 h 11715"/>
                  <a:gd name="connsiteX5" fmla="*/ 8096 w 13049"/>
                  <a:gd name="connsiteY5" fmla="*/ 4286 h 11715"/>
                  <a:gd name="connsiteX6" fmla="*/ 13049 w 13049"/>
                  <a:gd name="connsiteY6" fmla="*/ 4382 h 11715"/>
                  <a:gd name="connsiteX7" fmla="*/ 9049 w 13049"/>
                  <a:gd name="connsiteY7" fmla="*/ 7239 h 11715"/>
                  <a:gd name="connsiteX8" fmla="*/ 10477 w 13049"/>
                  <a:gd name="connsiteY8" fmla="*/ 11716 h 11715"/>
                  <a:gd name="connsiteX9" fmla="*/ 6477 w 13049"/>
                  <a:gd name="connsiteY9" fmla="*/ 9049 h 11715"/>
                  <a:gd name="connsiteX10" fmla="*/ 2572 w 13049"/>
                  <a:gd name="connsiteY10" fmla="*/ 11716 h 11715"/>
                  <a:gd name="connsiteX11" fmla="*/ 6572 w 13049"/>
                  <a:gd name="connsiteY11" fmla="*/ 8192 h 11715"/>
                  <a:gd name="connsiteX12" fmla="*/ 9239 w 13049"/>
                  <a:gd name="connsiteY12" fmla="*/ 10001 h 11715"/>
                  <a:gd name="connsiteX13" fmla="*/ 8287 w 13049"/>
                  <a:gd name="connsiteY13" fmla="*/ 6953 h 11715"/>
                  <a:gd name="connsiteX14" fmla="*/ 10954 w 13049"/>
                  <a:gd name="connsiteY14" fmla="*/ 5048 h 11715"/>
                  <a:gd name="connsiteX15" fmla="*/ 7620 w 13049"/>
                  <a:gd name="connsiteY15" fmla="*/ 4953 h 11715"/>
                  <a:gd name="connsiteX16" fmla="*/ 6572 w 13049"/>
                  <a:gd name="connsiteY16" fmla="*/ 2000 h 11715"/>
                  <a:gd name="connsiteX17" fmla="*/ 5524 w 13049"/>
                  <a:gd name="connsiteY17" fmla="*/ 4953 h 11715"/>
                  <a:gd name="connsiteX18" fmla="*/ 2191 w 13049"/>
                  <a:gd name="connsiteY18" fmla="*/ 5048 h 11715"/>
                  <a:gd name="connsiteX19" fmla="*/ 4858 w 13049"/>
                  <a:gd name="connsiteY19" fmla="*/ 6953 h 11715"/>
                  <a:gd name="connsiteX20" fmla="*/ 3905 w 13049"/>
                  <a:gd name="connsiteY20" fmla="*/ 10001 h 11715"/>
                  <a:gd name="connsiteX21" fmla="*/ 6572 w 13049"/>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2572" y="11716"/>
                    </a:moveTo>
                    <a:lnTo>
                      <a:pt x="4000" y="7239"/>
                    </a:lnTo>
                    <a:lnTo>
                      <a:pt x="0" y="4382"/>
                    </a:lnTo>
                    <a:lnTo>
                      <a:pt x="4953" y="4286"/>
                    </a:lnTo>
                    <a:lnTo>
                      <a:pt x="6572" y="0"/>
                    </a:lnTo>
                    <a:lnTo>
                      <a:pt x="8096" y="4286"/>
                    </a:lnTo>
                    <a:lnTo>
                      <a:pt x="13049" y="4382"/>
                    </a:lnTo>
                    <a:lnTo>
                      <a:pt x="9049" y="7239"/>
                    </a:lnTo>
                    <a:lnTo>
                      <a:pt x="10477" y="11716"/>
                    </a:lnTo>
                    <a:lnTo>
                      <a:pt x="6477"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2" name="Freeform 30">
                <a:extLst>
                  <a:ext uri="{FF2B5EF4-FFF2-40B4-BE49-F238E27FC236}">
                    <a16:creationId xmlns:a16="http://schemas.microsoft.com/office/drawing/2014/main" id="{EA700793-4E69-97E2-3E2D-DF6A03FE9AEB}"/>
                  </a:ext>
                </a:extLst>
              </p:cNvPr>
              <p:cNvSpPr/>
              <p:nvPr/>
            </p:nvSpPr>
            <p:spPr>
              <a:xfrm>
                <a:off x="107345" y="3963448"/>
                <a:ext cx="10953" cy="9810"/>
              </a:xfrm>
              <a:custGeom>
                <a:avLst/>
                <a:gdLst>
                  <a:gd name="connsiteX0" fmla="*/ 7525 w 10953"/>
                  <a:gd name="connsiteY0" fmla="*/ 8954 h 9810"/>
                  <a:gd name="connsiteX1" fmla="*/ 8858 w 10953"/>
                  <a:gd name="connsiteY1" fmla="*/ 9811 h 9810"/>
                  <a:gd name="connsiteX2" fmla="*/ 8382 w 10953"/>
                  <a:gd name="connsiteY2" fmla="*/ 8287 h 9810"/>
                  <a:gd name="connsiteX3" fmla="*/ 7620 w 10953"/>
                  <a:gd name="connsiteY3" fmla="*/ 6096 h 9810"/>
                  <a:gd name="connsiteX4" fmla="*/ 9620 w 10953"/>
                  <a:gd name="connsiteY4" fmla="*/ 4667 h 9810"/>
                  <a:gd name="connsiteX5" fmla="*/ 10954 w 10953"/>
                  <a:gd name="connsiteY5" fmla="*/ 3715 h 9810"/>
                  <a:gd name="connsiteX6" fmla="*/ 9334 w 10953"/>
                  <a:gd name="connsiteY6" fmla="*/ 3620 h 9810"/>
                  <a:gd name="connsiteX7" fmla="*/ 6763 w 10953"/>
                  <a:gd name="connsiteY7" fmla="*/ 3620 h 9810"/>
                  <a:gd name="connsiteX8" fmla="*/ 6001 w 10953"/>
                  <a:gd name="connsiteY8" fmla="*/ 1333 h 9810"/>
                  <a:gd name="connsiteX9" fmla="*/ 5429 w 10953"/>
                  <a:gd name="connsiteY9" fmla="*/ 0 h 9810"/>
                  <a:gd name="connsiteX10" fmla="*/ 4953 w 10953"/>
                  <a:gd name="connsiteY10" fmla="*/ 1333 h 9810"/>
                  <a:gd name="connsiteX11" fmla="*/ 4096 w 10953"/>
                  <a:gd name="connsiteY11" fmla="*/ 3620 h 9810"/>
                  <a:gd name="connsiteX12" fmla="*/ 1619 w 10953"/>
                  <a:gd name="connsiteY12" fmla="*/ 3620 h 9810"/>
                  <a:gd name="connsiteX13" fmla="*/ 0 w 10953"/>
                  <a:gd name="connsiteY13" fmla="*/ 3715 h 9810"/>
                  <a:gd name="connsiteX14" fmla="*/ 1334 w 10953"/>
                  <a:gd name="connsiteY14" fmla="*/ 4667 h 9810"/>
                  <a:gd name="connsiteX15" fmla="*/ 3334 w 10953"/>
                  <a:gd name="connsiteY15" fmla="*/ 6096 h 9810"/>
                  <a:gd name="connsiteX16" fmla="*/ 2572 w 10953"/>
                  <a:gd name="connsiteY16" fmla="*/ 8287 h 9810"/>
                  <a:gd name="connsiteX17" fmla="*/ 2096 w 10953"/>
                  <a:gd name="connsiteY17" fmla="*/ 9811 h 9810"/>
                  <a:gd name="connsiteX18" fmla="*/ 3429 w 10953"/>
                  <a:gd name="connsiteY18" fmla="*/ 8954 h 9810"/>
                  <a:gd name="connsiteX19" fmla="*/ 5429 w 10953"/>
                  <a:gd name="connsiteY19" fmla="*/ 7525 h 9810"/>
                  <a:gd name="connsiteX20" fmla="*/ 7525 w 10953"/>
                  <a:gd name="connsiteY20" fmla="*/ 8954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7525" y="8954"/>
                    </a:moveTo>
                    <a:lnTo>
                      <a:pt x="8858" y="9811"/>
                    </a:lnTo>
                    <a:lnTo>
                      <a:pt x="8382" y="8287"/>
                    </a:lnTo>
                    <a:lnTo>
                      <a:pt x="7620" y="6096"/>
                    </a:lnTo>
                    <a:lnTo>
                      <a:pt x="9620" y="4667"/>
                    </a:lnTo>
                    <a:lnTo>
                      <a:pt x="10954" y="3715"/>
                    </a:lnTo>
                    <a:lnTo>
                      <a:pt x="9334" y="3620"/>
                    </a:lnTo>
                    <a:lnTo>
                      <a:pt x="6763" y="3620"/>
                    </a:lnTo>
                    <a:lnTo>
                      <a:pt x="6001" y="1333"/>
                    </a:lnTo>
                    <a:lnTo>
                      <a:pt x="5429" y="0"/>
                    </a:lnTo>
                    <a:lnTo>
                      <a:pt x="4953" y="1333"/>
                    </a:lnTo>
                    <a:lnTo>
                      <a:pt x="4096" y="3620"/>
                    </a:lnTo>
                    <a:lnTo>
                      <a:pt x="1619" y="3620"/>
                    </a:lnTo>
                    <a:lnTo>
                      <a:pt x="0" y="3715"/>
                    </a:lnTo>
                    <a:lnTo>
                      <a:pt x="1334" y="4667"/>
                    </a:lnTo>
                    <a:lnTo>
                      <a:pt x="3334" y="6096"/>
                    </a:lnTo>
                    <a:lnTo>
                      <a:pt x="2572" y="8287"/>
                    </a:lnTo>
                    <a:lnTo>
                      <a:pt x="2096" y="9811"/>
                    </a:lnTo>
                    <a:lnTo>
                      <a:pt x="3429" y="8954"/>
                    </a:lnTo>
                    <a:lnTo>
                      <a:pt x="5429" y="7525"/>
                    </a:lnTo>
                    <a:lnTo>
                      <a:pt x="7525" y="8954"/>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3" name="Freeform 31">
                <a:extLst>
                  <a:ext uri="{FF2B5EF4-FFF2-40B4-BE49-F238E27FC236}">
                    <a16:creationId xmlns:a16="http://schemas.microsoft.com/office/drawing/2014/main" id="{B498228F-28C6-F96D-F6FB-4B213F354FA1}"/>
                  </a:ext>
                </a:extLst>
              </p:cNvPr>
              <p:cNvSpPr/>
              <p:nvPr/>
            </p:nvSpPr>
            <p:spPr>
              <a:xfrm>
                <a:off x="106202" y="3962400"/>
                <a:ext cx="13144" cy="11715"/>
              </a:xfrm>
              <a:custGeom>
                <a:avLst/>
                <a:gdLst>
                  <a:gd name="connsiteX0" fmla="*/ 2572 w 13144"/>
                  <a:gd name="connsiteY0" fmla="*/ 11716 h 11715"/>
                  <a:gd name="connsiteX1" fmla="*/ 4001 w 13144"/>
                  <a:gd name="connsiteY1" fmla="*/ 7239 h 11715"/>
                  <a:gd name="connsiteX2" fmla="*/ 0 w 13144"/>
                  <a:gd name="connsiteY2" fmla="*/ 4382 h 11715"/>
                  <a:gd name="connsiteX3" fmla="*/ 4953 w 13144"/>
                  <a:gd name="connsiteY3" fmla="*/ 4286 h 11715"/>
                  <a:gd name="connsiteX4" fmla="*/ 6572 w 13144"/>
                  <a:gd name="connsiteY4" fmla="*/ 0 h 11715"/>
                  <a:gd name="connsiteX5" fmla="*/ 8192 w 13144"/>
                  <a:gd name="connsiteY5" fmla="*/ 4286 h 11715"/>
                  <a:gd name="connsiteX6" fmla="*/ 13145 w 13144"/>
                  <a:gd name="connsiteY6" fmla="*/ 4382 h 11715"/>
                  <a:gd name="connsiteX7" fmla="*/ 9144 w 13144"/>
                  <a:gd name="connsiteY7" fmla="*/ 7239 h 11715"/>
                  <a:gd name="connsiteX8" fmla="*/ 10573 w 13144"/>
                  <a:gd name="connsiteY8" fmla="*/ 11716 h 11715"/>
                  <a:gd name="connsiteX9" fmla="*/ 6572 w 13144"/>
                  <a:gd name="connsiteY9" fmla="*/ 9049 h 11715"/>
                  <a:gd name="connsiteX10" fmla="*/ 2572 w 13144"/>
                  <a:gd name="connsiteY10" fmla="*/ 11716 h 11715"/>
                  <a:gd name="connsiteX11" fmla="*/ 6572 w 13144"/>
                  <a:gd name="connsiteY11" fmla="*/ 8192 h 11715"/>
                  <a:gd name="connsiteX12" fmla="*/ 9239 w 13144"/>
                  <a:gd name="connsiteY12" fmla="*/ 10001 h 11715"/>
                  <a:gd name="connsiteX13" fmla="*/ 8287 w 13144"/>
                  <a:gd name="connsiteY13" fmla="*/ 6953 h 11715"/>
                  <a:gd name="connsiteX14" fmla="*/ 10954 w 13144"/>
                  <a:gd name="connsiteY14" fmla="*/ 5048 h 11715"/>
                  <a:gd name="connsiteX15" fmla="*/ 7620 w 13144"/>
                  <a:gd name="connsiteY15" fmla="*/ 4953 h 11715"/>
                  <a:gd name="connsiteX16" fmla="*/ 6572 w 13144"/>
                  <a:gd name="connsiteY16" fmla="*/ 2000 h 11715"/>
                  <a:gd name="connsiteX17" fmla="*/ 5525 w 13144"/>
                  <a:gd name="connsiteY17" fmla="*/ 4953 h 11715"/>
                  <a:gd name="connsiteX18" fmla="*/ 2191 w 13144"/>
                  <a:gd name="connsiteY18" fmla="*/ 5048 h 11715"/>
                  <a:gd name="connsiteX19" fmla="*/ 4858 w 13144"/>
                  <a:gd name="connsiteY19" fmla="*/ 6953 h 11715"/>
                  <a:gd name="connsiteX20" fmla="*/ 3905 w 13144"/>
                  <a:gd name="connsiteY20" fmla="*/ 10001 h 11715"/>
                  <a:gd name="connsiteX21" fmla="*/ 6572 w 1314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2572" y="11716"/>
                    </a:moveTo>
                    <a:lnTo>
                      <a:pt x="4001" y="7239"/>
                    </a:lnTo>
                    <a:lnTo>
                      <a:pt x="0" y="4382"/>
                    </a:lnTo>
                    <a:lnTo>
                      <a:pt x="4953" y="4286"/>
                    </a:lnTo>
                    <a:lnTo>
                      <a:pt x="6572" y="0"/>
                    </a:lnTo>
                    <a:lnTo>
                      <a:pt x="8192" y="4286"/>
                    </a:lnTo>
                    <a:lnTo>
                      <a:pt x="13145" y="4382"/>
                    </a:lnTo>
                    <a:lnTo>
                      <a:pt x="9144" y="7239"/>
                    </a:lnTo>
                    <a:lnTo>
                      <a:pt x="10573" y="11716"/>
                    </a:lnTo>
                    <a:lnTo>
                      <a:pt x="6572" y="9049"/>
                    </a:lnTo>
                    <a:lnTo>
                      <a:pt x="2572" y="11716"/>
                    </a:lnTo>
                    <a:close/>
                    <a:moveTo>
                      <a:pt x="6572" y="8192"/>
                    </a:moveTo>
                    <a:lnTo>
                      <a:pt x="9239" y="10001"/>
                    </a:lnTo>
                    <a:lnTo>
                      <a:pt x="8287" y="6953"/>
                    </a:lnTo>
                    <a:lnTo>
                      <a:pt x="10954" y="5048"/>
                    </a:lnTo>
                    <a:lnTo>
                      <a:pt x="7620" y="4953"/>
                    </a:lnTo>
                    <a:lnTo>
                      <a:pt x="6572" y="2000"/>
                    </a:lnTo>
                    <a:lnTo>
                      <a:pt x="5525"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4" name="Freeform 32">
                <a:extLst>
                  <a:ext uri="{FF2B5EF4-FFF2-40B4-BE49-F238E27FC236}">
                    <a16:creationId xmlns:a16="http://schemas.microsoft.com/office/drawing/2014/main" id="{7780EBDD-298F-54E8-8FD5-FE46E0C2BD68}"/>
                  </a:ext>
                </a:extLst>
              </p:cNvPr>
              <p:cNvSpPr/>
              <p:nvPr/>
            </p:nvSpPr>
            <p:spPr>
              <a:xfrm>
                <a:off x="112013" y="3980783"/>
                <a:ext cx="10953" cy="9811"/>
              </a:xfrm>
              <a:custGeom>
                <a:avLst/>
                <a:gdLst>
                  <a:gd name="connsiteX0" fmla="*/ 6858 w 10953"/>
                  <a:gd name="connsiteY0" fmla="*/ 3620 h 9811"/>
                  <a:gd name="connsiteX1" fmla="*/ 6001 w 10953"/>
                  <a:gd name="connsiteY1" fmla="*/ 1429 h 9811"/>
                  <a:gd name="connsiteX2" fmla="*/ 5524 w 10953"/>
                  <a:gd name="connsiteY2" fmla="*/ 0 h 9811"/>
                  <a:gd name="connsiteX3" fmla="*/ 4953 w 10953"/>
                  <a:gd name="connsiteY3" fmla="*/ 1429 h 9811"/>
                  <a:gd name="connsiteX4" fmla="*/ 4191 w 10953"/>
                  <a:gd name="connsiteY4" fmla="*/ 3620 h 9811"/>
                  <a:gd name="connsiteX5" fmla="*/ 1715 w 10953"/>
                  <a:gd name="connsiteY5" fmla="*/ 3620 h 9811"/>
                  <a:gd name="connsiteX6" fmla="*/ 0 w 10953"/>
                  <a:gd name="connsiteY6" fmla="*/ 3715 h 9811"/>
                  <a:gd name="connsiteX7" fmla="*/ 1429 w 10953"/>
                  <a:gd name="connsiteY7" fmla="*/ 4667 h 9811"/>
                  <a:gd name="connsiteX8" fmla="*/ 3334 w 10953"/>
                  <a:gd name="connsiteY8" fmla="*/ 6096 h 9811"/>
                  <a:gd name="connsiteX9" fmla="*/ 2667 w 10953"/>
                  <a:gd name="connsiteY9" fmla="*/ 8287 h 9811"/>
                  <a:gd name="connsiteX10" fmla="*/ 2096 w 10953"/>
                  <a:gd name="connsiteY10" fmla="*/ 9811 h 9811"/>
                  <a:gd name="connsiteX11" fmla="*/ 3429 w 10953"/>
                  <a:gd name="connsiteY11" fmla="*/ 8954 h 9811"/>
                  <a:gd name="connsiteX12" fmla="*/ 5524 w 10953"/>
                  <a:gd name="connsiteY12" fmla="*/ 7620 h 9811"/>
                  <a:gd name="connsiteX13" fmla="*/ 7525 w 10953"/>
                  <a:gd name="connsiteY13" fmla="*/ 8954 h 9811"/>
                  <a:gd name="connsiteX14" fmla="*/ 8858 w 10953"/>
                  <a:gd name="connsiteY14" fmla="*/ 9811 h 9811"/>
                  <a:gd name="connsiteX15" fmla="*/ 8382 w 10953"/>
                  <a:gd name="connsiteY15" fmla="*/ 8287 h 9811"/>
                  <a:gd name="connsiteX16" fmla="*/ 7715 w 10953"/>
                  <a:gd name="connsiteY16" fmla="*/ 6096 h 9811"/>
                  <a:gd name="connsiteX17" fmla="*/ 9620 w 10953"/>
                  <a:gd name="connsiteY17" fmla="*/ 4667 h 9811"/>
                  <a:gd name="connsiteX18" fmla="*/ 10954 w 10953"/>
                  <a:gd name="connsiteY18" fmla="*/ 3715 h 9811"/>
                  <a:gd name="connsiteX19" fmla="*/ 9334 w 10953"/>
                  <a:gd name="connsiteY19" fmla="*/ 3620 h 9811"/>
                  <a:gd name="connsiteX20" fmla="*/ 6858 w 10953"/>
                  <a:gd name="connsiteY20" fmla="*/ 3620 h 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1">
                    <a:moveTo>
                      <a:pt x="6858" y="3620"/>
                    </a:moveTo>
                    <a:lnTo>
                      <a:pt x="6001" y="1429"/>
                    </a:lnTo>
                    <a:lnTo>
                      <a:pt x="5524" y="0"/>
                    </a:lnTo>
                    <a:lnTo>
                      <a:pt x="4953" y="1429"/>
                    </a:lnTo>
                    <a:lnTo>
                      <a:pt x="4191" y="3620"/>
                    </a:lnTo>
                    <a:lnTo>
                      <a:pt x="1715" y="3620"/>
                    </a:lnTo>
                    <a:lnTo>
                      <a:pt x="0" y="3715"/>
                    </a:lnTo>
                    <a:lnTo>
                      <a:pt x="1429" y="4667"/>
                    </a:lnTo>
                    <a:lnTo>
                      <a:pt x="3334" y="6096"/>
                    </a:lnTo>
                    <a:lnTo>
                      <a:pt x="2667" y="8287"/>
                    </a:lnTo>
                    <a:lnTo>
                      <a:pt x="2096" y="9811"/>
                    </a:lnTo>
                    <a:lnTo>
                      <a:pt x="3429" y="8954"/>
                    </a:lnTo>
                    <a:lnTo>
                      <a:pt x="5524" y="7620"/>
                    </a:lnTo>
                    <a:lnTo>
                      <a:pt x="7525" y="8954"/>
                    </a:lnTo>
                    <a:lnTo>
                      <a:pt x="8858" y="9811"/>
                    </a:lnTo>
                    <a:lnTo>
                      <a:pt x="8382" y="8287"/>
                    </a:lnTo>
                    <a:lnTo>
                      <a:pt x="7715" y="6096"/>
                    </a:lnTo>
                    <a:lnTo>
                      <a:pt x="9620" y="4667"/>
                    </a:lnTo>
                    <a:lnTo>
                      <a:pt x="10954" y="3715"/>
                    </a:lnTo>
                    <a:lnTo>
                      <a:pt x="9334" y="3620"/>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5" name="Freeform 33">
                <a:extLst>
                  <a:ext uri="{FF2B5EF4-FFF2-40B4-BE49-F238E27FC236}">
                    <a16:creationId xmlns:a16="http://schemas.microsoft.com/office/drawing/2014/main" id="{C6C8A085-8A06-0928-C41A-8284755EFE51}"/>
                  </a:ext>
                </a:extLst>
              </p:cNvPr>
              <p:cNvSpPr/>
              <p:nvPr/>
            </p:nvSpPr>
            <p:spPr>
              <a:xfrm>
                <a:off x="110965" y="3979831"/>
                <a:ext cx="13049" cy="11620"/>
              </a:xfrm>
              <a:custGeom>
                <a:avLst/>
                <a:gdLst>
                  <a:gd name="connsiteX0" fmla="*/ 10573 w 13049"/>
                  <a:gd name="connsiteY0" fmla="*/ 11621 h 11620"/>
                  <a:gd name="connsiteX1" fmla="*/ 6572 w 13049"/>
                  <a:gd name="connsiteY1" fmla="*/ 8954 h 11620"/>
                  <a:gd name="connsiteX2" fmla="*/ 2572 w 13049"/>
                  <a:gd name="connsiteY2" fmla="*/ 11621 h 11620"/>
                  <a:gd name="connsiteX3" fmla="*/ 4001 w 13049"/>
                  <a:gd name="connsiteY3" fmla="*/ 7239 h 11620"/>
                  <a:gd name="connsiteX4" fmla="*/ 0 w 13049"/>
                  <a:gd name="connsiteY4" fmla="*/ 4381 h 11620"/>
                  <a:gd name="connsiteX5" fmla="*/ 4953 w 13049"/>
                  <a:gd name="connsiteY5" fmla="*/ 4286 h 11620"/>
                  <a:gd name="connsiteX6" fmla="*/ 6572 w 13049"/>
                  <a:gd name="connsiteY6" fmla="*/ 0 h 11620"/>
                  <a:gd name="connsiteX7" fmla="*/ 8096 w 13049"/>
                  <a:gd name="connsiteY7" fmla="*/ 4286 h 11620"/>
                  <a:gd name="connsiteX8" fmla="*/ 13049 w 13049"/>
                  <a:gd name="connsiteY8" fmla="*/ 4381 h 11620"/>
                  <a:gd name="connsiteX9" fmla="*/ 9049 w 13049"/>
                  <a:gd name="connsiteY9" fmla="*/ 7239 h 11620"/>
                  <a:gd name="connsiteX10" fmla="*/ 10573 w 13049"/>
                  <a:gd name="connsiteY10" fmla="*/ 11621 h 11620"/>
                  <a:gd name="connsiteX11" fmla="*/ 6572 w 13049"/>
                  <a:gd name="connsiteY11" fmla="*/ 8096 h 11620"/>
                  <a:gd name="connsiteX12" fmla="*/ 9239 w 13049"/>
                  <a:gd name="connsiteY12" fmla="*/ 9906 h 11620"/>
                  <a:gd name="connsiteX13" fmla="*/ 8287 w 13049"/>
                  <a:gd name="connsiteY13" fmla="*/ 6953 h 11620"/>
                  <a:gd name="connsiteX14" fmla="*/ 10954 w 13049"/>
                  <a:gd name="connsiteY14" fmla="*/ 5048 h 11620"/>
                  <a:gd name="connsiteX15" fmla="*/ 7620 w 13049"/>
                  <a:gd name="connsiteY15" fmla="*/ 4953 h 11620"/>
                  <a:gd name="connsiteX16" fmla="*/ 6572 w 13049"/>
                  <a:gd name="connsiteY16" fmla="*/ 2000 h 11620"/>
                  <a:gd name="connsiteX17" fmla="*/ 5525 w 13049"/>
                  <a:gd name="connsiteY17" fmla="*/ 4953 h 11620"/>
                  <a:gd name="connsiteX18" fmla="*/ 2191 w 13049"/>
                  <a:gd name="connsiteY18" fmla="*/ 5048 h 11620"/>
                  <a:gd name="connsiteX19" fmla="*/ 4858 w 13049"/>
                  <a:gd name="connsiteY19" fmla="*/ 6953 h 11620"/>
                  <a:gd name="connsiteX20" fmla="*/ 3905 w 13049"/>
                  <a:gd name="connsiteY20" fmla="*/ 9906 h 11620"/>
                  <a:gd name="connsiteX21" fmla="*/ 6572 w 13049"/>
                  <a:gd name="connsiteY21" fmla="*/ 8096 h 1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620">
                    <a:moveTo>
                      <a:pt x="10573" y="11621"/>
                    </a:moveTo>
                    <a:lnTo>
                      <a:pt x="6572" y="8954"/>
                    </a:lnTo>
                    <a:lnTo>
                      <a:pt x="2572" y="11621"/>
                    </a:lnTo>
                    <a:lnTo>
                      <a:pt x="4001" y="7239"/>
                    </a:lnTo>
                    <a:lnTo>
                      <a:pt x="0" y="4381"/>
                    </a:lnTo>
                    <a:lnTo>
                      <a:pt x="4953" y="4286"/>
                    </a:lnTo>
                    <a:lnTo>
                      <a:pt x="6572" y="0"/>
                    </a:lnTo>
                    <a:lnTo>
                      <a:pt x="8096" y="4286"/>
                    </a:lnTo>
                    <a:lnTo>
                      <a:pt x="13049" y="4381"/>
                    </a:lnTo>
                    <a:lnTo>
                      <a:pt x="9049" y="7239"/>
                    </a:lnTo>
                    <a:lnTo>
                      <a:pt x="10573" y="11621"/>
                    </a:lnTo>
                    <a:close/>
                    <a:moveTo>
                      <a:pt x="6572" y="8096"/>
                    </a:moveTo>
                    <a:lnTo>
                      <a:pt x="9239" y="9906"/>
                    </a:lnTo>
                    <a:lnTo>
                      <a:pt x="8287" y="6953"/>
                    </a:lnTo>
                    <a:lnTo>
                      <a:pt x="10954" y="5048"/>
                    </a:lnTo>
                    <a:lnTo>
                      <a:pt x="7620" y="4953"/>
                    </a:lnTo>
                    <a:lnTo>
                      <a:pt x="6572" y="2000"/>
                    </a:lnTo>
                    <a:lnTo>
                      <a:pt x="5525" y="4953"/>
                    </a:lnTo>
                    <a:lnTo>
                      <a:pt x="2191" y="5048"/>
                    </a:lnTo>
                    <a:lnTo>
                      <a:pt x="4858" y="6953"/>
                    </a:lnTo>
                    <a:lnTo>
                      <a:pt x="3905" y="9906"/>
                    </a:lnTo>
                    <a:lnTo>
                      <a:pt x="6572" y="8096"/>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6" name="Freeform 34">
                <a:extLst>
                  <a:ext uri="{FF2B5EF4-FFF2-40B4-BE49-F238E27FC236}">
                    <a16:creationId xmlns:a16="http://schemas.microsoft.com/office/drawing/2014/main" id="{2C043848-1AF7-AD53-28AE-F42D05829D1A}"/>
                  </a:ext>
                </a:extLst>
              </p:cNvPr>
              <p:cNvSpPr/>
              <p:nvPr/>
            </p:nvSpPr>
            <p:spPr>
              <a:xfrm>
                <a:off x="124681" y="3993452"/>
                <a:ext cx="11048" cy="9810"/>
              </a:xfrm>
              <a:custGeom>
                <a:avLst/>
                <a:gdLst>
                  <a:gd name="connsiteX0" fmla="*/ 6858 w 11048"/>
                  <a:gd name="connsiteY0" fmla="*/ 3620 h 9810"/>
                  <a:gd name="connsiteX1" fmla="*/ 6001 w 11048"/>
                  <a:gd name="connsiteY1" fmla="*/ 1429 h 9810"/>
                  <a:gd name="connsiteX2" fmla="*/ 5525 w 11048"/>
                  <a:gd name="connsiteY2" fmla="*/ 0 h 9810"/>
                  <a:gd name="connsiteX3" fmla="*/ 4953 w 11048"/>
                  <a:gd name="connsiteY3" fmla="*/ 1429 h 9810"/>
                  <a:gd name="connsiteX4" fmla="*/ 4191 w 11048"/>
                  <a:gd name="connsiteY4" fmla="*/ 3620 h 9810"/>
                  <a:gd name="connsiteX5" fmla="*/ 1715 w 11048"/>
                  <a:gd name="connsiteY5" fmla="*/ 3715 h 9810"/>
                  <a:gd name="connsiteX6" fmla="*/ 0 w 11048"/>
                  <a:gd name="connsiteY6" fmla="*/ 3715 h 9810"/>
                  <a:gd name="connsiteX7" fmla="*/ 1429 w 11048"/>
                  <a:gd name="connsiteY7" fmla="*/ 4667 h 9810"/>
                  <a:gd name="connsiteX8" fmla="*/ 3334 w 11048"/>
                  <a:gd name="connsiteY8" fmla="*/ 6096 h 9810"/>
                  <a:gd name="connsiteX9" fmla="*/ 2667 w 11048"/>
                  <a:gd name="connsiteY9" fmla="*/ 8287 h 9810"/>
                  <a:gd name="connsiteX10" fmla="*/ 2191 w 11048"/>
                  <a:gd name="connsiteY10" fmla="*/ 9811 h 9810"/>
                  <a:gd name="connsiteX11" fmla="*/ 3429 w 11048"/>
                  <a:gd name="connsiteY11" fmla="*/ 8954 h 9810"/>
                  <a:gd name="connsiteX12" fmla="*/ 5525 w 11048"/>
                  <a:gd name="connsiteY12" fmla="*/ 7620 h 9810"/>
                  <a:gd name="connsiteX13" fmla="*/ 7525 w 11048"/>
                  <a:gd name="connsiteY13" fmla="*/ 8954 h 9810"/>
                  <a:gd name="connsiteX14" fmla="*/ 8858 w 11048"/>
                  <a:gd name="connsiteY14" fmla="*/ 9811 h 9810"/>
                  <a:gd name="connsiteX15" fmla="*/ 8382 w 11048"/>
                  <a:gd name="connsiteY15" fmla="*/ 8287 h 9810"/>
                  <a:gd name="connsiteX16" fmla="*/ 7715 w 11048"/>
                  <a:gd name="connsiteY16" fmla="*/ 6096 h 9810"/>
                  <a:gd name="connsiteX17" fmla="*/ 9620 w 11048"/>
                  <a:gd name="connsiteY17" fmla="*/ 4667 h 9810"/>
                  <a:gd name="connsiteX18" fmla="*/ 11049 w 11048"/>
                  <a:gd name="connsiteY18" fmla="*/ 3715 h 9810"/>
                  <a:gd name="connsiteX19" fmla="*/ 9335 w 11048"/>
                  <a:gd name="connsiteY19" fmla="*/ 3715 h 9810"/>
                  <a:gd name="connsiteX20" fmla="*/ 6858 w 11048"/>
                  <a:gd name="connsiteY20" fmla="*/ 3620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48" h="9810">
                    <a:moveTo>
                      <a:pt x="6858" y="3620"/>
                    </a:moveTo>
                    <a:lnTo>
                      <a:pt x="6001" y="1429"/>
                    </a:lnTo>
                    <a:lnTo>
                      <a:pt x="5525" y="0"/>
                    </a:lnTo>
                    <a:lnTo>
                      <a:pt x="4953" y="1429"/>
                    </a:lnTo>
                    <a:lnTo>
                      <a:pt x="4191" y="3620"/>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1049" y="3715"/>
                    </a:lnTo>
                    <a:lnTo>
                      <a:pt x="9335"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7" name="Freeform 35">
                <a:extLst>
                  <a:ext uri="{FF2B5EF4-FFF2-40B4-BE49-F238E27FC236}">
                    <a16:creationId xmlns:a16="http://schemas.microsoft.com/office/drawing/2014/main" id="{807FC7F3-B3D1-828A-5F02-0AB7E62B3421}"/>
                  </a:ext>
                </a:extLst>
              </p:cNvPr>
              <p:cNvSpPr/>
              <p:nvPr/>
            </p:nvSpPr>
            <p:spPr>
              <a:xfrm>
                <a:off x="123633" y="3992404"/>
                <a:ext cx="13334" cy="11715"/>
              </a:xfrm>
              <a:custGeom>
                <a:avLst/>
                <a:gdLst>
                  <a:gd name="connsiteX0" fmla="*/ 2572 w 13334"/>
                  <a:gd name="connsiteY0" fmla="*/ 11716 h 11715"/>
                  <a:gd name="connsiteX1" fmla="*/ 4000 w 13334"/>
                  <a:gd name="connsiteY1" fmla="*/ 7239 h 11715"/>
                  <a:gd name="connsiteX2" fmla="*/ 0 w 13334"/>
                  <a:gd name="connsiteY2" fmla="*/ 4382 h 11715"/>
                  <a:gd name="connsiteX3" fmla="*/ 5048 w 13334"/>
                  <a:gd name="connsiteY3" fmla="*/ 4286 h 11715"/>
                  <a:gd name="connsiteX4" fmla="*/ 6667 w 13334"/>
                  <a:gd name="connsiteY4" fmla="*/ 0 h 11715"/>
                  <a:gd name="connsiteX5" fmla="*/ 8287 w 13334"/>
                  <a:gd name="connsiteY5" fmla="*/ 4286 h 11715"/>
                  <a:gd name="connsiteX6" fmla="*/ 13335 w 13334"/>
                  <a:gd name="connsiteY6" fmla="*/ 4382 h 11715"/>
                  <a:gd name="connsiteX7" fmla="*/ 9334 w 13334"/>
                  <a:gd name="connsiteY7" fmla="*/ 7239 h 11715"/>
                  <a:gd name="connsiteX8" fmla="*/ 10763 w 13334"/>
                  <a:gd name="connsiteY8" fmla="*/ 11716 h 11715"/>
                  <a:gd name="connsiteX9" fmla="*/ 6763 w 13334"/>
                  <a:gd name="connsiteY9" fmla="*/ 9049 h 11715"/>
                  <a:gd name="connsiteX10" fmla="*/ 2572 w 13334"/>
                  <a:gd name="connsiteY10" fmla="*/ 11716 h 11715"/>
                  <a:gd name="connsiteX11" fmla="*/ 6572 w 13334"/>
                  <a:gd name="connsiteY11" fmla="*/ 8192 h 11715"/>
                  <a:gd name="connsiteX12" fmla="*/ 9239 w 13334"/>
                  <a:gd name="connsiteY12" fmla="*/ 10001 h 11715"/>
                  <a:gd name="connsiteX13" fmla="*/ 8287 w 13334"/>
                  <a:gd name="connsiteY13" fmla="*/ 6953 h 11715"/>
                  <a:gd name="connsiteX14" fmla="*/ 10954 w 13334"/>
                  <a:gd name="connsiteY14" fmla="*/ 5048 h 11715"/>
                  <a:gd name="connsiteX15" fmla="*/ 7620 w 13334"/>
                  <a:gd name="connsiteY15" fmla="*/ 4953 h 11715"/>
                  <a:gd name="connsiteX16" fmla="*/ 6572 w 13334"/>
                  <a:gd name="connsiteY16" fmla="*/ 2000 h 11715"/>
                  <a:gd name="connsiteX17" fmla="*/ 5524 w 13334"/>
                  <a:gd name="connsiteY17" fmla="*/ 4953 h 11715"/>
                  <a:gd name="connsiteX18" fmla="*/ 2191 w 13334"/>
                  <a:gd name="connsiteY18" fmla="*/ 5048 h 11715"/>
                  <a:gd name="connsiteX19" fmla="*/ 4858 w 13334"/>
                  <a:gd name="connsiteY19" fmla="*/ 6953 h 11715"/>
                  <a:gd name="connsiteX20" fmla="*/ 3905 w 13334"/>
                  <a:gd name="connsiteY20" fmla="*/ 10001 h 11715"/>
                  <a:gd name="connsiteX21" fmla="*/ 6572 w 13334"/>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3" h="11715">
                    <a:moveTo>
                      <a:pt x="2572" y="11716"/>
                    </a:moveTo>
                    <a:lnTo>
                      <a:pt x="4000" y="7239"/>
                    </a:lnTo>
                    <a:lnTo>
                      <a:pt x="0" y="4382"/>
                    </a:lnTo>
                    <a:lnTo>
                      <a:pt x="5048" y="4286"/>
                    </a:lnTo>
                    <a:lnTo>
                      <a:pt x="6667" y="0"/>
                    </a:lnTo>
                    <a:lnTo>
                      <a:pt x="8287" y="4286"/>
                    </a:lnTo>
                    <a:lnTo>
                      <a:pt x="13335" y="4382"/>
                    </a:lnTo>
                    <a:lnTo>
                      <a:pt x="9334" y="7239"/>
                    </a:lnTo>
                    <a:lnTo>
                      <a:pt x="10763" y="11716"/>
                    </a:lnTo>
                    <a:lnTo>
                      <a:pt x="6763" y="9049"/>
                    </a:lnTo>
                    <a:lnTo>
                      <a:pt x="2572" y="11716"/>
                    </a:lnTo>
                    <a:close/>
                    <a:moveTo>
                      <a:pt x="6572" y="8192"/>
                    </a:moveTo>
                    <a:lnTo>
                      <a:pt x="9239" y="10001"/>
                    </a:lnTo>
                    <a:lnTo>
                      <a:pt x="8287" y="6953"/>
                    </a:lnTo>
                    <a:lnTo>
                      <a:pt x="10954" y="5048"/>
                    </a:lnTo>
                    <a:lnTo>
                      <a:pt x="7620" y="4953"/>
                    </a:lnTo>
                    <a:lnTo>
                      <a:pt x="6572" y="2000"/>
                    </a:lnTo>
                    <a:lnTo>
                      <a:pt x="5524" y="4953"/>
                    </a:lnTo>
                    <a:lnTo>
                      <a:pt x="2191" y="5048"/>
                    </a:lnTo>
                    <a:lnTo>
                      <a:pt x="4858" y="6953"/>
                    </a:lnTo>
                    <a:lnTo>
                      <a:pt x="3905"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8" name="Freeform 36">
                <a:extLst>
                  <a:ext uri="{FF2B5EF4-FFF2-40B4-BE49-F238E27FC236}">
                    <a16:creationId xmlns:a16="http://schemas.microsoft.com/office/drawing/2014/main" id="{3232620F-96DE-3E5E-5E99-DCF4A9631089}"/>
                  </a:ext>
                </a:extLst>
              </p:cNvPr>
              <p:cNvSpPr/>
              <p:nvPr/>
            </p:nvSpPr>
            <p:spPr>
              <a:xfrm>
                <a:off x="142397" y="3998119"/>
                <a:ext cx="10953" cy="9906"/>
              </a:xfrm>
              <a:custGeom>
                <a:avLst/>
                <a:gdLst>
                  <a:gd name="connsiteX0" fmla="*/ 6858 w 10953"/>
                  <a:gd name="connsiteY0" fmla="*/ 3620 h 9906"/>
                  <a:gd name="connsiteX1" fmla="*/ 6001 w 10953"/>
                  <a:gd name="connsiteY1" fmla="*/ 1429 h 9906"/>
                  <a:gd name="connsiteX2" fmla="*/ 5525 w 10953"/>
                  <a:gd name="connsiteY2" fmla="*/ 0 h 9906"/>
                  <a:gd name="connsiteX3" fmla="*/ 4953 w 10953"/>
                  <a:gd name="connsiteY3" fmla="*/ 1429 h 9906"/>
                  <a:gd name="connsiteX4" fmla="*/ 4191 w 10953"/>
                  <a:gd name="connsiteY4" fmla="*/ 3620 h 9906"/>
                  <a:gd name="connsiteX5" fmla="*/ 1715 w 10953"/>
                  <a:gd name="connsiteY5" fmla="*/ 3715 h 9906"/>
                  <a:gd name="connsiteX6" fmla="*/ 0 w 10953"/>
                  <a:gd name="connsiteY6" fmla="*/ 3715 h 9906"/>
                  <a:gd name="connsiteX7" fmla="*/ 1333 w 10953"/>
                  <a:gd name="connsiteY7" fmla="*/ 4763 h 9906"/>
                  <a:gd name="connsiteX8" fmla="*/ 3334 w 10953"/>
                  <a:gd name="connsiteY8" fmla="*/ 6096 h 9906"/>
                  <a:gd name="connsiteX9" fmla="*/ 2572 w 10953"/>
                  <a:gd name="connsiteY9" fmla="*/ 8382 h 9906"/>
                  <a:gd name="connsiteX10" fmla="*/ 2096 w 10953"/>
                  <a:gd name="connsiteY10" fmla="*/ 9906 h 9906"/>
                  <a:gd name="connsiteX11" fmla="*/ 5525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5" y="0"/>
                    </a:lnTo>
                    <a:lnTo>
                      <a:pt x="4953" y="1429"/>
                    </a:lnTo>
                    <a:lnTo>
                      <a:pt x="4191" y="3620"/>
                    </a:lnTo>
                    <a:lnTo>
                      <a:pt x="1715" y="3715"/>
                    </a:lnTo>
                    <a:lnTo>
                      <a:pt x="0" y="3715"/>
                    </a:lnTo>
                    <a:lnTo>
                      <a:pt x="1333" y="4763"/>
                    </a:lnTo>
                    <a:lnTo>
                      <a:pt x="3334" y="6096"/>
                    </a:lnTo>
                    <a:lnTo>
                      <a:pt x="2572" y="8382"/>
                    </a:lnTo>
                    <a:lnTo>
                      <a:pt x="2096" y="9906"/>
                    </a:lnTo>
                    <a:lnTo>
                      <a:pt x="5525"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9" name="Freeform 37">
                <a:extLst>
                  <a:ext uri="{FF2B5EF4-FFF2-40B4-BE49-F238E27FC236}">
                    <a16:creationId xmlns:a16="http://schemas.microsoft.com/office/drawing/2014/main" id="{01992BDB-4890-E124-5970-6D69213970E9}"/>
                  </a:ext>
                </a:extLst>
              </p:cNvPr>
              <p:cNvSpPr/>
              <p:nvPr/>
            </p:nvSpPr>
            <p:spPr>
              <a:xfrm>
                <a:off x="141350" y="3997166"/>
                <a:ext cx="13049" cy="11715"/>
              </a:xfrm>
              <a:custGeom>
                <a:avLst/>
                <a:gdLst>
                  <a:gd name="connsiteX0" fmla="*/ 10573 w 13049"/>
                  <a:gd name="connsiteY0" fmla="*/ 11716 h 11715"/>
                  <a:gd name="connsiteX1" fmla="*/ 6572 w 13049"/>
                  <a:gd name="connsiteY1" fmla="*/ 9049 h 11715"/>
                  <a:gd name="connsiteX2" fmla="*/ 2572 w 13049"/>
                  <a:gd name="connsiteY2" fmla="*/ 11716 h 11715"/>
                  <a:gd name="connsiteX3" fmla="*/ 4001 w 13049"/>
                  <a:gd name="connsiteY3" fmla="*/ 7239 h 11715"/>
                  <a:gd name="connsiteX4" fmla="*/ 0 w 13049"/>
                  <a:gd name="connsiteY4" fmla="*/ 4382 h 11715"/>
                  <a:gd name="connsiteX5" fmla="*/ 4953 w 13049"/>
                  <a:gd name="connsiteY5" fmla="*/ 4286 h 11715"/>
                  <a:gd name="connsiteX6" fmla="*/ 6477 w 13049"/>
                  <a:gd name="connsiteY6" fmla="*/ 0 h 11715"/>
                  <a:gd name="connsiteX7" fmla="*/ 8096 w 13049"/>
                  <a:gd name="connsiteY7" fmla="*/ 4286 h 11715"/>
                  <a:gd name="connsiteX8" fmla="*/ 13049 w 13049"/>
                  <a:gd name="connsiteY8" fmla="*/ 4382 h 11715"/>
                  <a:gd name="connsiteX9" fmla="*/ 9049 w 13049"/>
                  <a:gd name="connsiteY9" fmla="*/ 7239 h 11715"/>
                  <a:gd name="connsiteX10" fmla="*/ 10573 w 13049"/>
                  <a:gd name="connsiteY10" fmla="*/ 11716 h 11715"/>
                  <a:gd name="connsiteX11" fmla="*/ 2096 w 13049"/>
                  <a:gd name="connsiteY11" fmla="*/ 5048 h 11715"/>
                  <a:gd name="connsiteX12" fmla="*/ 4763 w 13049"/>
                  <a:gd name="connsiteY12" fmla="*/ 6953 h 11715"/>
                  <a:gd name="connsiteX13" fmla="*/ 3810 w 13049"/>
                  <a:gd name="connsiteY13" fmla="*/ 10001 h 11715"/>
                  <a:gd name="connsiteX14" fmla="*/ 6477 w 13049"/>
                  <a:gd name="connsiteY14" fmla="*/ 8192 h 11715"/>
                  <a:gd name="connsiteX15" fmla="*/ 9239 w 13049"/>
                  <a:gd name="connsiteY15" fmla="*/ 10001 h 11715"/>
                  <a:gd name="connsiteX16" fmla="*/ 8287 w 13049"/>
                  <a:gd name="connsiteY16" fmla="*/ 6953 h 11715"/>
                  <a:gd name="connsiteX17" fmla="*/ 10954 w 13049"/>
                  <a:gd name="connsiteY17" fmla="*/ 5048 h 11715"/>
                  <a:gd name="connsiteX18" fmla="*/ 7620 w 13049"/>
                  <a:gd name="connsiteY18" fmla="*/ 4953 h 11715"/>
                  <a:gd name="connsiteX19" fmla="*/ 6572 w 13049"/>
                  <a:gd name="connsiteY19" fmla="*/ 2000 h 11715"/>
                  <a:gd name="connsiteX20" fmla="*/ 5525 w 13049"/>
                  <a:gd name="connsiteY20" fmla="*/ 4953 h 11715"/>
                  <a:gd name="connsiteX21" fmla="*/ 2096 w 13049"/>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049" h="11715">
                    <a:moveTo>
                      <a:pt x="10573" y="11716"/>
                    </a:moveTo>
                    <a:lnTo>
                      <a:pt x="6572" y="9049"/>
                    </a:lnTo>
                    <a:lnTo>
                      <a:pt x="2572" y="11716"/>
                    </a:lnTo>
                    <a:lnTo>
                      <a:pt x="4001" y="7239"/>
                    </a:lnTo>
                    <a:lnTo>
                      <a:pt x="0" y="4382"/>
                    </a:lnTo>
                    <a:lnTo>
                      <a:pt x="4953" y="4286"/>
                    </a:lnTo>
                    <a:lnTo>
                      <a:pt x="6477" y="0"/>
                    </a:lnTo>
                    <a:lnTo>
                      <a:pt x="8096" y="4286"/>
                    </a:lnTo>
                    <a:lnTo>
                      <a:pt x="13049" y="4382"/>
                    </a:lnTo>
                    <a:lnTo>
                      <a:pt x="9049" y="7239"/>
                    </a:lnTo>
                    <a:lnTo>
                      <a:pt x="10573" y="11716"/>
                    </a:lnTo>
                    <a:close/>
                    <a:moveTo>
                      <a:pt x="2096" y="5048"/>
                    </a:moveTo>
                    <a:lnTo>
                      <a:pt x="4763" y="6953"/>
                    </a:lnTo>
                    <a:lnTo>
                      <a:pt x="3810" y="10001"/>
                    </a:lnTo>
                    <a:lnTo>
                      <a:pt x="6477" y="8192"/>
                    </a:lnTo>
                    <a:lnTo>
                      <a:pt x="9239" y="10001"/>
                    </a:lnTo>
                    <a:lnTo>
                      <a:pt x="8287" y="6953"/>
                    </a:lnTo>
                    <a:lnTo>
                      <a:pt x="10954" y="5048"/>
                    </a:lnTo>
                    <a:lnTo>
                      <a:pt x="7620" y="4953"/>
                    </a:lnTo>
                    <a:lnTo>
                      <a:pt x="6572" y="2000"/>
                    </a:lnTo>
                    <a:lnTo>
                      <a:pt x="5525" y="4953"/>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0" name="Freeform 38">
                <a:extLst>
                  <a:ext uri="{FF2B5EF4-FFF2-40B4-BE49-F238E27FC236}">
                    <a16:creationId xmlns:a16="http://schemas.microsoft.com/office/drawing/2014/main" id="{B20AB7B6-D298-F328-6030-0638C60EF151}"/>
                  </a:ext>
                </a:extLst>
              </p:cNvPr>
              <p:cNvSpPr/>
              <p:nvPr/>
            </p:nvSpPr>
            <p:spPr>
              <a:xfrm>
                <a:off x="159923" y="3993547"/>
                <a:ext cx="10953" cy="9810"/>
              </a:xfrm>
              <a:custGeom>
                <a:avLst/>
                <a:gdLst>
                  <a:gd name="connsiteX0" fmla="*/ 6858 w 10953"/>
                  <a:gd name="connsiteY0" fmla="*/ 3619 h 9810"/>
                  <a:gd name="connsiteX1" fmla="*/ 6001 w 10953"/>
                  <a:gd name="connsiteY1" fmla="*/ 1429 h 9810"/>
                  <a:gd name="connsiteX2" fmla="*/ 5525 w 10953"/>
                  <a:gd name="connsiteY2" fmla="*/ 0 h 9810"/>
                  <a:gd name="connsiteX3" fmla="*/ 4953 w 10953"/>
                  <a:gd name="connsiteY3" fmla="*/ 1429 h 9810"/>
                  <a:gd name="connsiteX4" fmla="*/ 4191 w 10953"/>
                  <a:gd name="connsiteY4" fmla="*/ 3619 h 9810"/>
                  <a:gd name="connsiteX5" fmla="*/ 1715 w 10953"/>
                  <a:gd name="connsiteY5" fmla="*/ 3715 h 9810"/>
                  <a:gd name="connsiteX6" fmla="*/ 0 w 10953"/>
                  <a:gd name="connsiteY6" fmla="*/ 3715 h 9810"/>
                  <a:gd name="connsiteX7" fmla="*/ 1429 w 10953"/>
                  <a:gd name="connsiteY7" fmla="*/ 4667 h 9810"/>
                  <a:gd name="connsiteX8" fmla="*/ 3334 w 10953"/>
                  <a:gd name="connsiteY8" fmla="*/ 6096 h 9810"/>
                  <a:gd name="connsiteX9" fmla="*/ 2667 w 10953"/>
                  <a:gd name="connsiteY9" fmla="*/ 8287 h 9810"/>
                  <a:gd name="connsiteX10" fmla="*/ 2191 w 10953"/>
                  <a:gd name="connsiteY10" fmla="*/ 9811 h 9810"/>
                  <a:gd name="connsiteX11" fmla="*/ 3429 w 10953"/>
                  <a:gd name="connsiteY11" fmla="*/ 8954 h 9810"/>
                  <a:gd name="connsiteX12" fmla="*/ 5525 w 10953"/>
                  <a:gd name="connsiteY12" fmla="*/ 7620 h 9810"/>
                  <a:gd name="connsiteX13" fmla="*/ 7525 w 10953"/>
                  <a:gd name="connsiteY13" fmla="*/ 8954 h 9810"/>
                  <a:gd name="connsiteX14" fmla="*/ 8858 w 10953"/>
                  <a:gd name="connsiteY14" fmla="*/ 9811 h 9810"/>
                  <a:gd name="connsiteX15" fmla="*/ 8382 w 10953"/>
                  <a:gd name="connsiteY15" fmla="*/ 8287 h 9810"/>
                  <a:gd name="connsiteX16" fmla="*/ 7715 w 10953"/>
                  <a:gd name="connsiteY16" fmla="*/ 6096 h 9810"/>
                  <a:gd name="connsiteX17" fmla="*/ 9620 w 10953"/>
                  <a:gd name="connsiteY17" fmla="*/ 4667 h 9810"/>
                  <a:gd name="connsiteX18" fmla="*/ 10954 w 10953"/>
                  <a:gd name="connsiteY18" fmla="*/ 3715 h 9810"/>
                  <a:gd name="connsiteX19" fmla="*/ 9334 w 10953"/>
                  <a:gd name="connsiteY19" fmla="*/ 3715 h 9810"/>
                  <a:gd name="connsiteX20" fmla="*/ 6858 w 10953"/>
                  <a:gd name="connsiteY20" fmla="*/ 3619 h 9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953" h="9810">
                    <a:moveTo>
                      <a:pt x="6858" y="3619"/>
                    </a:moveTo>
                    <a:lnTo>
                      <a:pt x="6001" y="1429"/>
                    </a:lnTo>
                    <a:lnTo>
                      <a:pt x="5525" y="0"/>
                    </a:lnTo>
                    <a:lnTo>
                      <a:pt x="4953" y="1429"/>
                    </a:lnTo>
                    <a:lnTo>
                      <a:pt x="4191" y="3619"/>
                    </a:lnTo>
                    <a:lnTo>
                      <a:pt x="1715" y="3715"/>
                    </a:lnTo>
                    <a:lnTo>
                      <a:pt x="0" y="3715"/>
                    </a:lnTo>
                    <a:lnTo>
                      <a:pt x="1429" y="4667"/>
                    </a:lnTo>
                    <a:lnTo>
                      <a:pt x="3334" y="6096"/>
                    </a:lnTo>
                    <a:lnTo>
                      <a:pt x="2667" y="8287"/>
                    </a:lnTo>
                    <a:lnTo>
                      <a:pt x="2191" y="9811"/>
                    </a:lnTo>
                    <a:lnTo>
                      <a:pt x="3429" y="8954"/>
                    </a:lnTo>
                    <a:lnTo>
                      <a:pt x="5525" y="7620"/>
                    </a:lnTo>
                    <a:lnTo>
                      <a:pt x="7525" y="8954"/>
                    </a:lnTo>
                    <a:lnTo>
                      <a:pt x="8858" y="9811"/>
                    </a:lnTo>
                    <a:lnTo>
                      <a:pt x="8382" y="8287"/>
                    </a:lnTo>
                    <a:lnTo>
                      <a:pt x="7715" y="6096"/>
                    </a:lnTo>
                    <a:lnTo>
                      <a:pt x="9620" y="4667"/>
                    </a:lnTo>
                    <a:lnTo>
                      <a:pt x="10954" y="3715"/>
                    </a:lnTo>
                    <a:lnTo>
                      <a:pt x="9334" y="3715"/>
                    </a:lnTo>
                    <a:lnTo>
                      <a:pt x="6858" y="3619"/>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1" name="Freeform 39">
                <a:extLst>
                  <a:ext uri="{FF2B5EF4-FFF2-40B4-BE49-F238E27FC236}">
                    <a16:creationId xmlns:a16="http://schemas.microsoft.com/office/drawing/2014/main" id="{5228B442-A742-40FA-E13D-8D3F64BB682E}"/>
                  </a:ext>
                </a:extLst>
              </p:cNvPr>
              <p:cNvSpPr/>
              <p:nvPr/>
            </p:nvSpPr>
            <p:spPr>
              <a:xfrm>
                <a:off x="158876" y="3992499"/>
                <a:ext cx="13335" cy="11715"/>
              </a:xfrm>
              <a:custGeom>
                <a:avLst/>
                <a:gdLst>
                  <a:gd name="connsiteX0" fmla="*/ 2572 w 13335"/>
                  <a:gd name="connsiteY0" fmla="*/ 11716 h 11715"/>
                  <a:gd name="connsiteX1" fmla="*/ 4001 w 13335"/>
                  <a:gd name="connsiteY1" fmla="*/ 7239 h 11715"/>
                  <a:gd name="connsiteX2" fmla="*/ 0 w 13335"/>
                  <a:gd name="connsiteY2" fmla="*/ 4381 h 11715"/>
                  <a:gd name="connsiteX3" fmla="*/ 5048 w 13335"/>
                  <a:gd name="connsiteY3" fmla="*/ 4286 h 11715"/>
                  <a:gd name="connsiteX4" fmla="*/ 6668 w 13335"/>
                  <a:gd name="connsiteY4" fmla="*/ 0 h 11715"/>
                  <a:gd name="connsiteX5" fmla="*/ 8287 w 13335"/>
                  <a:gd name="connsiteY5" fmla="*/ 4286 h 11715"/>
                  <a:gd name="connsiteX6" fmla="*/ 13335 w 13335"/>
                  <a:gd name="connsiteY6" fmla="*/ 4381 h 11715"/>
                  <a:gd name="connsiteX7" fmla="*/ 9335 w 13335"/>
                  <a:gd name="connsiteY7" fmla="*/ 7239 h 11715"/>
                  <a:gd name="connsiteX8" fmla="*/ 10763 w 13335"/>
                  <a:gd name="connsiteY8" fmla="*/ 11716 h 11715"/>
                  <a:gd name="connsiteX9" fmla="*/ 6763 w 13335"/>
                  <a:gd name="connsiteY9" fmla="*/ 9049 h 11715"/>
                  <a:gd name="connsiteX10" fmla="*/ 2572 w 13335"/>
                  <a:gd name="connsiteY10" fmla="*/ 11716 h 11715"/>
                  <a:gd name="connsiteX11" fmla="*/ 6572 w 13335"/>
                  <a:gd name="connsiteY11" fmla="*/ 8192 h 11715"/>
                  <a:gd name="connsiteX12" fmla="*/ 9335 w 13335"/>
                  <a:gd name="connsiteY12" fmla="*/ 10001 h 11715"/>
                  <a:gd name="connsiteX13" fmla="*/ 8382 w 13335"/>
                  <a:gd name="connsiteY13" fmla="*/ 6953 h 11715"/>
                  <a:gd name="connsiteX14" fmla="*/ 11049 w 13335"/>
                  <a:gd name="connsiteY14" fmla="*/ 5048 h 11715"/>
                  <a:gd name="connsiteX15" fmla="*/ 7715 w 13335"/>
                  <a:gd name="connsiteY15" fmla="*/ 4953 h 11715"/>
                  <a:gd name="connsiteX16" fmla="*/ 6668 w 13335"/>
                  <a:gd name="connsiteY16" fmla="*/ 2000 h 11715"/>
                  <a:gd name="connsiteX17" fmla="*/ 5620 w 13335"/>
                  <a:gd name="connsiteY17" fmla="*/ 4953 h 11715"/>
                  <a:gd name="connsiteX18" fmla="*/ 2286 w 13335"/>
                  <a:gd name="connsiteY18" fmla="*/ 5048 h 11715"/>
                  <a:gd name="connsiteX19" fmla="*/ 4953 w 13335"/>
                  <a:gd name="connsiteY19" fmla="*/ 6953 h 11715"/>
                  <a:gd name="connsiteX20" fmla="*/ 4001 w 13335"/>
                  <a:gd name="connsiteY20" fmla="*/ 10001 h 11715"/>
                  <a:gd name="connsiteX21" fmla="*/ 6572 w 13335"/>
                  <a:gd name="connsiteY21" fmla="*/ 8192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35" h="11715">
                    <a:moveTo>
                      <a:pt x="2572" y="11716"/>
                    </a:moveTo>
                    <a:lnTo>
                      <a:pt x="4001" y="7239"/>
                    </a:lnTo>
                    <a:lnTo>
                      <a:pt x="0" y="4381"/>
                    </a:lnTo>
                    <a:lnTo>
                      <a:pt x="5048" y="4286"/>
                    </a:lnTo>
                    <a:lnTo>
                      <a:pt x="6668" y="0"/>
                    </a:lnTo>
                    <a:lnTo>
                      <a:pt x="8287" y="4286"/>
                    </a:lnTo>
                    <a:lnTo>
                      <a:pt x="13335" y="4381"/>
                    </a:lnTo>
                    <a:lnTo>
                      <a:pt x="9335" y="7239"/>
                    </a:lnTo>
                    <a:lnTo>
                      <a:pt x="10763" y="11716"/>
                    </a:lnTo>
                    <a:lnTo>
                      <a:pt x="6763" y="9049"/>
                    </a:lnTo>
                    <a:lnTo>
                      <a:pt x="2572" y="11716"/>
                    </a:lnTo>
                    <a:close/>
                    <a:moveTo>
                      <a:pt x="6572" y="8192"/>
                    </a:moveTo>
                    <a:lnTo>
                      <a:pt x="9335" y="10001"/>
                    </a:lnTo>
                    <a:lnTo>
                      <a:pt x="8382" y="6953"/>
                    </a:lnTo>
                    <a:lnTo>
                      <a:pt x="11049" y="5048"/>
                    </a:lnTo>
                    <a:lnTo>
                      <a:pt x="7715" y="4953"/>
                    </a:lnTo>
                    <a:lnTo>
                      <a:pt x="6668" y="2000"/>
                    </a:lnTo>
                    <a:lnTo>
                      <a:pt x="5620" y="4953"/>
                    </a:lnTo>
                    <a:lnTo>
                      <a:pt x="2286" y="5048"/>
                    </a:lnTo>
                    <a:lnTo>
                      <a:pt x="4953" y="6953"/>
                    </a:lnTo>
                    <a:lnTo>
                      <a:pt x="4001" y="10001"/>
                    </a:lnTo>
                    <a:lnTo>
                      <a:pt x="6572" y="8192"/>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2" name="Freeform 40">
                <a:extLst>
                  <a:ext uri="{FF2B5EF4-FFF2-40B4-BE49-F238E27FC236}">
                    <a16:creationId xmlns:a16="http://schemas.microsoft.com/office/drawing/2014/main" id="{D48D5D2E-B867-18D3-6952-DBBE4FA4962C}"/>
                  </a:ext>
                </a:extLst>
              </p:cNvPr>
              <p:cNvSpPr/>
              <p:nvPr/>
            </p:nvSpPr>
            <p:spPr>
              <a:xfrm>
                <a:off x="172687" y="3980879"/>
                <a:ext cx="10953" cy="9906"/>
              </a:xfrm>
              <a:custGeom>
                <a:avLst/>
                <a:gdLst>
                  <a:gd name="connsiteX0" fmla="*/ 6858 w 10953"/>
                  <a:gd name="connsiteY0" fmla="*/ 3620 h 9906"/>
                  <a:gd name="connsiteX1" fmla="*/ 6001 w 10953"/>
                  <a:gd name="connsiteY1" fmla="*/ 1429 h 9906"/>
                  <a:gd name="connsiteX2" fmla="*/ 5524 w 10953"/>
                  <a:gd name="connsiteY2" fmla="*/ 0 h 9906"/>
                  <a:gd name="connsiteX3" fmla="*/ 4191 w 10953"/>
                  <a:gd name="connsiteY3" fmla="*/ 3620 h 9906"/>
                  <a:gd name="connsiteX4" fmla="*/ 1715 w 10953"/>
                  <a:gd name="connsiteY4" fmla="*/ 3715 h 9906"/>
                  <a:gd name="connsiteX5" fmla="*/ 0 w 10953"/>
                  <a:gd name="connsiteY5" fmla="*/ 3715 h 9906"/>
                  <a:gd name="connsiteX6" fmla="*/ 1333 w 10953"/>
                  <a:gd name="connsiteY6" fmla="*/ 4763 h 9906"/>
                  <a:gd name="connsiteX7" fmla="*/ 3334 w 10953"/>
                  <a:gd name="connsiteY7" fmla="*/ 6096 h 9906"/>
                  <a:gd name="connsiteX8" fmla="*/ 2572 w 10953"/>
                  <a:gd name="connsiteY8" fmla="*/ 8382 h 9906"/>
                  <a:gd name="connsiteX9" fmla="*/ 2095 w 10953"/>
                  <a:gd name="connsiteY9" fmla="*/ 9906 h 9906"/>
                  <a:gd name="connsiteX10" fmla="*/ 3429 w 10953"/>
                  <a:gd name="connsiteY10" fmla="*/ 8954 h 9906"/>
                  <a:gd name="connsiteX11" fmla="*/ 5524 w 10953"/>
                  <a:gd name="connsiteY11" fmla="*/ 7620 h 9906"/>
                  <a:gd name="connsiteX12" fmla="*/ 7525 w 10953"/>
                  <a:gd name="connsiteY12" fmla="*/ 8954 h 9906"/>
                  <a:gd name="connsiteX13" fmla="*/ 8858 w 10953"/>
                  <a:gd name="connsiteY13" fmla="*/ 9906 h 9906"/>
                  <a:gd name="connsiteX14" fmla="*/ 8382 w 10953"/>
                  <a:gd name="connsiteY14" fmla="*/ 8382 h 9906"/>
                  <a:gd name="connsiteX15" fmla="*/ 7620 w 10953"/>
                  <a:gd name="connsiteY15" fmla="*/ 6096 h 9906"/>
                  <a:gd name="connsiteX16" fmla="*/ 9620 w 10953"/>
                  <a:gd name="connsiteY16" fmla="*/ 4763 h 9906"/>
                  <a:gd name="connsiteX17" fmla="*/ 10954 w 10953"/>
                  <a:gd name="connsiteY17" fmla="*/ 3715 h 9906"/>
                  <a:gd name="connsiteX18" fmla="*/ 9334 w 10953"/>
                  <a:gd name="connsiteY18" fmla="*/ 3715 h 9906"/>
                  <a:gd name="connsiteX19" fmla="*/ 6858 w 10953"/>
                  <a:gd name="connsiteY19" fmla="*/ 3620 h 9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53" h="9906">
                    <a:moveTo>
                      <a:pt x="6858" y="3620"/>
                    </a:moveTo>
                    <a:lnTo>
                      <a:pt x="6001" y="1429"/>
                    </a:lnTo>
                    <a:lnTo>
                      <a:pt x="5524" y="0"/>
                    </a:lnTo>
                    <a:lnTo>
                      <a:pt x="4191" y="3620"/>
                    </a:lnTo>
                    <a:lnTo>
                      <a:pt x="1715" y="3715"/>
                    </a:lnTo>
                    <a:lnTo>
                      <a:pt x="0" y="3715"/>
                    </a:lnTo>
                    <a:lnTo>
                      <a:pt x="1333" y="4763"/>
                    </a:lnTo>
                    <a:lnTo>
                      <a:pt x="3334" y="6096"/>
                    </a:lnTo>
                    <a:lnTo>
                      <a:pt x="2572" y="8382"/>
                    </a:lnTo>
                    <a:lnTo>
                      <a:pt x="2095" y="9906"/>
                    </a:lnTo>
                    <a:lnTo>
                      <a:pt x="3429" y="8954"/>
                    </a:lnTo>
                    <a:lnTo>
                      <a:pt x="5524" y="7620"/>
                    </a:lnTo>
                    <a:lnTo>
                      <a:pt x="7525" y="8954"/>
                    </a:lnTo>
                    <a:lnTo>
                      <a:pt x="8858" y="9906"/>
                    </a:lnTo>
                    <a:lnTo>
                      <a:pt x="8382" y="8382"/>
                    </a:lnTo>
                    <a:lnTo>
                      <a:pt x="7620" y="6096"/>
                    </a:lnTo>
                    <a:lnTo>
                      <a:pt x="9620" y="4763"/>
                    </a:lnTo>
                    <a:lnTo>
                      <a:pt x="10954" y="3715"/>
                    </a:lnTo>
                    <a:lnTo>
                      <a:pt x="9334" y="3715"/>
                    </a:lnTo>
                    <a:lnTo>
                      <a:pt x="6858" y="3620"/>
                    </a:lnTo>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3" name="Freeform 41">
                <a:extLst>
                  <a:ext uri="{FF2B5EF4-FFF2-40B4-BE49-F238E27FC236}">
                    <a16:creationId xmlns:a16="http://schemas.microsoft.com/office/drawing/2014/main" id="{54BCE884-68D4-07D9-F102-D69082120132}"/>
                  </a:ext>
                </a:extLst>
              </p:cNvPr>
              <p:cNvSpPr/>
              <p:nvPr/>
            </p:nvSpPr>
            <p:spPr>
              <a:xfrm>
                <a:off x="171639" y="3979926"/>
                <a:ext cx="13144" cy="11715"/>
              </a:xfrm>
              <a:custGeom>
                <a:avLst/>
                <a:gdLst>
                  <a:gd name="connsiteX0" fmla="*/ 10573 w 13144"/>
                  <a:gd name="connsiteY0" fmla="*/ 11716 h 11715"/>
                  <a:gd name="connsiteX1" fmla="*/ 6572 w 13144"/>
                  <a:gd name="connsiteY1" fmla="*/ 9049 h 11715"/>
                  <a:gd name="connsiteX2" fmla="*/ 2572 w 13144"/>
                  <a:gd name="connsiteY2" fmla="*/ 11716 h 11715"/>
                  <a:gd name="connsiteX3" fmla="*/ 4000 w 13144"/>
                  <a:gd name="connsiteY3" fmla="*/ 7239 h 11715"/>
                  <a:gd name="connsiteX4" fmla="*/ 0 w 13144"/>
                  <a:gd name="connsiteY4" fmla="*/ 4382 h 11715"/>
                  <a:gd name="connsiteX5" fmla="*/ 4953 w 13144"/>
                  <a:gd name="connsiteY5" fmla="*/ 4286 h 11715"/>
                  <a:gd name="connsiteX6" fmla="*/ 6572 w 13144"/>
                  <a:gd name="connsiteY6" fmla="*/ 0 h 11715"/>
                  <a:gd name="connsiteX7" fmla="*/ 8192 w 13144"/>
                  <a:gd name="connsiteY7" fmla="*/ 4286 h 11715"/>
                  <a:gd name="connsiteX8" fmla="*/ 13144 w 13144"/>
                  <a:gd name="connsiteY8" fmla="*/ 4382 h 11715"/>
                  <a:gd name="connsiteX9" fmla="*/ 9144 w 13144"/>
                  <a:gd name="connsiteY9" fmla="*/ 7239 h 11715"/>
                  <a:gd name="connsiteX10" fmla="*/ 10573 w 13144"/>
                  <a:gd name="connsiteY10" fmla="*/ 11716 h 11715"/>
                  <a:gd name="connsiteX11" fmla="*/ 2096 w 13144"/>
                  <a:gd name="connsiteY11" fmla="*/ 5048 h 11715"/>
                  <a:gd name="connsiteX12" fmla="*/ 4763 w 13144"/>
                  <a:gd name="connsiteY12" fmla="*/ 6953 h 11715"/>
                  <a:gd name="connsiteX13" fmla="*/ 3810 w 13144"/>
                  <a:gd name="connsiteY13" fmla="*/ 10001 h 11715"/>
                  <a:gd name="connsiteX14" fmla="*/ 6477 w 13144"/>
                  <a:gd name="connsiteY14" fmla="*/ 8192 h 11715"/>
                  <a:gd name="connsiteX15" fmla="*/ 9144 w 13144"/>
                  <a:gd name="connsiteY15" fmla="*/ 10001 h 11715"/>
                  <a:gd name="connsiteX16" fmla="*/ 8192 w 13144"/>
                  <a:gd name="connsiteY16" fmla="*/ 7049 h 11715"/>
                  <a:gd name="connsiteX17" fmla="*/ 10858 w 13144"/>
                  <a:gd name="connsiteY17" fmla="*/ 5144 h 11715"/>
                  <a:gd name="connsiteX18" fmla="*/ 7525 w 13144"/>
                  <a:gd name="connsiteY18" fmla="*/ 5048 h 11715"/>
                  <a:gd name="connsiteX19" fmla="*/ 6477 w 13144"/>
                  <a:gd name="connsiteY19" fmla="*/ 2096 h 11715"/>
                  <a:gd name="connsiteX20" fmla="*/ 5429 w 13144"/>
                  <a:gd name="connsiteY20" fmla="*/ 5048 h 11715"/>
                  <a:gd name="connsiteX21" fmla="*/ 2096 w 13144"/>
                  <a:gd name="connsiteY21" fmla="*/ 5048 h 11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144" h="11715">
                    <a:moveTo>
                      <a:pt x="10573" y="11716"/>
                    </a:moveTo>
                    <a:lnTo>
                      <a:pt x="6572" y="9049"/>
                    </a:lnTo>
                    <a:lnTo>
                      <a:pt x="2572" y="11716"/>
                    </a:lnTo>
                    <a:lnTo>
                      <a:pt x="4000" y="7239"/>
                    </a:lnTo>
                    <a:lnTo>
                      <a:pt x="0" y="4382"/>
                    </a:lnTo>
                    <a:lnTo>
                      <a:pt x="4953" y="4286"/>
                    </a:lnTo>
                    <a:lnTo>
                      <a:pt x="6572" y="0"/>
                    </a:lnTo>
                    <a:lnTo>
                      <a:pt x="8192" y="4286"/>
                    </a:lnTo>
                    <a:lnTo>
                      <a:pt x="13144" y="4382"/>
                    </a:lnTo>
                    <a:lnTo>
                      <a:pt x="9144" y="7239"/>
                    </a:lnTo>
                    <a:lnTo>
                      <a:pt x="10573" y="11716"/>
                    </a:lnTo>
                    <a:close/>
                    <a:moveTo>
                      <a:pt x="2096" y="5048"/>
                    </a:moveTo>
                    <a:lnTo>
                      <a:pt x="4763" y="6953"/>
                    </a:lnTo>
                    <a:lnTo>
                      <a:pt x="3810" y="10001"/>
                    </a:lnTo>
                    <a:lnTo>
                      <a:pt x="6477" y="8192"/>
                    </a:lnTo>
                    <a:lnTo>
                      <a:pt x="9144" y="10001"/>
                    </a:lnTo>
                    <a:lnTo>
                      <a:pt x="8192" y="7049"/>
                    </a:lnTo>
                    <a:lnTo>
                      <a:pt x="10858" y="5144"/>
                    </a:lnTo>
                    <a:lnTo>
                      <a:pt x="7525" y="5048"/>
                    </a:lnTo>
                    <a:lnTo>
                      <a:pt x="6477" y="2096"/>
                    </a:lnTo>
                    <a:lnTo>
                      <a:pt x="5429" y="5048"/>
                    </a:lnTo>
                    <a:lnTo>
                      <a:pt x="2096" y="5048"/>
                    </a:lnTo>
                    <a:close/>
                  </a:path>
                </a:pathLst>
              </a:custGeom>
              <a:solidFill>
                <a:srgbClr val="F8EB37"/>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nvGrpSpPr>
              <p:cNvPr id="34" name="Graphic 6">
                <a:extLst>
                  <a:ext uri="{FF2B5EF4-FFF2-40B4-BE49-F238E27FC236}">
                    <a16:creationId xmlns:a16="http://schemas.microsoft.com/office/drawing/2014/main" id="{F7452A10-3F85-B1F3-0E47-D60A44D07851}"/>
                  </a:ext>
                </a:extLst>
              </p:cNvPr>
              <p:cNvGrpSpPr/>
              <p:nvPr/>
            </p:nvGrpSpPr>
            <p:grpSpPr>
              <a:xfrm>
                <a:off x="245458" y="3920871"/>
                <a:ext cx="246221" cy="30670"/>
                <a:chOff x="245458" y="3920871"/>
                <a:chExt cx="246221" cy="30670"/>
              </a:xfrm>
              <a:solidFill>
                <a:srgbClr val="23509E"/>
              </a:solidFill>
            </p:grpSpPr>
            <p:sp>
              <p:nvSpPr>
                <p:cNvPr id="2120" name="Freeform 43">
                  <a:extLst>
                    <a:ext uri="{FF2B5EF4-FFF2-40B4-BE49-F238E27FC236}">
                      <a16:creationId xmlns:a16="http://schemas.microsoft.com/office/drawing/2014/main" id="{114D8B33-8D9F-1257-654D-5662AA9E23CE}"/>
                    </a:ext>
                  </a:extLst>
                </p:cNvPr>
                <p:cNvSpPr/>
                <p:nvPr/>
              </p:nvSpPr>
              <p:spPr>
                <a:xfrm>
                  <a:off x="245458" y="3920871"/>
                  <a:ext cx="20669" cy="24098"/>
                </a:xfrm>
                <a:custGeom>
                  <a:avLst/>
                  <a:gdLst>
                    <a:gd name="connsiteX0" fmla="*/ 17621 w 20669"/>
                    <a:gd name="connsiteY0" fmla="*/ 15526 h 24098"/>
                    <a:gd name="connsiteX1" fmla="*/ 20669 w 20669"/>
                    <a:gd name="connsiteY1" fmla="*/ 16288 h 24098"/>
                    <a:gd name="connsiteX2" fmla="*/ 17145 w 20669"/>
                    <a:gd name="connsiteY2" fmla="*/ 22098 h 24098"/>
                    <a:gd name="connsiteX3" fmla="*/ 10954 w 20669"/>
                    <a:gd name="connsiteY3" fmla="*/ 24098 h 24098"/>
                    <a:gd name="connsiteX4" fmla="*/ 4858 w 20669"/>
                    <a:gd name="connsiteY4" fmla="*/ 22574 h 24098"/>
                    <a:gd name="connsiteX5" fmla="*/ 1238 w 20669"/>
                    <a:gd name="connsiteY5" fmla="*/ 18097 h 24098"/>
                    <a:gd name="connsiteX6" fmla="*/ 0 w 20669"/>
                    <a:gd name="connsiteY6" fmla="*/ 11906 h 24098"/>
                    <a:gd name="connsiteX7" fmla="*/ 1429 w 20669"/>
                    <a:gd name="connsiteY7" fmla="*/ 5524 h 24098"/>
                    <a:gd name="connsiteX8" fmla="*/ 5334 w 20669"/>
                    <a:gd name="connsiteY8" fmla="*/ 1429 h 24098"/>
                    <a:gd name="connsiteX9" fmla="*/ 10954 w 20669"/>
                    <a:gd name="connsiteY9" fmla="*/ 0 h 24098"/>
                    <a:gd name="connsiteX10" fmla="*/ 16859 w 20669"/>
                    <a:gd name="connsiteY10" fmla="*/ 1810 h 24098"/>
                    <a:gd name="connsiteX11" fmla="*/ 20193 w 20669"/>
                    <a:gd name="connsiteY11" fmla="*/ 6763 h 24098"/>
                    <a:gd name="connsiteX12" fmla="*/ 17145 w 20669"/>
                    <a:gd name="connsiteY12" fmla="*/ 7429 h 24098"/>
                    <a:gd name="connsiteX13" fmla="*/ 14764 w 20669"/>
                    <a:gd name="connsiteY13" fmla="*/ 3715 h 24098"/>
                    <a:gd name="connsiteX14" fmla="*/ 10858 w 20669"/>
                    <a:gd name="connsiteY14" fmla="*/ 2572 h 24098"/>
                    <a:gd name="connsiteX15" fmla="*/ 6382 w 20669"/>
                    <a:gd name="connsiteY15" fmla="*/ 3810 h 24098"/>
                    <a:gd name="connsiteX16" fmla="*/ 3810 w 20669"/>
                    <a:gd name="connsiteY16" fmla="*/ 7239 h 24098"/>
                    <a:gd name="connsiteX17" fmla="*/ 3048 w 20669"/>
                    <a:gd name="connsiteY17" fmla="*/ 11716 h 24098"/>
                    <a:gd name="connsiteX18" fmla="*/ 3905 w 20669"/>
                    <a:gd name="connsiteY18" fmla="*/ 16859 h 24098"/>
                    <a:gd name="connsiteX19" fmla="*/ 6572 w 20669"/>
                    <a:gd name="connsiteY19" fmla="*/ 20193 h 24098"/>
                    <a:gd name="connsiteX20" fmla="*/ 10477 w 20669"/>
                    <a:gd name="connsiteY20" fmla="*/ 21241 h 24098"/>
                    <a:gd name="connsiteX21" fmla="*/ 14859 w 20669"/>
                    <a:gd name="connsiteY21" fmla="*/ 19717 h 24098"/>
                    <a:gd name="connsiteX22" fmla="*/ 17621 w 20669"/>
                    <a:gd name="connsiteY22" fmla="*/ 15526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0669" h="24098">
                      <a:moveTo>
                        <a:pt x="17621" y="15526"/>
                      </a:moveTo>
                      <a:lnTo>
                        <a:pt x="20669" y="16288"/>
                      </a:lnTo>
                      <a:cubicBezTo>
                        <a:pt x="20002" y="18859"/>
                        <a:pt x="18859" y="20764"/>
                        <a:pt x="17145" y="22098"/>
                      </a:cubicBezTo>
                      <a:cubicBezTo>
                        <a:pt x="15430" y="23431"/>
                        <a:pt x="13430" y="24098"/>
                        <a:pt x="10954" y="24098"/>
                      </a:cubicBezTo>
                      <a:cubicBezTo>
                        <a:pt x="8477" y="24098"/>
                        <a:pt x="6382" y="23622"/>
                        <a:pt x="4858" y="22574"/>
                      </a:cubicBezTo>
                      <a:cubicBezTo>
                        <a:pt x="3334" y="21526"/>
                        <a:pt x="2096" y="20098"/>
                        <a:pt x="1238" y="18097"/>
                      </a:cubicBezTo>
                      <a:cubicBezTo>
                        <a:pt x="381" y="16192"/>
                        <a:pt x="0" y="14097"/>
                        <a:pt x="0" y="11906"/>
                      </a:cubicBezTo>
                      <a:cubicBezTo>
                        <a:pt x="0" y="9525"/>
                        <a:pt x="476" y="7334"/>
                        <a:pt x="1429" y="5524"/>
                      </a:cubicBezTo>
                      <a:cubicBezTo>
                        <a:pt x="2381" y="3715"/>
                        <a:pt x="3715" y="2381"/>
                        <a:pt x="5334" y="1429"/>
                      </a:cubicBezTo>
                      <a:cubicBezTo>
                        <a:pt x="7048" y="476"/>
                        <a:pt x="8953" y="0"/>
                        <a:pt x="10954" y="0"/>
                      </a:cubicBezTo>
                      <a:cubicBezTo>
                        <a:pt x="13240" y="0"/>
                        <a:pt x="15240" y="571"/>
                        <a:pt x="16859" y="1810"/>
                      </a:cubicBezTo>
                      <a:cubicBezTo>
                        <a:pt x="18478" y="2953"/>
                        <a:pt x="19526" y="4667"/>
                        <a:pt x="20193" y="6763"/>
                      </a:cubicBezTo>
                      <a:lnTo>
                        <a:pt x="17145" y="7429"/>
                      </a:lnTo>
                      <a:cubicBezTo>
                        <a:pt x="16573" y="5715"/>
                        <a:pt x="15811" y="4477"/>
                        <a:pt x="14764" y="3715"/>
                      </a:cubicBezTo>
                      <a:cubicBezTo>
                        <a:pt x="13716" y="2953"/>
                        <a:pt x="12478" y="2572"/>
                        <a:pt x="10858" y="2572"/>
                      </a:cubicBezTo>
                      <a:cubicBezTo>
                        <a:pt x="9049" y="2572"/>
                        <a:pt x="7620" y="2953"/>
                        <a:pt x="6382" y="3810"/>
                      </a:cubicBezTo>
                      <a:cubicBezTo>
                        <a:pt x="5144" y="4667"/>
                        <a:pt x="4381" y="5810"/>
                        <a:pt x="3810" y="7239"/>
                      </a:cubicBezTo>
                      <a:cubicBezTo>
                        <a:pt x="3334" y="8668"/>
                        <a:pt x="3048" y="10192"/>
                        <a:pt x="3048" y="11716"/>
                      </a:cubicBezTo>
                      <a:cubicBezTo>
                        <a:pt x="3048" y="13716"/>
                        <a:pt x="3334" y="15430"/>
                        <a:pt x="3905" y="16859"/>
                      </a:cubicBezTo>
                      <a:cubicBezTo>
                        <a:pt x="4477" y="18288"/>
                        <a:pt x="5334" y="19431"/>
                        <a:pt x="6572" y="20193"/>
                      </a:cubicBezTo>
                      <a:cubicBezTo>
                        <a:pt x="7810" y="20955"/>
                        <a:pt x="9144" y="21241"/>
                        <a:pt x="10477" y="21241"/>
                      </a:cubicBezTo>
                      <a:cubicBezTo>
                        <a:pt x="12192" y="21241"/>
                        <a:pt x="13621" y="20764"/>
                        <a:pt x="14859" y="19717"/>
                      </a:cubicBezTo>
                      <a:cubicBezTo>
                        <a:pt x="16383" y="18955"/>
                        <a:pt x="17145" y="17431"/>
                        <a:pt x="17621" y="1552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1" name="Freeform 44">
                  <a:extLst>
                    <a:ext uri="{FF2B5EF4-FFF2-40B4-BE49-F238E27FC236}">
                      <a16:creationId xmlns:a16="http://schemas.microsoft.com/office/drawing/2014/main" id="{438D3452-787E-C807-ADBC-C55C6DF08DC7}"/>
                    </a:ext>
                  </a:extLst>
                </p:cNvPr>
                <p:cNvSpPr/>
                <p:nvPr/>
              </p:nvSpPr>
              <p:spPr>
                <a:xfrm>
                  <a:off x="268509" y="3927253"/>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3 h 17621"/>
                    <a:gd name="connsiteX5" fmla="*/ 14859 w 15811"/>
                    <a:gd name="connsiteY5" fmla="*/ 13716 h 17621"/>
                    <a:gd name="connsiteX6" fmla="*/ 12002 w 15811"/>
                    <a:gd name="connsiteY6" fmla="*/ 16574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1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3"/>
                      </a:cubicBezTo>
                      <a:cubicBezTo>
                        <a:pt x="15811" y="10763"/>
                        <a:pt x="15526" y="12478"/>
                        <a:pt x="14859" y="13716"/>
                      </a:cubicBezTo>
                      <a:cubicBezTo>
                        <a:pt x="14192" y="14954"/>
                        <a:pt x="13240" y="15907"/>
                        <a:pt x="12002" y="16574"/>
                      </a:cubicBezTo>
                      <a:cubicBezTo>
                        <a:pt x="10763" y="17240"/>
                        <a:pt x="9430" y="17621"/>
                        <a:pt x="7906" y="17621"/>
                      </a:cubicBezTo>
                      <a:cubicBezTo>
                        <a:pt x="5525" y="17621"/>
                        <a:pt x="3619" y="16859"/>
                        <a:pt x="2191" y="15335"/>
                      </a:cubicBezTo>
                      <a:cubicBezTo>
                        <a:pt x="667" y="13907"/>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3" y="12668"/>
                        <a:pt x="12859" y="10954"/>
                        <a:pt x="12859" y="8763"/>
                      </a:cubicBezTo>
                      <a:cubicBezTo>
                        <a:pt x="12859" y="6668"/>
                        <a:pt x="12383" y="5144"/>
                        <a:pt x="11430" y="4001"/>
                      </a:cubicBezTo>
                      <a:cubicBezTo>
                        <a:pt x="10477" y="2953"/>
                        <a:pt x="9334" y="2381"/>
                        <a:pt x="7906" y="2381"/>
                      </a:cubicBezTo>
                      <a:cubicBezTo>
                        <a:pt x="6477" y="2381"/>
                        <a:pt x="5334" y="2953"/>
                        <a:pt x="4381"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2" name="Freeform 45">
                  <a:extLst>
                    <a:ext uri="{FF2B5EF4-FFF2-40B4-BE49-F238E27FC236}">
                      <a16:creationId xmlns:a16="http://schemas.microsoft.com/office/drawing/2014/main" id="{7BB2F85D-1211-5EC1-B87E-309DEC1A2737}"/>
                    </a:ext>
                  </a:extLst>
                </p:cNvPr>
                <p:cNvSpPr/>
                <p:nvPr/>
              </p:nvSpPr>
              <p:spPr>
                <a:xfrm>
                  <a:off x="286511" y="3934682"/>
                  <a:ext cx="8762" cy="2857"/>
                </a:xfrm>
                <a:custGeom>
                  <a:avLst/>
                  <a:gdLst>
                    <a:gd name="connsiteX0" fmla="*/ 0 w 8762"/>
                    <a:gd name="connsiteY0" fmla="*/ 2858 h 2857"/>
                    <a:gd name="connsiteX1" fmla="*/ 0 w 8762"/>
                    <a:gd name="connsiteY1" fmla="*/ 0 h 2857"/>
                    <a:gd name="connsiteX2" fmla="*/ 8763 w 8762"/>
                    <a:gd name="connsiteY2" fmla="*/ 0 h 2857"/>
                    <a:gd name="connsiteX3" fmla="*/ 8763 w 8762"/>
                    <a:gd name="connsiteY3" fmla="*/ 2858 h 2857"/>
                    <a:gd name="connsiteX4" fmla="*/ 0 w 8762"/>
                    <a:gd name="connsiteY4" fmla="*/ 2858 h 2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2" h="2857">
                      <a:moveTo>
                        <a:pt x="0" y="2858"/>
                      </a:moveTo>
                      <a:lnTo>
                        <a:pt x="0" y="0"/>
                      </a:lnTo>
                      <a:lnTo>
                        <a:pt x="8763" y="0"/>
                      </a:lnTo>
                      <a:lnTo>
                        <a:pt x="8763" y="2858"/>
                      </a:lnTo>
                      <a:lnTo>
                        <a:pt x="0" y="285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3" name="Freeform 46">
                  <a:extLst>
                    <a:ext uri="{FF2B5EF4-FFF2-40B4-BE49-F238E27FC236}">
                      <a16:creationId xmlns:a16="http://schemas.microsoft.com/office/drawing/2014/main" id="{D19D2A7F-1B84-6FCB-1345-1BC6CA5923B3}"/>
                    </a:ext>
                  </a:extLst>
                </p:cNvPr>
                <p:cNvSpPr/>
                <p:nvPr/>
              </p:nvSpPr>
              <p:spPr>
                <a:xfrm>
                  <a:off x="296607" y="3920871"/>
                  <a:ext cx="9810" cy="23621"/>
                </a:xfrm>
                <a:custGeom>
                  <a:avLst/>
                  <a:gdLst>
                    <a:gd name="connsiteX0" fmla="*/ 2477 w 9810"/>
                    <a:gd name="connsiteY0" fmla="*/ 23622 h 23621"/>
                    <a:gd name="connsiteX1" fmla="*/ 2477 w 9810"/>
                    <a:gd name="connsiteY1" fmla="*/ 8954 h 23621"/>
                    <a:gd name="connsiteX2" fmla="*/ 0 w 9810"/>
                    <a:gd name="connsiteY2" fmla="*/ 8954 h 23621"/>
                    <a:gd name="connsiteX3" fmla="*/ 0 w 9810"/>
                    <a:gd name="connsiteY3" fmla="*/ 6763 h 23621"/>
                    <a:gd name="connsiteX4" fmla="*/ 2477 w 9810"/>
                    <a:gd name="connsiteY4" fmla="*/ 6763 h 23621"/>
                    <a:gd name="connsiteX5" fmla="*/ 2477 w 9810"/>
                    <a:gd name="connsiteY5" fmla="*/ 4953 h 23621"/>
                    <a:gd name="connsiteX6" fmla="*/ 2762 w 9810"/>
                    <a:gd name="connsiteY6" fmla="*/ 2476 h 23621"/>
                    <a:gd name="connsiteX7" fmla="*/ 4191 w 9810"/>
                    <a:gd name="connsiteY7" fmla="*/ 667 h 23621"/>
                    <a:gd name="connsiteX8" fmla="*/ 7144 w 9810"/>
                    <a:gd name="connsiteY8" fmla="*/ 0 h 23621"/>
                    <a:gd name="connsiteX9" fmla="*/ 9811 w 9810"/>
                    <a:gd name="connsiteY9" fmla="*/ 286 h 23621"/>
                    <a:gd name="connsiteX10" fmla="*/ 9430 w 9810"/>
                    <a:gd name="connsiteY10" fmla="*/ 2762 h 23621"/>
                    <a:gd name="connsiteX11" fmla="*/ 7715 w 9810"/>
                    <a:gd name="connsiteY11" fmla="*/ 2572 h 23621"/>
                    <a:gd name="connsiteX12" fmla="*/ 5906 w 9810"/>
                    <a:gd name="connsiteY12" fmla="*/ 3143 h 23621"/>
                    <a:gd name="connsiteX13" fmla="*/ 5334 w 9810"/>
                    <a:gd name="connsiteY13" fmla="*/ 5239 h 23621"/>
                    <a:gd name="connsiteX14" fmla="*/ 5334 w 9810"/>
                    <a:gd name="connsiteY14" fmla="*/ 6763 h 23621"/>
                    <a:gd name="connsiteX15" fmla="*/ 8573 w 9810"/>
                    <a:gd name="connsiteY15" fmla="*/ 6763 h 23621"/>
                    <a:gd name="connsiteX16" fmla="*/ 8573 w 9810"/>
                    <a:gd name="connsiteY16" fmla="*/ 8954 h 23621"/>
                    <a:gd name="connsiteX17" fmla="*/ 5334 w 9810"/>
                    <a:gd name="connsiteY17" fmla="*/ 8954 h 23621"/>
                    <a:gd name="connsiteX18" fmla="*/ 5334 w 9810"/>
                    <a:gd name="connsiteY18" fmla="*/ 23622 h 23621"/>
                    <a:gd name="connsiteX19" fmla="*/ 2477 w 9810"/>
                    <a:gd name="connsiteY19" fmla="*/ 23622 h 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1">
                      <a:moveTo>
                        <a:pt x="2477" y="23622"/>
                      </a:moveTo>
                      <a:lnTo>
                        <a:pt x="2477" y="8954"/>
                      </a:lnTo>
                      <a:lnTo>
                        <a:pt x="0" y="8954"/>
                      </a:lnTo>
                      <a:lnTo>
                        <a:pt x="0" y="6763"/>
                      </a:lnTo>
                      <a:lnTo>
                        <a:pt x="2477" y="6763"/>
                      </a:lnTo>
                      <a:lnTo>
                        <a:pt x="2477" y="4953"/>
                      </a:lnTo>
                      <a:cubicBezTo>
                        <a:pt x="2477" y="3810"/>
                        <a:pt x="2572" y="2953"/>
                        <a:pt x="2762" y="2476"/>
                      </a:cubicBezTo>
                      <a:cubicBezTo>
                        <a:pt x="3048" y="1714"/>
                        <a:pt x="3524" y="1143"/>
                        <a:pt x="4191" y="667"/>
                      </a:cubicBezTo>
                      <a:cubicBezTo>
                        <a:pt x="4858" y="190"/>
                        <a:pt x="5810" y="0"/>
                        <a:pt x="7144" y="0"/>
                      </a:cubicBezTo>
                      <a:cubicBezTo>
                        <a:pt x="7906" y="0"/>
                        <a:pt x="8858" y="95"/>
                        <a:pt x="9811" y="286"/>
                      </a:cubicBezTo>
                      <a:lnTo>
                        <a:pt x="9430" y="2762"/>
                      </a:lnTo>
                      <a:cubicBezTo>
                        <a:pt x="8858" y="2667"/>
                        <a:pt x="8287" y="2572"/>
                        <a:pt x="7715" y="2572"/>
                      </a:cubicBezTo>
                      <a:cubicBezTo>
                        <a:pt x="6858" y="2572"/>
                        <a:pt x="6191" y="2762"/>
                        <a:pt x="5906" y="3143"/>
                      </a:cubicBezTo>
                      <a:cubicBezTo>
                        <a:pt x="5525" y="3524"/>
                        <a:pt x="5334" y="4191"/>
                        <a:pt x="5334" y="5239"/>
                      </a:cubicBezTo>
                      <a:lnTo>
                        <a:pt x="5334" y="6763"/>
                      </a:lnTo>
                      <a:lnTo>
                        <a:pt x="8573" y="6763"/>
                      </a:lnTo>
                      <a:lnTo>
                        <a:pt x="8573" y="8954"/>
                      </a:lnTo>
                      <a:lnTo>
                        <a:pt x="5334" y="8954"/>
                      </a:lnTo>
                      <a:lnTo>
                        <a:pt x="5334"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4" name="Freeform 47">
                  <a:extLst>
                    <a:ext uri="{FF2B5EF4-FFF2-40B4-BE49-F238E27FC236}">
                      <a16:creationId xmlns:a16="http://schemas.microsoft.com/office/drawing/2014/main" id="{3D497BA0-9D01-0846-AFD2-95BB6E178A25}"/>
                    </a:ext>
                  </a:extLst>
                </p:cNvPr>
                <p:cNvSpPr/>
                <p:nvPr/>
              </p:nvSpPr>
              <p:spPr>
                <a:xfrm>
                  <a:off x="307466" y="3927634"/>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1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5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6" y="16288"/>
                        <a:pt x="8001" y="17240"/>
                        <a:pt x="5715" y="17240"/>
                      </a:cubicBezTo>
                      <a:cubicBezTo>
                        <a:pt x="4763" y="17240"/>
                        <a:pt x="3810" y="17050"/>
                        <a:pt x="2953" y="16669"/>
                      </a:cubicBezTo>
                      <a:cubicBezTo>
                        <a:pt x="2096" y="16288"/>
                        <a:pt x="1429" y="15812"/>
                        <a:pt x="1048" y="15240"/>
                      </a:cubicBezTo>
                      <a:cubicBezTo>
                        <a:pt x="667" y="14669"/>
                        <a:pt x="381" y="14002"/>
                        <a:pt x="191" y="13145"/>
                      </a:cubicBezTo>
                      <a:cubicBezTo>
                        <a:pt x="95" y="12573"/>
                        <a:pt x="0" y="11716"/>
                        <a:pt x="0" y="10478"/>
                      </a:cubicBezTo>
                      <a:lnTo>
                        <a:pt x="0" y="0"/>
                      </a:lnTo>
                      <a:lnTo>
                        <a:pt x="2858" y="0"/>
                      </a:lnTo>
                      <a:lnTo>
                        <a:pt x="2858" y="9335"/>
                      </a:lnTo>
                      <a:cubicBezTo>
                        <a:pt x="2858" y="10859"/>
                        <a:pt x="2953" y="11811"/>
                        <a:pt x="3048" y="12382"/>
                      </a:cubicBezTo>
                      <a:cubicBezTo>
                        <a:pt x="3239" y="13145"/>
                        <a:pt x="3620" y="13716"/>
                        <a:pt x="4191" y="14192"/>
                      </a:cubicBezTo>
                      <a:cubicBezTo>
                        <a:pt x="4763" y="14573"/>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5" name="Freeform 48">
                  <a:extLst>
                    <a:ext uri="{FF2B5EF4-FFF2-40B4-BE49-F238E27FC236}">
                      <a16:creationId xmlns:a16="http://schemas.microsoft.com/office/drawing/2014/main" id="{D2A1C69A-F055-D0BE-A7F6-F0602C7DA430}"/>
                    </a:ext>
                  </a:extLst>
                </p:cNvPr>
                <p:cNvSpPr/>
                <p:nvPr/>
              </p:nvSpPr>
              <p:spPr>
                <a:xfrm>
                  <a:off x="325563" y="3927253"/>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2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4" y="0"/>
                        <a:pt x="9811" y="191"/>
                        <a:pt x="10668" y="571"/>
                      </a:cubicBezTo>
                      <a:cubicBezTo>
                        <a:pt x="11525" y="953"/>
                        <a:pt x="12192" y="1429"/>
                        <a:pt x="12573" y="2000"/>
                      </a:cubicBezTo>
                      <a:cubicBezTo>
                        <a:pt x="12954" y="2572"/>
                        <a:pt x="13335" y="3334"/>
                        <a:pt x="13430" y="4096"/>
                      </a:cubicBezTo>
                      <a:cubicBezTo>
                        <a:pt x="13525" y="4667"/>
                        <a:pt x="13621" y="5525"/>
                        <a:pt x="13621" y="6858"/>
                      </a:cubicBezTo>
                      <a:lnTo>
                        <a:pt x="13621" y="17240"/>
                      </a:lnTo>
                      <a:lnTo>
                        <a:pt x="10763" y="17240"/>
                      </a:lnTo>
                      <a:lnTo>
                        <a:pt x="10763" y="6953"/>
                      </a:lnTo>
                      <a:cubicBezTo>
                        <a:pt x="10763" y="5810"/>
                        <a:pt x="10668" y="4953"/>
                        <a:pt x="10477" y="4382"/>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6" name="Freeform 49">
                  <a:extLst>
                    <a:ext uri="{FF2B5EF4-FFF2-40B4-BE49-F238E27FC236}">
                      <a16:creationId xmlns:a16="http://schemas.microsoft.com/office/drawing/2014/main" id="{B8D8D51A-BDD4-86BF-0C6B-24389D2077BC}"/>
                    </a:ext>
                  </a:extLst>
                </p:cNvPr>
                <p:cNvSpPr/>
                <p:nvPr/>
              </p:nvSpPr>
              <p:spPr>
                <a:xfrm>
                  <a:off x="342613" y="3921252"/>
                  <a:ext cx="14478" cy="23622"/>
                </a:xfrm>
                <a:custGeom>
                  <a:avLst/>
                  <a:gdLst>
                    <a:gd name="connsiteX0" fmla="*/ 11906 w 14478"/>
                    <a:gd name="connsiteY0" fmla="*/ 23241 h 23622"/>
                    <a:gd name="connsiteX1" fmla="*/ 11906 w 14478"/>
                    <a:gd name="connsiteY1" fmla="*/ 21146 h 23622"/>
                    <a:gd name="connsiteX2" fmla="*/ 7239 w 14478"/>
                    <a:gd name="connsiteY2" fmla="*/ 23622 h 23622"/>
                    <a:gd name="connsiteX3" fmla="*/ 3524 w 14478"/>
                    <a:gd name="connsiteY3" fmla="*/ 22479 h 23622"/>
                    <a:gd name="connsiteX4" fmla="*/ 952 w 14478"/>
                    <a:gd name="connsiteY4" fmla="*/ 19336 h 23622"/>
                    <a:gd name="connsiteX5" fmla="*/ 0 w 14478"/>
                    <a:gd name="connsiteY5" fmla="*/ 14764 h 23622"/>
                    <a:gd name="connsiteX6" fmla="*/ 857 w 14478"/>
                    <a:gd name="connsiteY6" fmla="*/ 10192 h 23622"/>
                    <a:gd name="connsiteX7" fmla="*/ 3334 w 14478"/>
                    <a:gd name="connsiteY7" fmla="*/ 7049 h 23622"/>
                    <a:gd name="connsiteX8" fmla="*/ 7048 w 14478"/>
                    <a:gd name="connsiteY8" fmla="*/ 6001 h 23622"/>
                    <a:gd name="connsiteX9" fmla="*/ 9716 w 14478"/>
                    <a:gd name="connsiteY9" fmla="*/ 6668 h 23622"/>
                    <a:gd name="connsiteX10" fmla="*/ 11621 w 14478"/>
                    <a:gd name="connsiteY10" fmla="*/ 8382 h 23622"/>
                    <a:gd name="connsiteX11" fmla="*/ 11621 w 14478"/>
                    <a:gd name="connsiteY11" fmla="*/ 0 h 23622"/>
                    <a:gd name="connsiteX12" fmla="*/ 14478 w 14478"/>
                    <a:gd name="connsiteY12" fmla="*/ 0 h 23622"/>
                    <a:gd name="connsiteX13" fmla="*/ 14478 w 14478"/>
                    <a:gd name="connsiteY13" fmla="*/ 23241 h 23622"/>
                    <a:gd name="connsiteX14" fmla="*/ 11906 w 14478"/>
                    <a:gd name="connsiteY14" fmla="*/ 23241 h 23622"/>
                    <a:gd name="connsiteX15" fmla="*/ 2858 w 14478"/>
                    <a:gd name="connsiteY15" fmla="*/ 14859 h 23622"/>
                    <a:gd name="connsiteX16" fmla="*/ 4191 w 14478"/>
                    <a:gd name="connsiteY16" fmla="*/ 19717 h 23622"/>
                    <a:gd name="connsiteX17" fmla="*/ 7429 w 14478"/>
                    <a:gd name="connsiteY17" fmla="*/ 21336 h 23622"/>
                    <a:gd name="connsiteX18" fmla="*/ 10573 w 14478"/>
                    <a:gd name="connsiteY18" fmla="*/ 19812 h 23622"/>
                    <a:gd name="connsiteX19" fmla="*/ 11906 w 14478"/>
                    <a:gd name="connsiteY19" fmla="*/ 15145 h 23622"/>
                    <a:gd name="connsiteX20" fmla="*/ 10573 w 14478"/>
                    <a:gd name="connsiteY20" fmla="*/ 10097 h 23622"/>
                    <a:gd name="connsiteX21" fmla="*/ 7334 w 14478"/>
                    <a:gd name="connsiteY21" fmla="*/ 8477 h 23622"/>
                    <a:gd name="connsiteX22" fmla="*/ 4191 w 14478"/>
                    <a:gd name="connsiteY22" fmla="*/ 10001 h 23622"/>
                    <a:gd name="connsiteX23" fmla="*/ 2858 w 14478"/>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6" y="6668"/>
                      </a:cubicBezTo>
                      <a:cubicBezTo>
                        <a:pt x="10477" y="7049"/>
                        <a:pt x="11144" y="7620"/>
                        <a:pt x="11621" y="8382"/>
                      </a:cubicBezTo>
                      <a:lnTo>
                        <a:pt x="11621" y="0"/>
                      </a:lnTo>
                      <a:lnTo>
                        <a:pt x="14478" y="0"/>
                      </a:lnTo>
                      <a:lnTo>
                        <a:pt x="14478" y="23241"/>
                      </a:lnTo>
                      <a:lnTo>
                        <a:pt x="11906" y="23241"/>
                      </a:lnTo>
                      <a:close/>
                      <a:moveTo>
                        <a:pt x="2858" y="14859"/>
                      </a:moveTo>
                      <a:cubicBezTo>
                        <a:pt x="2858" y="17050"/>
                        <a:pt x="3334" y="18669"/>
                        <a:pt x="4191" y="19717"/>
                      </a:cubicBezTo>
                      <a:cubicBezTo>
                        <a:pt x="5144" y="20765"/>
                        <a:pt x="6191" y="21336"/>
                        <a:pt x="7429" y="21336"/>
                      </a:cubicBezTo>
                      <a:cubicBezTo>
                        <a:pt x="8668" y="21336"/>
                        <a:pt x="9716" y="20860"/>
                        <a:pt x="10573" y="19812"/>
                      </a:cubicBezTo>
                      <a:cubicBezTo>
                        <a:pt x="11430" y="18764"/>
                        <a:pt x="11906" y="17241"/>
                        <a:pt x="11906" y="15145"/>
                      </a:cubicBezTo>
                      <a:cubicBezTo>
                        <a:pt x="11906" y="12859"/>
                        <a:pt x="11430" y="11144"/>
                        <a:pt x="10573" y="10097"/>
                      </a:cubicBezTo>
                      <a:cubicBezTo>
                        <a:pt x="9716" y="9049"/>
                        <a:pt x="8573" y="8477"/>
                        <a:pt x="7334" y="8477"/>
                      </a:cubicBezTo>
                      <a:cubicBezTo>
                        <a:pt x="6096" y="8477"/>
                        <a:pt x="5048" y="8954"/>
                        <a:pt x="4191" y="10001"/>
                      </a:cubicBezTo>
                      <a:cubicBezTo>
                        <a:pt x="3334" y="10954"/>
                        <a:pt x="2858" y="12668"/>
                        <a:pt x="2858"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7" name="Freeform 50">
                  <a:extLst>
                    <a:ext uri="{FF2B5EF4-FFF2-40B4-BE49-F238E27FC236}">
                      <a16:creationId xmlns:a16="http://schemas.microsoft.com/office/drawing/2014/main" id="{1C2A2D72-D473-CE89-AE4C-1EA721EC4919}"/>
                    </a:ext>
                  </a:extLst>
                </p:cNvPr>
                <p:cNvSpPr/>
                <p:nvPr/>
              </p:nvSpPr>
              <p:spPr>
                <a:xfrm>
                  <a:off x="360615"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7"/>
                        <a:pt x="14192" y="15240"/>
                        <a:pt x="12954" y="16193"/>
                      </a:cubicBezTo>
                      <a:cubicBezTo>
                        <a:pt x="11716" y="17145"/>
                        <a:pt x="10096" y="17621"/>
                        <a:pt x="8096" y="17621"/>
                      </a:cubicBezTo>
                      <a:cubicBezTo>
                        <a:pt x="5620" y="17621"/>
                        <a:pt x="3715" y="16859"/>
                        <a:pt x="2191" y="15335"/>
                      </a:cubicBezTo>
                      <a:cubicBezTo>
                        <a:pt x="667"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525" y="13907"/>
                        <a:pt x="12097"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28" name="Freeform 51">
                  <a:extLst>
                    <a:ext uri="{FF2B5EF4-FFF2-40B4-BE49-F238E27FC236}">
                      <a16:creationId xmlns:a16="http://schemas.microsoft.com/office/drawing/2014/main" id="{12F4DEF1-B260-1E74-BE15-4C5B4CCC9EB5}"/>
                    </a:ext>
                  </a:extLst>
                </p:cNvPr>
                <p:cNvSpPr/>
                <p:nvPr/>
              </p:nvSpPr>
              <p:spPr>
                <a:xfrm>
                  <a:off x="378713" y="3921252"/>
                  <a:ext cx="14477" cy="23622"/>
                </a:xfrm>
                <a:custGeom>
                  <a:avLst/>
                  <a:gdLst>
                    <a:gd name="connsiteX0" fmla="*/ 11906 w 14477"/>
                    <a:gd name="connsiteY0" fmla="*/ 23241 h 23622"/>
                    <a:gd name="connsiteX1" fmla="*/ 11906 w 14477"/>
                    <a:gd name="connsiteY1" fmla="*/ 21146 h 23622"/>
                    <a:gd name="connsiteX2" fmla="*/ 7239 w 14477"/>
                    <a:gd name="connsiteY2" fmla="*/ 23622 h 23622"/>
                    <a:gd name="connsiteX3" fmla="*/ 3524 w 14477"/>
                    <a:gd name="connsiteY3" fmla="*/ 22479 h 23622"/>
                    <a:gd name="connsiteX4" fmla="*/ 952 w 14477"/>
                    <a:gd name="connsiteY4" fmla="*/ 19336 h 23622"/>
                    <a:gd name="connsiteX5" fmla="*/ 0 w 14477"/>
                    <a:gd name="connsiteY5" fmla="*/ 14764 h 23622"/>
                    <a:gd name="connsiteX6" fmla="*/ 857 w 14477"/>
                    <a:gd name="connsiteY6" fmla="*/ 10192 h 23622"/>
                    <a:gd name="connsiteX7" fmla="*/ 3334 w 14477"/>
                    <a:gd name="connsiteY7" fmla="*/ 7049 h 23622"/>
                    <a:gd name="connsiteX8" fmla="*/ 7048 w 14477"/>
                    <a:gd name="connsiteY8" fmla="*/ 6001 h 23622"/>
                    <a:gd name="connsiteX9" fmla="*/ 9715 w 14477"/>
                    <a:gd name="connsiteY9" fmla="*/ 6668 h 23622"/>
                    <a:gd name="connsiteX10" fmla="*/ 11621 w 14477"/>
                    <a:gd name="connsiteY10" fmla="*/ 8382 h 23622"/>
                    <a:gd name="connsiteX11" fmla="*/ 11621 w 14477"/>
                    <a:gd name="connsiteY11" fmla="*/ 0 h 23622"/>
                    <a:gd name="connsiteX12" fmla="*/ 14478 w 14477"/>
                    <a:gd name="connsiteY12" fmla="*/ 0 h 23622"/>
                    <a:gd name="connsiteX13" fmla="*/ 14478 w 14477"/>
                    <a:gd name="connsiteY13" fmla="*/ 23241 h 23622"/>
                    <a:gd name="connsiteX14" fmla="*/ 11906 w 14477"/>
                    <a:gd name="connsiteY14" fmla="*/ 23241 h 23622"/>
                    <a:gd name="connsiteX15" fmla="*/ 2953 w 14477"/>
                    <a:gd name="connsiteY15" fmla="*/ 14859 h 23622"/>
                    <a:gd name="connsiteX16" fmla="*/ 4286 w 14477"/>
                    <a:gd name="connsiteY16" fmla="*/ 19717 h 23622"/>
                    <a:gd name="connsiteX17" fmla="*/ 7525 w 14477"/>
                    <a:gd name="connsiteY17" fmla="*/ 21336 h 23622"/>
                    <a:gd name="connsiteX18" fmla="*/ 10668 w 14477"/>
                    <a:gd name="connsiteY18" fmla="*/ 19812 h 23622"/>
                    <a:gd name="connsiteX19" fmla="*/ 12002 w 14477"/>
                    <a:gd name="connsiteY19" fmla="*/ 15145 h 23622"/>
                    <a:gd name="connsiteX20" fmla="*/ 10668 w 14477"/>
                    <a:gd name="connsiteY20" fmla="*/ 10097 h 23622"/>
                    <a:gd name="connsiteX21" fmla="*/ 7429 w 14477"/>
                    <a:gd name="connsiteY21" fmla="*/ 8477 h 23622"/>
                    <a:gd name="connsiteX22" fmla="*/ 4286 w 14477"/>
                    <a:gd name="connsiteY22" fmla="*/ 10001 h 23622"/>
                    <a:gd name="connsiteX23" fmla="*/ 2953 w 14477"/>
                    <a:gd name="connsiteY23" fmla="*/ 14859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 h="23622">
                      <a:moveTo>
                        <a:pt x="11906" y="23241"/>
                      </a:moveTo>
                      <a:lnTo>
                        <a:pt x="11906" y="21146"/>
                      </a:lnTo>
                      <a:cubicBezTo>
                        <a:pt x="10858" y="22860"/>
                        <a:pt x="9239" y="23622"/>
                        <a:pt x="7239" y="23622"/>
                      </a:cubicBezTo>
                      <a:cubicBezTo>
                        <a:pt x="5906" y="23622"/>
                        <a:pt x="4667" y="23241"/>
                        <a:pt x="3524" y="22479"/>
                      </a:cubicBezTo>
                      <a:cubicBezTo>
                        <a:pt x="2381" y="21717"/>
                        <a:pt x="1524" y="20669"/>
                        <a:pt x="952" y="19336"/>
                      </a:cubicBezTo>
                      <a:cubicBezTo>
                        <a:pt x="381" y="18002"/>
                        <a:pt x="0" y="16478"/>
                        <a:pt x="0" y="14764"/>
                      </a:cubicBezTo>
                      <a:cubicBezTo>
                        <a:pt x="0" y="13049"/>
                        <a:pt x="286" y="11525"/>
                        <a:pt x="857" y="10192"/>
                      </a:cubicBezTo>
                      <a:cubicBezTo>
                        <a:pt x="1429" y="8858"/>
                        <a:pt x="2286" y="7811"/>
                        <a:pt x="3334" y="7049"/>
                      </a:cubicBezTo>
                      <a:cubicBezTo>
                        <a:pt x="4477" y="6287"/>
                        <a:pt x="5715" y="6001"/>
                        <a:pt x="7048" y="6001"/>
                      </a:cubicBezTo>
                      <a:cubicBezTo>
                        <a:pt x="8096" y="6001"/>
                        <a:pt x="8954" y="6191"/>
                        <a:pt x="9715" y="6668"/>
                      </a:cubicBezTo>
                      <a:cubicBezTo>
                        <a:pt x="10477" y="7144"/>
                        <a:pt x="11144" y="7620"/>
                        <a:pt x="11621" y="8382"/>
                      </a:cubicBezTo>
                      <a:lnTo>
                        <a:pt x="11621" y="0"/>
                      </a:lnTo>
                      <a:lnTo>
                        <a:pt x="14478" y="0"/>
                      </a:lnTo>
                      <a:lnTo>
                        <a:pt x="14478" y="23241"/>
                      </a:lnTo>
                      <a:lnTo>
                        <a:pt x="11906" y="23241"/>
                      </a:lnTo>
                      <a:close/>
                      <a:moveTo>
                        <a:pt x="2953" y="14859"/>
                      </a:moveTo>
                      <a:cubicBezTo>
                        <a:pt x="2953" y="17050"/>
                        <a:pt x="3429" y="18669"/>
                        <a:pt x="4286" y="19717"/>
                      </a:cubicBezTo>
                      <a:cubicBezTo>
                        <a:pt x="5239" y="20765"/>
                        <a:pt x="6286" y="21336"/>
                        <a:pt x="7525" y="21336"/>
                      </a:cubicBezTo>
                      <a:cubicBezTo>
                        <a:pt x="8763" y="21336"/>
                        <a:pt x="9811" y="20860"/>
                        <a:pt x="10668" y="19812"/>
                      </a:cubicBezTo>
                      <a:cubicBezTo>
                        <a:pt x="11525" y="18764"/>
                        <a:pt x="12002" y="17241"/>
                        <a:pt x="12002" y="15145"/>
                      </a:cubicBezTo>
                      <a:cubicBezTo>
                        <a:pt x="12002" y="12859"/>
                        <a:pt x="11525" y="11144"/>
                        <a:pt x="10668" y="10097"/>
                      </a:cubicBezTo>
                      <a:cubicBezTo>
                        <a:pt x="9811" y="9049"/>
                        <a:pt x="8668" y="8477"/>
                        <a:pt x="7429" y="8477"/>
                      </a:cubicBezTo>
                      <a:cubicBezTo>
                        <a:pt x="6191" y="8477"/>
                        <a:pt x="5144" y="8954"/>
                        <a:pt x="4286" y="10001"/>
                      </a:cubicBezTo>
                      <a:cubicBezTo>
                        <a:pt x="3334" y="10954"/>
                        <a:pt x="2953" y="12668"/>
                        <a:pt x="2953" y="1485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0" name="Freeform 52">
                  <a:extLst>
                    <a:ext uri="{FF2B5EF4-FFF2-40B4-BE49-F238E27FC236}">
                      <a16:creationId xmlns:a16="http://schemas.microsoft.com/office/drawing/2014/main" id="{6130A5AB-A38E-407C-86EE-0E9D674B1A43}"/>
                    </a:ext>
                  </a:extLst>
                </p:cNvPr>
                <p:cNvSpPr/>
                <p:nvPr/>
              </p:nvSpPr>
              <p:spPr>
                <a:xfrm>
                  <a:off x="406811" y="3921252"/>
                  <a:ext cx="14573" cy="23622"/>
                </a:xfrm>
                <a:custGeom>
                  <a:avLst/>
                  <a:gdLst>
                    <a:gd name="connsiteX0" fmla="*/ 2667 w 14573"/>
                    <a:gd name="connsiteY0" fmla="*/ 23241 h 23622"/>
                    <a:gd name="connsiteX1" fmla="*/ 0 w 14573"/>
                    <a:gd name="connsiteY1" fmla="*/ 23241 h 23622"/>
                    <a:gd name="connsiteX2" fmla="*/ 0 w 14573"/>
                    <a:gd name="connsiteY2" fmla="*/ 0 h 23622"/>
                    <a:gd name="connsiteX3" fmla="*/ 2858 w 14573"/>
                    <a:gd name="connsiteY3" fmla="*/ 0 h 23622"/>
                    <a:gd name="connsiteX4" fmla="*/ 2858 w 14573"/>
                    <a:gd name="connsiteY4" fmla="*/ 8287 h 23622"/>
                    <a:gd name="connsiteX5" fmla="*/ 7430 w 14573"/>
                    <a:gd name="connsiteY5" fmla="*/ 6001 h 23622"/>
                    <a:gd name="connsiteX6" fmla="*/ 10382 w 14573"/>
                    <a:gd name="connsiteY6" fmla="*/ 6668 h 23622"/>
                    <a:gd name="connsiteX7" fmla="*/ 12668 w 14573"/>
                    <a:gd name="connsiteY7" fmla="*/ 8382 h 23622"/>
                    <a:gd name="connsiteX8" fmla="*/ 14097 w 14573"/>
                    <a:gd name="connsiteY8" fmla="*/ 11144 h 23622"/>
                    <a:gd name="connsiteX9" fmla="*/ 14573 w 14573"/>
                    <a:gd name="connsiteY9" fmla="*/ 14574 h 23622"/>
                    <a:gd name="connsiteX10" fmla="*/ 12478 w 14573"/>
                    <a:gd name="connsiteY10" fmla="*/ 21241 h 23622"/>
                    <a:gd name="connsiteX11" fmla="*/ 7334 w 14573"/>
                    <a:gd name="connsiteY11" fmla="*/ 23622 h 23622"/>
                    <a:gd name="connsiteX12" fmla="*/ 2667 w 14573"/>
                    <a:gd name="connsiteY12" fmla="*/ 21146 h 23622"/>
                    <a:gd name="connsiteX13" fmla="*/ 2667 w 14573"/>
                    <a:gd name="connsiteY13" fmla="*/ 23241 h 23622"/>
                    <a:gd name="connsiteX14" fmla="*/ 2572 w 14573"/>
                    <a:gd name="connsiteY14" fmla="*/ 14764 h 23622"/>
                    <a:gd name="connsiteX15" fmla="*/ 3429 w 14573"/>
                    <a:gd name="connsiteY15" fmla="*/ 19145 h 23622"/>
                    <a:gd name="connsiteX16" fmla="*/ 7049 w 14573"/>
                    <a:gd name="connsiteY16" fmla="*/ 21336 h 23622"/>
                    <a:gd name="connsiteX17" fmla="*/ 10287 w 14573"/>
                    <a:gd name="connsiteY17" fmla="*/ 19717 h 23622"/>
                    <a:gd name="connsiteX18" fmla="*/ 11621 w 14573"/>
                    <a:gd name="connsiteY18" fmla="*/ 14859 h 23622"/>
                    <a:gd name="connsiteX19" fmla="*/ 10287 w 14573"/>
                    <a:gd name="connsiteY19" fmla="*/ 10001 h 23622"/>
                    <a:gd name="connsiteX20" fmla="*/ 7144 w 14573"/>
                    <a:gd name="connsiteY20" fmla="*/ 8477 h 23622"/>
                    <a:gd name="connsiteX21" fmla="*/ 3905 w 14573"/>
                    <a:gd name="connsiteY21" fmla="*/ 10097 h 23622"/>
                    <a:gd name="connsiteX22" fmla="*/ 2572 w 14573"/>
                    <a:gd name="connsiteY22" fmla="*/ 14764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573" h="23622">
                      <a:moveTo>
                        <a:pt x="2667" y="23241"/>
                      </a:moveTo>
                      <a:lnTo>
                        <a:pt x="0" y="23241"/>
                      </a:lnTo>
                      <a:lnTo>
                        <a:pt x="0" y="0"/>
                      </a:lnTo>
                      <a:lnTo>
                        <a:pt x="2858" y="0"/>
                      </a:lnTo>
                      <a:lnTo>
                        <a:pt x="2858" y="8287"/>
                      </a:lnTo>
                      <a:cubicBezTo>
                        <a:pt x="4096" y="6763"/>
                        <a:pt x="5620" y="6001"/>
                        <a:pt x="7430" y="6001"/>
                      </a:cubicBezTo>
                      <a:cubicBezTo>
                        <a:pt x="8477" y="6001"/>
                        <a:pt x="9430" y="6191"/>
                        <a:pt x="10382" y="6668"/>
                      </a:cubicBezTo>
                      <a:cubicBezTo>
                        <a:pt x="11335" y="7049"/>
                        <a:pt x="12097" y="7716"/>
                        <a:pt x="12668" y="8382"/>
                      </a:cubicBezTo>
                      <a:cubicBezTo>
                        <a:pt x="13240" y="9144"/>
                        <a:pt x="13716" y="10097"/>
                        <a:pt x="14097" y="11144"/>
                      </a:cubicBezTo>
                      <a:cubicBezTo>
                        <a:pt x="14478" y="12192"/>
                        <a:pt x="14573" y="13335"/>
                        <a:pt x="14573" y="14574"/>
                      </a:cubicBezTo>
                      <a:cubicBezTo>
                        <a:pt x="14573" y="17431"/>
                        <a:pt x="13906" y="19717"/>
                        <a:pt x="12478" y="21241"/>
                      </a:cubicBezTo>
                      <a:cubicBezTo>
                        <a:pt x="11049" y="22860"/>
                        <a:pt x="9335" y="23622"/>
                        <a:pt x="7334" y="23622"/>
                      </a:cubicBezTo>
                      <a:cubicBezTo>
                        <a:pt x="5334" y="23622"/>
                        <a:pt x="3810" y="22765"/>
                        <a:pt x="2667" y="21146"/>
                      </a:cubicBezTo>
                      <a:lnTo>
                        <a:pt x="2667" y="23241"/>
                      </a:lnTo>
                      <a:close/>
                      <a:moveTo>
                        <a:pt x="2572" y="14764"/>
                      </a:moveTo>
                      <a:cubicBezTo>
                        <a:pt x="2572" y="16764"/>
                        <a:pt x="2858" y="18288"/>
                        <a:pt x="3429" y="19145"/>
                      </a:cubicBezTo>
                      <a:cubicBezTo>
                        <a:pt x="4286" y="20574"/>
                        <a:pt x="5525" y="21336"/>
                        <a:pt x="7049" y="21336"/>
                      </a:cubicBezTo>
                      <a:cubicBezTo>
                        <a:pt x="8287" y="21336"/>
                        <a:pt x="9335" y="20765"/>
                        <a:pt x="10287" y="19717"/>
                      </a:cubicBezTo>
                      <a:cubicBezTo>
                        <a:pt x="11240" y="18669"/>
                        <a:pt x="11621" y="17050"/>
                        <a:pt x="11621" y="14859"/>
                      </a:cubicBezTo>
                      <a:cubicBezTo>
                        <a:pt x="11621" y="12668"/>
                        <a:pt x="11144" y="11049"/>
                        <a:pt x="10287" y="10001"/>
                      </a:cubicBezTo>
                      <a:cubicBezTo>
                        <a:pt x="9430" y="8954"/>
                        <a:pt x="8382" y="8477"/>
                        <a:pt x="7144" y="8477"/>
                      </a:cubicBezTo>
                      <a:cubicBezTo>
                        <a:pt x="5906" y="8477"/>
                        <a:pt x="4858" y="9049"/>
                        <a:pt x="3905" y="10097"/>
                      </a:cubicBezTo>
                      <a:cubicBezTo>
                        <a:pt x="3048" y="11144"/>
                        <a:pt x="2572" y="12668"/>
                        <a:pt x="2572" y="1476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1" name="Freeform 53">
                  <a:extLst>
                    <a:ext uri="{FF2B5EF4-FFF2-40B4-BE49-F238E27FC236}">
                      <a16:creationId xmlns:a16="http://schemas.microsoft.com/office/drawing/2014/main" id="{A3C2F7BC-0748-1425-E259-9CE5F785A482}"/>
                    </a:ext>
                  </a:extLst>
                </p:cNvPr>
                <p:cNvSpPr/>
                <p:nvPr/>
              </p:nvSpPr>
              <p:spPr>
                <a:xfrm>
                  <a:off x="423290" y="3927824"/>
                  <a:ext cx="15430" cy="23717"/>
                </a:xfrm>
                <a:custGeom>
                  <a:avLst/>
                  <a:gdLst>
                    <a:gd name="connsiteX0" fmla="*/ 1429 w 15430"/>
                    <a:gd name="connsiteY0" fmla="*/ 23146 h 23717"/>
                    <a:gd name="connsiteX1" fmla="*/ 1143 w 15430"/>
                    <a:gd name="connsiteY1" fmla="*/ 20479 h 23717"/>
                    <a:gd name="connsiteX2" fmla="*/ 2762 w 15430"/>
                    <a:gd name="connsiteY2" fmla="*/ 20765 h 23717"/>
                    <a:gd name="connsiteX3" fmla="*/ 4286 w 15430"/>
                    <a:gd name="connsiteY3" fmla="*/ 20479 h 23717"/>
                    <a:gd name="connsiteX4" fmla="*/ 5239 w 15430"/>
                    <a:gd name="connsiteY4" fmla="*/ 19621 h 23717"/>
                    <a:gd name="connsiteX5" fmla="*/ 6096 w 15430"/>
                    <a:gd name="connsiteY5" fmla="*/ 17526 h 23717"/>
                    <a:gd name="connsiteX6" fmla="*/ 6382 w 15430"/>
                    <a:gd name="connsiteY6" fmla="*/ 16859 h 23717"/>
                    <a:gd name="connsiteX7" fmla="*/ 0 w 15430"/>
                    <a:gd name="connsiteY7" fmla="*/ 0 h 23717"/>
                    <a:gd name="connsiteX8" fmla="*/ 3048 w 15430"/>
                    <a:gd name="connsiteY8" fmla="*/ 0 h 23717"/>
                    <a:gd name="connsiteX9" fmla="*/ 6572 w 15430"/>
                    <a:gd name="connsiteY9" fmla="*/ 9716 h 23717"/>
                    <a:gd name="connsiteX10" fmla="*/ 7810 w 15430"/>
                    <a:gd name="connsiteY10" fmla="*/ 13621 h 23717"/>
                    <a:gd name="connsiteX11" fmla="*/ 8954 w 15430"/>
                    <a:gd name="connsiteY11" fmla="*/ 9811 h 23717"/>
                    <a:gd name="connsiteX12" fmla="*/ 12573 w 15430"/>
                    <a:gd name="connsiteY12" fmla="*/ 0 h 23717"/>
                    <a:gd name="connsiteX13" fmla="*/ 15431 w 15430"/>
                    <a:gd name="connsiteY13" fmla="*/ 0 h 23717"/>
                    <a:gd name="connsiteX14" fmla="*/ 9049 w 15430"/>
                    <a:gd name="connsiteY14" fmla="*/ 17145 h 23717"/>
                    <a:gd name="connsiteX15" fmla="*/ 7429 w 15430"/>
                    <a:gd name="connsiteY15" fmla="*/ 20955 h 23717"/>
                    <a:gd name="connsiteX16" fmla="*/ 5715 w 15430"/>
                    <a:gd name="connsiteY16" fmla="*/ 23051 h 23717"/>
                    <a:gd name="connsiteX17" fmla="*/ 3334 w 15430"/>
                    <a:gd name="connsiteY17" fmla="*/ 23717 h 23717"/>
                    <a:gd name="connsiteX18" fmla="*/ 1429 w 15430"/>
                    <a:gd name="connsiteY18" fmla="*/ 23146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430" h="23717">
                      <a:moveTo>
                        <a:pt x="1429" y="23146"/>
                      </a:moveTo>
                      <a:lnTo>
                        <a:pt x="1143" y="20479"/>
                      </a:lnTo>
                      <a:cubicBezTo>
                        <a:pt x="1810" y="20669"/>
                        <a:pt x="2286" y="20765"/>
                        <a:pt x="2762" y="20765"/>
                      </a:cubicBezTo>
                      <a:cubicBezTo>
                        <a:pt x="3429" y="20765"/>
                        <a:pt x="3905" y="20669"/>
                        <a:pt x="4286" y="20479"/>
                      </a:cubicBezTo>
                      <a:cubicBezTo>
                        <a:pt x="4667" y="20288"/>
                        <a:pt x="4953" y="20003"/>
                        <a:pt x="5239" y="19621"/>
                      </a:cubicBezTo>
                      <a:cubicBezTo>
                        <a:pt x="5429" y="19336"/>
                        <a:pt x="5715" y="18669"/>
                        <a:pt x="6096" y="17526"/>
                      </a:cubicBezTo>
                      <a:cubicBezTo>
                        <a:pt x="6191" y="17336"/>
                        <a:pt x="6191" y="17145"/>
                        <a:pt x="6382" y="16859"/>
                      </a:cubicBezTo>
                      <a:lnTo>
                        <a:pt x="0" y="0"/>
                      </a:lnTo>
                      <a:lnTo>
                        <a:pt x="3048" y="0"/>
                      </a:lnTo>
                      <a:lnTo>
                        <a:pt x="6572" y="9716"/>
                      </a:lnTo>
                      <a:cubicBezTo>
                        <a:pt x="7048" y="10954"/>
                        <a:pt x="7429" y="12287"/>
                        <a:pt x="7810" y="13621"/>
                      </a:cubicBezTo>
                      <a:cubicBezTo>
                        <a:pt x="8096" y="12287"/>
                        <a:pt x="8573" y="11049"/>
                        <a:pt x="8954" y="9811"/>
                      </a:cubicBezTo>
                      <a:lnTo>
                        <a:pt x="12573" y="0"/>
                      </a:lnTo>
                      <a:lnTo>
                        <a:pt x="15431" y="0"/>
                      </a:lnTo>
                      <a:lnTo>
                        <a:pt x="9049" y="17145"/>
                      </a:lnTo>
                      <a:cubicBezTo>
                        <a:pt x="8382" y="18955"/>
                        <a:pt x="7810" y="20288"/>
                        <a:pt x="7429" y="20955"/>
                      </a:cubicBezTo>
                      <a:cubicBezTo>
                        <a:pt x="6953" y="21908"/>
                        <a:pt x="6382" y="22574"/>
                        <a:pt x="5715" y="23051"/>
                      </a:cubicBezTo>
                      <a:cubicBezTo>
                        <a:pt x="5048" y="23527"/>
                        <a:pt x="4286" y="23717"/>
                        <a:pt x="3334" y="23717"/>
                      </a:cubicBezTo>
                      <a:cubicBezTo>
                        <a:pt x="2762" y="23527"/>
                        <a:pt x="2096" y="23432"/>
                        <a:pt x="1429" y="23146"/>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2" name="Freeform 54">
                  <a:extLst>
                    <a:ext uri="{FF2B5EF4-FFF2-40B4-BE49-F238E27FC236}">
                      <a16:creationId xmlns:a16="http://schemas.microsoft.com/office/drawing/2014/main" id="{02391BF9-6AF7-B1FD-F6BB-C02F736E8365}"/>
                    </a:ext>
                  </a:extLst>
                </p:cNvPr>
                <p:cNvSpPr/>
                <p:nvPr/>
              </p:nvSpPr>
              <p:spPr>
                <a:xfrm>
                  <a:off x="448436" y="392172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7 w 8286"/>
                    <a:gd name="connsiteY4" fmla="*/ 21146 h 22955"/>
                    <a:gd name="connsiteX5" fmla="*/ 2096 w 8286"/>
                    <a:gd name="connsiteY5" fmla="*/ 17812 h 22955"/>
                    <a:gd name="connsiteX6" fmla="*/ 2096 w 8286"/>
                    <a:gd name="connsiteY6" fmla="*/ 8096 h 22955"/>
                    <a:gd name="connsiteX7" fmla="*/ 0 w 8286"/>
                    <a:gd name="connsiteY7" fmla="*/ 8096 h 22955"/>
                    <a:gd name="connsiteX8" fmla="*/ 0 w 8286"/>
                    <a:gd name="connsiteY8" fmla="*/ 5905 h 22955"/>
                    <a:gd name="connsiteX9" fmla="*/ 2096 w 8286"/>
                    <a:gd name="connsiteY9" fmla="*/ 5905 h 22955"/>
                    <a:gd name="connsiteX10" fmla="*/ 2096 w 8286"/>
                    <a:gd name="connsiteY10" fmla="*/ 1714 h 22955"/>
                    <a:gd name="connsiteX11" fmla="*/ 4953 w 8286"/>
                    <a:gd name="connsiteY11" fmla="*/ 0 h 22955"/>
                    <a:gd name="connsiteX12" fmla="*/ 4953 w 8286"/>
                    <a:gd name="connsiteY12" fmla="*/ 5905 h 22955"/>
                    <a:gd name="connsiteX13" fmla="*/ 7810 w 8286"/>
                    <a:gd name="connsiteY13" fmla="*/ 5905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7" y="21146"/>
                      </a:cubicBezTo>
                      <a:cubicBezTo>
                        <a:pt x="2286" y="20574"/>
                        <a:pt x="2096" y="19526"/>
                        <a:pt x="2096" y="17812"/>
                      </a:cubicBezTo>
                      <a:lnTo>
                        <a:pt x="2096" y="8096"/>
                      </a:lnTo>
                      <a:lnTo>
                        <a:pt x="0" y="8096"/>
                      </a:lnTo>
                      <a:lnTo>
                        <a:pt x="0" y="5905"/>
                      </a:lnTo>
                      <a:lnTo>
                        <a:pt x="2096" y="5905"/>
                      </a:lnTo>
                      <a:lnTo>
                        <a:pt x="2096" y="1714"/>
                      </a:lnTo>
                      <a:lnTo>
                        <a:pt x="4953" y="0"/>
                      </a:lnTo>
                      <a:lnTo>
                        <a:pt x="4953" y="5905"/>
                      </a:lnTo>
                      <a:lnTo>
                        <a:pt x="7810" y="5905"/>
                      </a:lnTo>
                      <a:lnTo>
                        <a:pt x="7810" y="8096"/>
                      </a:lnTo>
                      <a:lnTo>
                        <a:pt x="4953" y="8096"/>
                      </a:lnTo>
                      <a:lnTo>
                        <a:pt x="4953" y="17907"/>
                      </a:lnTo>
                      <a:cubicBezTo>
                        <a:pt x="4953" y="18764"/>
                        <a:pt x="5048" y="19240"/>
                        <a:pt x="5144" y="19431"/>
                      </a:cubicBezTo>
                      <a:cubicBezTo>
                        <a:pt x="5239" y="19621"/>
                        <a:pt x="5429" y="19812"/>
                        <a:pt x="5620" y="20003"/>
                      </a:cubicBezTo>
                      <a:cubicBezTo>
                        <a:pt x="5810" y="20098"/>
                        <a:pt x="6191" y="20193"/>
                        <a:pt x="6572" y="20193"/>
                      </a:cubicBezTo>
                      <a:cubicBezTo>
                        <a:pt x="7048" y="20383"/>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3" name="Freeform 55">
                  <a:extLst>
                    <a:ext uri="{FF2B5EF4-FFF2-40B4-BE49-F238E27FC236}">
                      <a16:creationId xmlns:a16="http://schemas.microsoft.com/office/drawing/2014/main" id="{24B0A568-2CB6-5E53-7536-3CFA7E06CFD6}"/>
                    </a:ext>
                  </a:extLst>
                </p:cNvPr>
                <p:cNvSpPr/>
                <p:nvPr/>
              </p:nvSpPr>
              <p:spPr>
                <a:xfrm>
                  <a:off x="459199" y="3921252"/>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5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3 h 23431"/>
                    <a:gd name="connsiteX13" fmla="*/ 4858 w 13716"/>
                    <a:gd name="connsiteY13" fmla="*/ 9239 h 23431"/>
                    <a:gd name="connsiteX14" fmla="*/ 3239 w 13716"/>
                    <a:gd name="connsiteY14" fmla="*/ 11049 h 23431"/>
                    <a:gd name="connsiteX15" fmla="*/ 2762 w 13716"/>
                    <a:gd name="connsiteY15" fmla="*/ 14192 h 23431"/>
                    <a:gd name="connsiteX16" fmla="*/ 2762 w 13716"/>
                    <a:gd name="connsiteY16" fmla="*/ 23432 h 23431"/>
                    <a:gd name="connsiteX17" fmla="*/ 0 w 13716"/>
                    <a:gd name="connsiteY17" fmla="*/ 23432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4" y="8001"/>
                        <a:pt x="13145" y="8858"/>
                      </a:cubicBezTo>
                      <a:cubicBezTo>
                        <a:pt x="13526" y="9716"/>
                        <a:pt x="13716" y="10954"/>
                        <a:pt x="13716" y="12668"/>
                      </a:cubicBezTo>
                      <a:lnTo>
                        <a:pt x="13716" y="23336"/>
                      </a:lnTo>
                      <a:lnTo>
                        <a:pt x="10858" y="23336"/>
                      </a:lnTo>
                      <a:lnTo>
                        <a:pt x="10858" y="12668"/>
                      </a:lnTo>
                      <a:cubicBezTo>
                        <a:pt x="10858" y="11240"/>
                        <a:pt x="10573" y="10192"/>
                        <a:pt x="9906" y="9525"/>
                      </a:cubicBezTo>
                      <a:cubicBezTo>
                        <a:pt x="9239" y="8858"/>
                        <a:pt x="8382" y="8573"/>
                        <a:pt x="7239" y="8573"/>
                      </a:cubicBezTo>
                      <a:cubicBezTo>
                        <a:pt x="6382" y="8573"/>
                        <a:pt x="5620" y="8763"/>
                        <a:pt x="4858" y="9239"/>
                      </a:cubicBezTo>
                      <a:cubicBezTo>
                        <a:pt x="4096" y="9716"/>
                        <a:pt x="3620" y="10287"/>
                        <a:pt x="3239" y="11049"/>
                      </a:cubicBezTo>
                      <a:cubicBezTo>
                        <a:pt x="2953" y="11811"/>
                        <a:pt x="2762" y="12859"/>
                        <a:pt x="2762" y="14192"/>
                      </a:cubicBezTo>
                      <a:lnTo>
                        <a:pt x="2762" y="23432"/>
                      </a:lnTo>
                      <a:lnTo>
                        <a:pt x="0" y="2343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34" name="Freeform 56">
                  <a:extLst>
                    <a:ext uri="{FF2B5EF4-FFF2-40B4-BE49-F238E27FC236}">
                      <a16:creationId xmlns:a16="http://schemas.microsoft.com/office/drawing/2014/main" id="{AAAD86FC-8414-4ABA-55A2-86B57D7125D4}"/>
                    </a:ext>
                  </a:extLst>
                </p:cNvPr>
                <p:cNvSpPr/>
                <p:nvPr/>
              </p:nvSpPr>
              <p:spPr>
                <a:xfrm>
                  <a:off x="476154" y="3927253"/>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8 w 15525"/>
                    <a:gd name="connsiteY16" fmla="*/ 7239 h 17621"/>
                    <a:gd name="connsiteX17" fmla="*/ 12668 w 15525"/>
                    <a:gd name="connsiteY17" fmla="*/ 7239 h 17621"/>
                    <a:gd name="connsiteX18" fmla="*/ 11620 w 15525"/>
                    <a:gd name="connsiteY18" fmla="*/ 4096 h 17621"/>
                    <a:gd name="connsiteX19" fmla="*/ 8096 w 15525"/>
                    <a:gd name="connsiteY19" fmla="*/ 2477 h 17621"/>
                    <a:gd name="connsiteX20" fmla="*/ 4763 w 15525"/>
                    <a:gd name="connsiteY20" fmla="*/ 3810 h 17621"/>
                    <a:gd name="connsiteX21" fmla="*/ 3238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7"/>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620" y="13907"/>
                        <a:pt x="12192" y="13049"/>
                        <a:pt x="12573" y="11811"/>
                      </a:cubicBezTo>
                      <a:close/>
                      <a:moveTo>
                        <a:pt x="3238" y="7239"/>
                      </a:moveTo>
                      <a:lnTo>
                        <a:pt x="12668" y="7239"/>
                      </a:lnTo>
                      <a:cubicBezTo>
                        <a:pt x="12573" y="5810"/>
                        <a:pt x="12192" y="4763"/>
                        <a:pt x="11620" y="4096"/>
                      </a:cubicBezTo>
                      <a:cubicBezTo>
                        <a:pt x="10668" y="2953"/>
                        <a:pt x="9525" y="2477"/>
                        <a:pt x="8096" y="2477"/>
                      </a:cubicBezTo>
                      <a:cubicBezTo>
                        <a:pt x="6763" y="2477"/>
                        <a:pt x="5715" y="2953"/>
                        <a:pt x="4763" y="3810"/>
                      </a:cubicBezTo>
                      <a:cubicBezTo>
                        <a:pt x="3810" y="4572"/>
                        <a:pt x="3334" y="5715"/>
                        <a:pt x="3238"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5" name="Graphic 6">
                <a:extLst>
                  <a:ext uri="{FF2B5EF4-FFF2-40B4-BE49-F238E27FC236}">
                    <a16:creationId xmlns:a16="http://schemas.microsoft.com/office/drawing/2014/main" id="{C3C85FD5-2FE1-F92B-A0B4-E46C160766F8}"/>
                  </a:ext>
                </a:extLst>
              </p:cNvPr>
              <p:cNvGrpSpPr/>
              <p:nvPr/>
            </p:nvGrpSpPr>
            <p:grpSpPr>
              <a:xfrm>
                <a:off x="246506" y="3957638"/>
                <a:ext cx="321849" cy="30194"/>
                <a:chOff x="246506" y="3957638"/>
                <a:chExt cx="321849" cy="30194"/>
              </a:xfrm>
              <a:solidFill>
                <a:srgbClr val="23509E"/>
              </a:solidFill>
            </p:grpSpPr>
            <p:sp>
              <p:nvSpPr>
                <p:cNvPr id="55" name="Freeform 58">
                  <a:extLst>
                    <a:ext uri="{FF2B5EF4-FFF2-40B4-BE49-F238E27FC236}">
                      <a16:creationId xmlns:a16="http://schemas.microsoft.com/office/drawing/2014/main" id="{8C222C20-A31F-5E40-D59D-3A815A2FFA5B}"/>
                    </a:ext>
                  </a:extLst>
                </p:cNvPr>
                <p:cNvSpPr/>
                <p:nvPr/>
              </p:nvSpPr>
              <p:spPr>
                <a:xfrm>
                  <a:off x="246506" y="3957638"/>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6" name="Freeform 59">
                  <a:extLst>
                    <a:ext uri="{FF2B5EF4-FFF2-40B4-BE49-F238E27FC236}">
                      <a16:creationId xmlns:a16="http://schemas.microsoft.com/office/drawing/2014/main" id="{F416395F-1BD3-CA2D-C3FA-B31C163BB689}"/>
                    </a:ext>
                  </a:extLst>
                </p:cNvPr>
                <p:cNvSpPr/>
                <p:nvPr/>
              </p:nvSpPr>
              <p:spPr>
                <a:xfrm>
                  <a:off x="267746"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7" name="Freeform 60">
                  <a:extLst>
                    <a:ext uri="{FF2B5EF4-FFF2-40B4-BE49-F238E27FC236}">
                      <a16:creationId xmlns:a16="http://schemas.microsoft.com/office/drawing/2014/main" id="{4EE737A6-A3AE-F77E-42CF-87D3B4F001EA}"/>
                    </a:ext>
                  </a:extLst>
                </p:cNvPr>
                <p:cNvSpPr/>
                <p:nvPr/>
              </p:nvSpPr>
              <p:spPr>
                <a:xfrm>
                  <a:off x="277557"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8" name="Freeform 61">
                  <a:extLst>
                    <a:ext uri="{FF2B5EF4-FFF2-40B4-BE49-F238E27FC236}">
                      <a16:creationId xmlns:a16="http://schemas.microsoft.com/office/drawing/2014/main" id="{3466D5A6-F415-06B3-3C61-7E7AF4C0C61B}"/>
                    </a:ext>
                  </a:extLst>
                </p:cNvPr>
                <p:cNvSpPr/>
                <p:nvPr/>
              </p:nvSpPr>
              <p:spPr>
                <a:xfrm>
                  <a:off x="295464" y="3963448"/>
                  <a:ext cx="13906" cy="17525"/>
                </a:xfrm>
                <a:custGeom>
                  <a:avLst/>
                  <a:gdLst>
                    <a:gd name="connsiteX0" fmla="*/ 0 w 13906"/>
                    <a:gd name="connsiteY0" fmla="*/ 12382 h 17525"/>
                    <a:gd name="connsiteX1" fmla="*/ 2857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2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8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5" h="17525">
                      <a:moveTo>
                        <a:pt x="0" y="12382"/>
                      </a:moveTo>
                      <a:lnTo>
                        <a:pt x="2857" y="11906"/>
                      </a:lnTo>
                      <a:cubicBezTo>
                        <a:pt x="3048" y="13049"/>
                        <a:pt x="3429" y="13906"/>
                        <a:pt x="4191" y="14478"/>
                      </a:cubicBezTo>
                      <a:cubicBezTo>
                        <a:pt x="4953" y="15049"/>
                        <a:pt x="5905" y="15335"/>
                        <a:pt x="7239" y="15335"/>
                      </a:cubicBezTo>
                      <a:cubicBezTo>
                        <a:pt x="8572" y="15335"/>
                        <a:pt x="9525" y="15049"/>
                        <a:pt x="10192" y="14573"/>
                      </a:cubicBezTo>
                      <a:cubicBezTo>
                        <a:pt x="10858" y="14002"/>
                        <a:pt x="11144" y="13430"/>
                        <a:pt x="11144" y="12668"/>
                      </a:cubicBezTo>
                      <a:cubicBezTo>
                        <a:pt x="11144" y="12001"/>
                        <a:pt x="10858" y="11525"/>
                        <a:pt x="10287" y="11144"/>
                      </a:cubicBezTo>
                      <a:cubicBezTo>
                        <a:pt x="9906" y="10858"/>
                        <a:pt x="8953"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7" y="953"/>
                        <a:pt x="3429" y="667"/>
                        <a:pt x="4191" y="381"/>
                      </a:cubicBezTo>
                      <a:cubicBezTo>
                        <a:pt x="4953" y="190"/>
                        <a:pt x="5810" y="0"/>
                        <a:pt x="6667" y="0"/>
                      </a:cubicBezTo>
                      <a:cubicBezTo>
                        <a:pt x="8001" y="0"/>
                        <a:pt x="9144" y="190"/>
                        <a:pt x="10192" y="571"/>
                      </a:cubicBezTo>
                      <a:cubicBezTo>
                        <a:pt x="11144" y="953"/>
                        <a:pt x="11906" y="1429"/>
                        <a:pt x="12382"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4" y="2286"/>
                        <a:pt x="4572" y="2476"/>
                        <a:pt x="4096" y="2953"/>
                      </a:cubicBezTo>
                      <a:cubicBezTo>
                        <a:pt x="3524" y="3429"/>
                        <a:pt x="3238" y="3905"/>
                        <a:pt x="3238" y="4477"/>
                      </a:cubicBezTo>
                      <a:cubicBezTo>
                        <a:pt x="3238"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3"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381"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9" name="Freeform 62">
                  <a:extLst>
                    <a:ext uri="{FF2B5EF4-FFF2-40B4-BE49-F238E27FC236}">
                      <a16:creationId xmlns:a16="http://schemas.microsoft.com/office/drawing/2014/main" id="{BD75869B-2D45-AC3B-98FC-D9D06C0E050D}"/>
                    </a:ext>
                  </a:extLst>
                </p:cNvPr>
                <p:cNvSpPr/>
                <p:nvPr/>
              </p:nvSpPr>
              <p:spPr>
                <a:xfrm>
                  <a:off x="31289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2 w 22764"/>
                    <a:gd name="connsiteY14" fmla="*/ 4191 h 17240"/>
                    <a:gd name="connsiteX15" fmla="*/ 18574 w 22764"/>
                    <a:gd name="connsiteY15" fmla="*/ 2953 h 17240"/>
                    <a:gd name="connsiteX16" fmla="*/ 16859 w 22764"/>
                    <a:gd name="connsiteY16" fmla="*/ 2477 h 17240"/>
                    <a:gd name="connsiteX17" fmla="*/ 13907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2" y="4191"/>
                      </a:cubicBezTo>
                      <a:cubicBezTo>
                        <a:pt x="19431" y="3715"/>
                        <a:pt x="19145" y="3238"/>
                        <a:pt x="18574" y="2953"/>
                      </a:cubicBezTo>
                      <a:cubicBezTo>
                        <a:pt x="18098" y="2667"/>
                        <a:pt x="17526" y="2477"/>
                        <a:pt x="16859" y="2477"/>
                      </a:cubicBezTo>
                      <a:cubicBezTo>
                        <a:pt x="15716" y="2477"/>
                        <a:pt x="14669" y="2857"/>
                        <a:pt x="13907" y="3620"/>
                      </a:cubicBezTo>
                      <a:cubicBezTo>
                        <a:pt x="13145"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20"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0" name="Freeform 63">
                  <a:extLst>
                    <a:ext uri="{FF2B5EF4-FFF2-40B4-BE49-F238E27FC236}">
                      <a16:creationId xmlns:a16="http://schemas.microsoft.com/office/drawing/2014/main" id="{881E6804-942A-7CC2-347C-4C31CD3C0B55}"/>
                    </a:ext>
                  </a:extLst>
                </p:cNvPr>
                <p:cNvSpPr/>
                <p:nvPr/>
              </p:nvSpPr>
              <p:spPr>
                <a:xfrm>
                  <a:off x="339946" y="3964020"/>
                  <a:ext cx="13716" cy="17240"/>
                </a:xfrm>
                <a:custGeom>
                  <a:avLst/>
                  <a:gdLst>
                    <a:gd name="connsiteX0" fmla="*/ 11049 w 13716"/>
                    <a:gd name="connsiteY0" fmla="*/ 16859 h 17240"/>
                    <a:gd name="connsiteX1" fmla="*/ 11049 w 13716"/>
                    <a:gd name="connsiteY1" fmla="*/ 14383 h 17240"/>
                    <a:gd name="connsiteX2" fmla="*/ 5715 w 13716"/>
                    <a:gd name="connsiteY2" fmla="*/ 17240 h 17240"/>
                    <a:gd name="connsiteX3" fmla="*/ 2953 w 13716"/>
                    <a:gd name="connsiteY3" fmla="*/ 16669 h 17240"/>
                    <a:gd name="connsiteX4" fmla="*/ 1048 w 13716"/>
                    <a:gd name="connsiteY4" fmla="*/ 15240 h 17240"/>
                    <a:gd name="connsiteX5" fmla="*/ 190 w 13716"/>
                    <a:gd name="connsiteY5" fmla="*/ 13145 h 17240"/>
                    <a:gd name="connsiteX6" fmla="*/ 0 w 13716"/>
                    <a:gd name="connsiteY6" fmla="*/ 10478 h 17240"/>
                    <a:gd name="connsiteX7" fmla="*/ 0 w 13716"/>
                    <a:gd name="connsiteY7" fmla="*/ 0 h 17240"/>
                    <a:gd name="connsiteX8" fmla="*/ 2858 w 13716"/>
                    <a:gd name="connsiteY8" fmla="*/ 0 h 17240"/>
                    <a:gd name="connsiteX9" fmla="*/ 2858 w 13716"/>
                    <a:gd name="connsiteY9" fmla="*/ 9334 h 17240"/>
                    <a:gd name="connsiteX10" fmla="*/ 3048 w 13716"/>
                    <a:gd name="connsiteY10" fmla="*/ 12382 h 17240"/>
                    <a:gd name="connsiteX11" fmla="*/ 4191 w 13716"/>
                    <a:gd name="connsiteY11" fmla="*/ 14192 h 17240"/>
                    <a:gd name="connsiteX12" fmla="*/ 6382 w 13716"/>
                    <a:gd name="connsiteY12" fmla="*/ 14859 h 17240"/>
                    <a:gd name="connsiteX13" fmla="*/ 8763 w 13716"/>
                    <a:gd name="connsiteY13" fmla="*/ 14192 h 17240"/>
                    <a:gd name="connsiteX14" fmla="*/ 10382 w 13716"/>
                    <a:gd name="connsiteY14" fmla="*/ 12382 h 17240"/>
                    <a:gd name="connsiteX15" fmla="*/ 10858 w 13716"/>
                    <a:gd name="connsiteY15" fmla="*/ 9049 h 17240"/>
                    <a:gd name="connsiteX16" fmla="*/ 10858 w 13716"/>
                    <a:gd name="connsiteY16" fmla="*/ 0 h 17240"/>
                    <a:gd name="connsiteX17" fmla="*/ 13716 w 13716"/>
                    <a:gd name="connsiteY17" fmla="*/ 0 h 17240"/>
                    <a:gd name="connsiteX18" fmla="*/ 13716 w 13716"/>
                    <a:gd name="connsiteY18" fmla="*/ 16859 h 17240"/>
                    <a:gd name="connsiteX19" fmla="*/ 11049 w 13716"/>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6" h="17240">
                      <a:moveTo>
                        <a:pt x="11049" y="16859"/>
                      </a:moveTo>
                      <a:lnTo>
                        <a:pt x="11049" y="14383"/>
                      </a:lnTo>
                      <a:cubicBezTo>
                        <a:pt x="9715" y="16288"/>
                        <a:pt x="8001" y="17240"/>
                        <a:pt x="5715" y="17240"/>
                      </a:cubicBezTo>
                      <a:cubicBezTo>
                        <a:pt x="4763" y="17240"/>
                        <a:pt x="3810" y="17050"/>
                        <a:pt x="2953" y="16669"/>
                      </a:cubicBezTo>
                      <a:cubicBezTo>
                        <a:pt x="2096" y="16288"/>
                        <a:pt x="1429" y="15812"/>
                        <a:pt x="1048" y="15240"/>
                      </a:cubicBezTo>
                      <a:cubicBezTo>
                        <a:pt x="667" y="14669"/>
                        <a:pt x="381" y="14002"/>
                        <a:pt x="190" y="13145"/>
                      </a:cubicBezTo>
                      <a:cubicBezTo>
                        <a:pt x="95" y="12573"/>
                        <a:pt x="0" y="11716"/>
                        <a:pt x="0" y="10478"/>
                      </a:cubicBezTo>
                      <a:lnTo>
                        <a:pt x="0" y="0"/>
                      </a:lnTo>
                      <a:lnTo>
                        <a:pt x="2858" y="0"/>
                      </a:lnTo>
                      <a:lnTo>
                        <a:pt x="2858" y="9334"/>
                      </a:lnTo>
                      <a:cubicBezTo>
                        <a:pt x="2858" y="10858"/>
                        <a:pt x="2953" y="11811"/>
                        <a:pt x="3048" y="12382"/>
                      </a:cubicBezTo>
                      <a:cubicBezTo>
                        <a:pt x="3238" y="13145"/>
                        <a:pt x="3619" y="13716"/>
                        <a:pt x="4191" y="14192"/>
                      </a:cubicBezTo>
                      <a:cubicBezTo>
                        <a:pt x="4763" y="14669"/>
                        <a:pt x="5525" y="14859"/>
                        <a:pt x="6382" y="14859"/>
                      </a:cubicBezTo>
                      <a:cubicBezTo>
                        <a:pt x="7239" y="14859"/>
                        <a:pt x="8001" y="14669"/>
                        <a:pt x="8763" y="14192"/>
                      </a:cubicBezTo>
                      <a:cubicBezTo>
                        <a:pt x="9525" y="13716"/>
                        <a:pt x="10001" y="13145"/>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1" name="Freeform 64">
                  <a:extLst>
                    <a:ext uri="{FF2B5EF4-FFF2-40B4-BE49-F238E27FC236}">
                      <a16:creationId xmlns:a16="http://schemas.microsoft.com/office/drawing/2014/main" id="{63953213-4BF5-ABC3-95B6-56BFC5ADC25F}"/>
                    </a:ext>
                  </a:extLst>
                </p:cNvPr>
                <p:cNvSpPr/>
                <p:nvPr/>
              </p:nvSpPr>
              <p:spPr>
                <a:xfrm>
                  <a:off x="356900" y="3963448"/>
                  <a:ext cx="13906" cy="17525"/>
                </a:xfrm>
                <a:custGeom>
                  <a:avLst/>
                  <a:gdLst>
                    <a:gd name="connsiteX0" fmla="*/ 0 w 13906"/>
                    <a:gd name="connsiteY0" fmla="*/ 12382 h 17525"/>
                    <a:gd name="connsiteX1" fmla="*/ 2858 w 13906"/>
                    <a:gd name="connsiteY1" fmla="*/ 11906 h 17525"/>
                    <a:gd name="connsiteX2" fmla="*/ 4191 w 13906"/>
                    <a:gd name="connsiteY2" fmla="*/ 14478 h 17525"/>
                    <a:gd name="connsiteX3" fmla="*/ 7239 w 13906"/>
                    <a:gd name="connsiteY3" fmla="*/ 15335 h 17525"/>
                    <a:gd name="connsiteX4" fmla="*/ 10192 w 13906"/>
                    <a:gd name="connsiteY4" fmla="*/ 14573 h 17525"/>
                    <a:gd name="connsiteX5" fmla="*/ 11144 w 13906"/>
                    <a:gd name="connsiteY5" fmla="*/ 12668 h 17525"/>
                    <a:gd name="connsiteX6" fmla="*/ 10287 w 13906"/>
                    <a:gd name="connsiteY6" fmla="*/ 11144 h 17525"/>
                    <a:gd name="connsiteX7" fmla="*/ 7334 w 13906"/>
                    <a:gd name="connsiteY7" fmla="*/ 10192 h 17525"/>
                    <a:gd name="connsiteX8" fmla="*/ 2953 w 13906"/>
                    <a:gd name="connsiteY8" fmla="*/ 8858 h 17525"/>
                    <a:gd name="connsiteX9" fmla="*/ 1143 w 13906"/>
                    <a:gd name="connsiteY9" fmla="*/ 7239 h 17525"/>
                    <a:gd name="connsiteX10" fmla="*/ 476 w 13906"/>
                    <a:gd name="connsiteY10" fmla="*/ 4953 h 17525"/>
                    <a:gd name="connsiteX11" fmla="*/ 952 w 13906"/>
                    <a:gd name="connsiteY11" fmla="*/ 2857 h 17525"/>
                    <a:gd name="connsiteX12" fmla="*/ 2381 w 13906"/>
                    <a:gd name="connsiteY12" fmla="*/ 1238 h 17525"/>
                    <a:gd name="connsiteX13" fmla="*/ 4191 w 13906"/>
                    <a:gd name="connsiteY13" fmla="*/ 381 h 17525"/>
                    <a:gd name="connsiteX14" fmla="*/ 6667 w 13906"/>
                    <a:gd name="connsiteY14" fmla="*/ 0 h 17525"/>
                    <a:gd name="connsiteX15" fmla="*/ 10192 w 13906"/>
                    <a:gd name="connsiteY15" fmla="*/ 571 h 17525"/>
                    <a:gd name="connsiteX16" fmla="*/ 12383 w 13906"/>
                    <a:gd name="connsiteY16" fmla="*/ 2096 h 17525"/>
                    <a:gd name="connsiteX17" fmla="*/ 13335 w 13906"/>
                    <a:gd name="connsiteY17" fmla="*/ 4667 h 17525"/>
                    <a:gd name="connsiteX18" fmla="*/ 10573 w 13906"/>
                    <a:gd name="connsiteY18" fmla="*/ 5048 h 17525"/>
                    <a:gd name="connsiteX19" fmla="*/ 9430 w 13906"/>
                    <a:gd name="connsiteY19" fmla="*/ 3048 h 17525"/>
                    <a:gd name="connsiteX20" fmla="*/ 6858 w 13906"/>
                    <a:gd name="connsiteY20" fmla="*/ 2286 h 17525"/>
                    <a:gd name="connsiteX21" fmla="*/ 4096 w 13906"/>
                    <a:gd name="connsiteY21" fmla="*/ 2953 h 17525"/>
                    <a:gd name="connsiteX22" fmla="*/ 3239 w 13906"/>
                    <a:gd name="connsiteY22" fmla="*/ 4477 h 17525"/>
                    <a:gd name="connsiteX23" fmla="*/ 3619 w 13906"/>
                    <a:gd name="connsiteY23" fmla="*/ 5429 h 17525"/>
                    <a:gd name="connsiteX24" fmla="*/ 4667 w 13906"/>
                    <a:gd name="connsiteY24" fmla="*/ 6191 h 17525"/>
                    <a:gd name="connsiteX25" fmla="*/ 7144 w 13906"/>
                    <a:gd name="connsiteY25" fmla="*/ 6953 h 17525"/>
                    <a:gd name="connsiteX26" fmla="*/ 11335 w 13906"/>
                    <a:gd name="connsiteY26" fmla="*/ 8287 h 17525"/>
                    <a:gd name="connsiteX27" fmla="*/ 13240 w 13906"/>
                    <a:gd name="connsiteY27" fmla="*/ 9811 h 17525"/>
                    <a:gd name="connsiteX28" fmla="*/ 13906 w 13906"/>
                    <a:gd name="connsiteY28" fmla="*/ 12287 h 17525"/>
                    <a:gd name="connsiteX29" fmla="*/ 13049 w 13906"/>
                    <a:gd name="connsiteY29" fmla="*/ 14954 h 17525"/>
                    <a:gd name="connsiteX30" fmla="*/ 10668 w 13906"/>
                    <a:gd name="connsiteY30" fmla="*/ 16859 h 17525"/>
                    <a:gd name="connsiteX31" fmla="*/ 7144 w 13906"/>
                    <a:gd name="connsiteY31" fmla="*/ 17526 h 17525"/>
                    <a:gd name="connsiteX32" fmla="*/ 2096 w 13906"/>
                    <a:gd name="connsiteY32" fmla="*/ 16192 h 17525"/>
                    <a:gd name="connsiteX33" fmla="*/ 0 w 13906"/>
                    <a:gd name="connsiteY33" fmla="*/ 12382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3905" h="17525">
                      <a:moveTo>
                        <a:pt x="0" y="12382"/>
                      </a:moveTo>
                      <a:lnTo>
                        <a:pt x="2858" y="11906"/>
                      </a:lnTo>
                      <a:cubicBezTo>
                        <a:pt x="3048" y="13049"/>
                        <a:pt x="3429" y="13906"/>
                        <a:pt x="4191" y="14478"/>
                      </a:cubicBezTo>
                      <a:cubicBezTo>
                        <a:pt x="4953" y="15049"/>
                        <a:pt x="5906" y="15335"/>
                        <a:pt x="7239" y="15335"/>
                      </a:cubicBezTo>
                      <a:cubicBezTo>
                        <a:pt x="8573" y="15335"/>
                        <a:pt x="9525" y="15049"/>
                        <a:pt x="10192" y="14573"/>
                      </a:cubicBezTo>
                      <a:cubicBezTo>
                        <a:pt x="10858" y="14002"/>
                        <a:pt x="11144" y="13430"/>
                        <a:pt x="11144" y="12668"/>
                      </a:cubicBezTo>
                      <a:cubicBezTo>
                        <a:pt x="11144" y="12001"/>
                        <a:pt x="10858" y="11525"/>
                        <a:pt x="10287" y="11144"/>
                      </a:cubicBezTo>
                      <a:cubicBezTo>
                        <a:pt x="9906" y="10858"/>
                        <a:pt x="8954" y="10573"/>
                        <a:pt x="7334" y="10192"/>
                      </a:cubicBezTo>
                      <a:cubicBezTo>
                        <a:pt x="5239" y="9620"/>
                        <a:pt x="3810" y="9239"/>
                        <a:pt x="2953" y="8858"/>
                      </a:cubicBezTo>
                      <a:cubicBezTo>
                        <a:pt x="2191" y="8477"/>
                        <a:pt x="1524" y="7906"/>
                        <a:pt x="1143" y="7239"/>
                      </a:cubicBezTo>
                      <a:cubicBezTo>
                        <a:pt x="762" y="6572"/>
                        <a:pt x="476" y="5810"/>
                        <a:pt x="476" y="4953"/>
                      </a:cubicBezTo>
                      <a:cubicBezTo>
                        <a:pt x="476" y="4191"/>
                        <a:pt x="667" y="3524"/>
                        <a:pt x="952" y="2857"/>
                      </a:cubicBezTo>
                      <a:cubicBezTo>
                        <a:pt x="1333" y="2191"/>
                        <a:pt x="1810" y="1714"/>
                        <a:pt x="2381" y="1238"/>
                      </a:cubicBezTo>
                      <a:cubicBezTo>
                        <a:pt x="2858" y="953"/>
                        <a:pt x="3429" y="667"/>
                        <a:pt x="4191" y="381"/>
                      </a:cubicBezTo>
                      <a:cubicBezTo>
                        <a:pt x="4953" y="190"/>
                        <a:pt x="5810" y="0"/>
                        <a:pt x="6667" y="0"/>
                      </a:cubicBezTo>
                      <a:cubicBezTo>
                        <a:pt x="8001" y="0"/>
                        <a:pt x="9144" y="190"/>
                        <a:pt x="10192" y="571"/>
                      </a:cubicBezTo>
                      <a:cubicBezTo>
                        <a:pt x="11144" y="953"/>
                        <a:pt x="11906" y="1429"/>
                        <a:pt x="12383" y="2096"/>
                      </a:cubicBezTo>
                      <a:cubicBezTo>
                        <a:pt x="12859" y="2762"/>
                        <a:pt x="13144" y="3620"/>
                        <a:pt x="13335" y="4667"/>
                      </a:cubicBezTo>
                      <a:lnTo>
                        <a:pt x="10573" y="5048"/>
                      </a:lnTo>
                      <a:cubicBezTo>
                        <a:pt x="10477" y="4191"/>
                        <a:pt x="10096" y="3524"/>
                        <a:pt x="9430" y="3048"/>
                      </a:cubicBezTo>
                      <a:cubicBezTo>
                        <a:pt x="8858" y="2572"/>
                        <a:pt x="8001" y="2286"/>
                        <a:pt x="6858" y="2286"/>
                      </a:cubicBezTo>
                      <a:cubicBezTo>
                        <a:pt x="5525" y="2286"/>
                        <a:pt x="4572" y="2476"/>
                        <a:pt x="4096" y="2953"/>
                      </a:cubicBezTo>
                      <a:cubicBezTo>
                        <a:pt x="3524" y="3429"/>
                        <a:pt x="3239" y="3905"/>
                        <a:pt x="3239" y="4477"/>
                      </a:cubicBezTo>
                      <a:cubicBezTo>
                        <a:pt x="3239" y="4858"/>
                        <a:pt x="3334" y="5143"/>
                        <a:pt x="3619" y="5429"/>
                      </a:cubicBezTo>
                      <a:cubicBezTo>
                        <a:pt x="3810" y="5715"/>
                        <a:pt x="4191" y="6001"/>
                        <a:pt x="4667" y="6191"/>
                      </a:cubicBezTo>
                      <a:cubicBezTo>
                        <a:pt x="4953" y="6287"/>
                        <a:pt x="5810" y="6572"/>
                        <a:pt x="7144" y="6953"/>
                      </a:cubicBezTo>
                      <a:cubicBezTo>
                        <a:pt x="9144" y="7525"/>
                        <a:pt x="10573" y="7906"/>
                        <a:pt x="11335" y="8287"/>
                      </a:cubicBezTo>
                      <a:cubicBezTo>
                        <a:pt x="12097" y="8668"/>
                        <a:pt x="12764" y="9144"/>
                        <a:pt x="13240" y="9811"/>
                      </a:cubicBezTo>
                      <a:cubicBezTo>
                        <a:pt x="13716" y="10478"/>
                        <a:pt x="13906" y="11239"/>
                        <a:pt x="13906" y="12287"/>
                      </a:cubicBezTo>
                      <a:cubicBezTo>
                        <a:pt x="13906" y="13240"/>
                        <a:pt x="13621" y="14097"/>
                        <a:pt x="13049" y="14954"/>
                      </a:cubicBezTo>
                      <a:cubicBezTo>
                        <a:pt x="12478" y="15812"/>
                        <a:pt x="11716" y="16478"/>
                        <a:pt x="10668" y="16859"/>
                      </a:cubicBezTo>
                      <a:cubicBezTo>
                        <a:pt x="9620" y="17335"/>
                        <a:pt x="8477" y="17526"/>
                        <a:pt x="7144" y="17526"/>
                      </a:cubicBezTo>
                      <a:cubicBezTo>
                        <a:pt x="4953" y="17526"/>
                        <a:pt x="3334" y="17050"/>
                        <a:pt x="2096" y="16192"/>
                      </a:cubicBezTo>
                      <a:cubicBezTo>
                        <a:pt x="1048" y="15526"/>
                        <a:pt x="286" y="14192"/>
                        <a:pt x="0" y="12382"/>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2" name="Freeform 65">
                  <a:extLst>
                    <a:ext uri="{FF2B5EF4-FFF2-40B4-BE49-F238E27FC236}">
                      <a16:creationId xmlns:a16="http://schemas.microsoft.com/office/drawing/2014/main" id="{0EAC2836-9B46-221A-9E19-EAC04E12D633}"/>
                    </a:ext>
                  </a:extLst>
                </p:cNvPr>
                <p:cNvSpPr/>
                <p:nvPr/>
              </p:nvSpPr>
              <p:spPr>
                <a:xfrm>
                  <a:off x="373950" y="3961829"/>
                  <a:ext cx="15239" cy="15335"/>
                </a:xfrm>
                <a:custGeom>
                  <a:avLst/>
                  <a:gdLst>
                    <a:gd name="connsiteX0" fmla="*/ 6286 w 15239"/>
                    <a:gd name="connsiteY0" fmla="*/ 15335 h 15335"/>
                    <a:gd name="connsiteX1" fmla="*/ 6286 w 15239"/>
                    <a:gd name="connsiteY1" fmla="*/ 8954 h 15335"/>
                    <a:gd name="connsiteX2" fmla="*/ 0 w 15239"/>
                    <a:gd name="connsiteY2" fmla="*/ 8954 h 15335"/>
                    <a:gd name="connsiteX3" fmla="*/ 0 w 15239"/>
                    <a:gd name="connsiteY3" fmla="*/ 6287 h 15335"/>
                    <a:gd name="connsiteX4" fmla="*/ 6286 w 15239"/>
                    <a:gd name="connsiteY4" fmla="*/ 6287 h 15335"/>
                    <a:gd name="connsiteX5" fmla="*/ 6286 w 15239"/>
                    <a:gd name="connsiteY5" fmla="*/ 0 h 15335"/>
                    <a:gd name="connsiteX6" fmla="*/ 8954 w 15239"/>
                    <a:gd name="connsiteY6" fmla="*/ 0 h 15335"/>
                    <a:gd name="connsiteX7" fmla="*/ 8954 w 15239"/>
                    <a:gd name="connsiteY7" fmla="*/ 6287 h 15335"/>
                    <a:gd name="connsiteX8" fmla="*/ 15240 w 15239"/>
                    <a:gd name="connsiteY8" fmla="*/ 6287 h 15335"/>
                    <a:gd name="connsiteX9" fmla="*/ 15240 w 15239"/>
                    <a:gd name="connsiteY9" fmla="*/ 8954 h 15335"/>
                    <a:gd name="connsiteX10" fmla="*/ 8954 w 15239"/>
                    <a:gd name="connsiteY10" fmla="*/ 8954 h 15335"/>
                    <a:gd name="connsiteX11" fmla="*/ 8954 w 15239"/>
                    <a:gd name="connsiteY11" fmla="*/ 15335 h 15335"/>
                    <a:gd name="connsiteX12" fmla="*/ 6286 w 15239"/>
                    <a:gd name="connsiteY12" fmla="*/ 15335 h 15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39" h="15335">
                      <a:moveTo>
                        <a:pt x="6286" y="15335"/>
                      </a:moveTo>
                      <a:lnTo>
                        <a:pt x="6286" y="8954"/>
                      </a:lnTo>
                      <a:lnTo>
                        <a:pt x="0" y="8954"/>
                      </a:lnTo>
                      <a:lnTo>
                        <a:pt x="0" y="6287"/>
                      </a:lnTo>
                      <a:lnTo>
                        <a:pt x="6286" y="6287"/>
                      </a:lnTo>
                      <a:lnTo>
                        <a:pt x="6286" y="0"/>
                      </a:lnTo>
                      <a:lnTo>
                        <a:pt x="8954" y="0"/>
                      </a:lnTo>
                      <a:lnTo>
                        <a:pt x="8954" y="6287"/>
                      </a:lnTo>
                      <a:lnTo>
                        <a:pt x="15240" y="6287"/>
                      </a:lnTo>
                      <a:lnTo>
                        <a:pt x="15240" y="8954"/>
                      </a:lnTo>
                      <a:lnTo>
                        <a:pt x="8954" y="8954"/>
                      </a:lnTo>
                      <a:lnTo>
                        <a:pt x="8954" y="15335"/>
                      </a:lnTo>
                      <a:lnTo>
                        <a:pt x="6286" y="15335"/>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63" name="Freeform 66">
                  <a:extLst>
                    <a:ext uri="{FF2B5EF4-FFF2-40B4-BE49-F238E27FC236}">
                      <a16:creationId xmlns:a16="http://schemas.microsoft.com/office/drawing/2014/main" id="{D456A36D-CDBA-8B31-79A3-337CB6D69997}"/>
                    </a:ext>
                  </a:extLst>
                </p:cNvPr>
                <p:cNvSpPr/>
                <p:nvPr/>
              </p:nvSpPr>
              <p:spPr>
                <a:xfrm>
                  <a:off x="402621" y="3957638"/>
                  <a:ext cx="17716" cy="23241"/>
                </a:xfrm>
                <a:custGeom>
                  <a:avLst/>
                  <a:gdLst>
                    <a:gd name="connsiteX0" fmla="*/ 0 w 17716"/>
                    <a:gd name="connsiteY0" fmla="*/ 23241 h 23241"/>
                    <a:gd name="connsiteX1" fmla="*/ 0 w 17716"/>
                    <a:gd name="connsiteY1" fmla="*/ 0 h 23241"/>
                    <a:gd name="connsiteX2" fmla="*/ 8763 w 17716"/>
                    <a:gd name="connsiteY2" fmla="*/ 0 h 23241"/>
                    <a:gd name="connsiteX3" fmla="*/ 12287 w 17716"/>
                    <a:gd name="connsiteY3" fmla="*/ 191 h 23241"/>
                    <a:gd name="connsiteX4" fmla="*/ 15145 w 17716"/>
                    <a:gd name="connsiteY4" fmla="*/ 1238 h 23241"/>
                    <a:gd name="connsiteX5" fmla="*/ 17050 w 17716"/>
                    <a:gd name="connsiteY5" fmla="*/ 3524 h 23241"/>
                    <a:gd name="connsiteX6" fmla="*/ 17717 w 17716"/>
                    <a:gd name="connsiteY6" fmla="*/ 6668 h 23241"/>
                    <a:gd name="connsiteX7" fmla="*/ 15811 w 17716"/>
                    <a:gd name="connsiteY7" fmla="*/ 11716 h 23241"/>
                    <a:gd name="connsiteX8" fmla="*/ 8953 w 17716"/>
                    <a:gd name="connsiteY8" fmla="*/ 13811 h 23241"/>
                    <a:gd name="connsiteX9" fmla="*/ 2953 w 17716"/>
                    <a:gd name="connsiteY9" fmla="*/ 13811 h 23241"/>
                    <a:gd name="connsiteX10" fmla="*/ 2953 w 17716"/>
                    <a:gd name="connsiteY10" fmla="*/ 23241 h 23241"/>
                    <a:gd name="connsiteX11" fmla="*/ 0 w 17716"/>
                    <a:gd name="connsiteY11" fmla="*/ 23241 h 23241"/>
                    <a:gd name="connsiteX12" fmla="*/ 3048 w 17716"/>
                    <a:gd name="connsiteY12" fmla="*/ 11049 h 23241"/>
                    <a:gd name="connsiteX13" fmla="*/ 9049 w 17716"/>
                    <a:gd name="connsiteY13" fmla="*/ 11049 h 23241"/>
                    <a:gd name="connsiteX14" fmla="*/ 13240 w 17716"/>
                    <a:gd name="connsiteY14" fmla="*/ 9906 h 23241"/>
                    <a:gd name="connsiteX15" fmla="*/ 14478 w 17716"/>
                    <a:gd name="connsiteY15" fmla="*/ 6763 h 23241"/>
                    <a:gd name="connsiteX16" fmla="*/ 13716 w 17716"/>
                    <a:gd name="connsiteY16" fmla="*/ 4286 h 23241"/>
                    <a:gd name="connsiteX17" fmla="*/ 11811 w 17716"/>
                    <a:gd name="connsiteY17" fmla="*/ 2953 h 23241"/>
                    <a:gd name="connsiteX18" fmla="*/ 8953 w 17716"/>
                    <a:gd name="connsiteY18" fmla="*/ 2762 h 23241"/>
                    <a:gd name="connsiteX19" fmla="*/ 3048 w 17716"/>
                    <a:gd name="connsiteY19" fmla="*/ 2762 h 23241"/>
                    <a:gd name="connsiteX20" fmla="*/ 3048 w 17716"/>
                    <a:gd name="connsiteY20" fmla="*/ 11049 h 23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716" h="23241">
                      <a:moveTo>
                        <a:pt x="0" y="23241"/>
                      </a:moveTo>
                      <a:lnTo>
                        <a:pt x="0" y="0"/>
                      </a:lnTo>
                      <a:lnTo>
                        <a:pt x="8763" y="0"/>
                      </a:lnTo>
                      <a:cubicBezTo>
                        <a:pt x="10287" y="0"/>
                        <a:pt x="11525" y="95"/>
                        <a:pt x="12287" y="191"/>
                      </a:cubicBezTo>
                      <a:cubicBezTo>
                        <a:pt x="13430" y="381"/>
                        <a:pt x="14383" y="762"/>
                        <a:pt x="15145" y="1238"/>
                      </a:cubicBezTo>
                      <a:cubicBezTo>
                        <a:pt x="15907" y="1810"/>
                        <a:pt x="16573" y="2477"/>
                        <a:pt x="17050" y="3524"/>
                      </a:cubicBezTo>
                      <a:cubicBezTo>
                        <a:pt x="17526" y="4477"/>
                        <a:pt x="17717" y="5525"/>
                        <a:pt x="17717" y="6668"/>
                      </a:cubicBezTo>
                      <a:cubicBezTo>
                        <a:pt x="17717" y="8668"/>
                        <a:pt x="17050" y="10287"/>
                        <a:pt x="15811" y="11716"/>
                      </a:cubicBezTo>
                      <a:cubicBezTo>
                        <a:pt x="14573" y="13049"/>
                        <a:pt x="12287" y="13811"/>
                        <a:pt x="8953" y="13811"/>
                      </a:cubicBezTo>
                      <a:lnTo>
                        <a:pt x="2953" y="13811"/>
                      </a:lnTo>
                      <a:lnTo>
                        <a:pt x="2953" y="23241"/>
                      </a:lnTo>
                      <a:lnTo>
                        <a:pt x="0" y="23241"/>
                      </a:lnTo>
                      <a:close/>
                      <a:moveTo>
                        <a:pt x="3048" y="11049"/>
                      </a:moveTo>
                      <a:lnTo>
                        <a:pt x="9049" y="11049"/>
                      </a:lnTo>
                      <a:cubicBezTo>
                        <a:pt x="11049" y="11049"/>
                        <a:pt x="12478" y="10668"/>
                        <a:pt x="13240" y="9906"/>
                      </a:cubicBezTo>
                      <a:cubicBezTo>
                        <a:pt x="14097" y="9144"/>
                        <a:pt x="14478" y="8096"/>
                        <a:pt x="14478" y="6763"/>
                      </a:cubicBezTo>
                      <a:cubicBezTo>
                        <a:pt x="14478" y="5810"/>
                        <a:pt x="14192" y="4953"/>
                        <a:pt x="13716" y="4286"/>
                      </a:cubicBezTo>
                      <a:cubicBezTo>
                        <a:pt x="13240" y="3620"/>
                        <a:pt x="12573" y="3143"/>
                        <a:pt x="11811" y="2953"/>
                      </a:cubicBezTo>
                      <a:cubicBezTo>
                        <a:pt x="11335" y="2858"/>
                        <a:pt x="10382" y="2762"/>
                        <a:pt x="8953" y="2762"/>
                      </a:cubicBezTo>
                      <a:lnTo>
                        <a:pt x="3048" y="2762"/>
                      </a:lnTo>
                      <a:lnTo>
                        <a:pt x="3048" y="1104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2" name="Freeform 67">
                  <a:extLst>
                    <a:ext uri="{FF2B5EF4-FFF2-40B4-BE49-F238E27FC236}">
                      <a16:creationId xmlns:a16="http://schemas.microsoft.com/office/drawing/2014/main" id="{379C02D4-F516-2888-A421-90785C0F8250}"/>
                    </a:ext>
                  </a:extLst>
                </p:cNvPr>
                <p:cNvSpPr/>
                <p:nvPr/>
              </p:nvSpPr>
              <p:spPr>
                <a:xfrm>
                  <a:off x="423861"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3" name="Freeform 68">
                  <a:extLst>
                    <a:ext uri="{FF2B5EF4-FFF2-40B4-BE49-F238E27FC236}">
                      <a16:creationId xmlns:a16="http://schemas.microsoft.com/office/drawing/2014/main" id="{5063A3B2-CD3C-8398-3F8F-18B2404C3C8A}"/>
                    </a:ext>
                  </a:extLst>
                </p:cNvPr>
                <p:cNvSpPr/>
                <p:nvPr/>
              </p:nvSpPr>
              <p:spPr>
                <a:xfrm>
                  <a:off x="433672" y="3963638"/>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2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2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1 h 17621"/>
                    <a:gd name="connsiteX16" fmla="*/ 7906 w 15811"/>
                    <a:gd name="connsiteY16" fmla="*/ 2381 h 17621"/>
                    <a:gd name="connsiteX17" fmla="*/ 4382 w 15811"/>
                    <a:gd name="connsiteY17" fmla="*/ 4001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1" y="667"/>
                        <a:pt x="5810" y="0"/>
                        <a:pt x="7906" y="0"/>
                      </a:cubicBezTo>
                      <a:cubicBezTo>
                        <a:pt x="10192" y="0"/>
                        <a:pt x="12097" y="762"/>
                        <a:pt x="13621" y="2286"/>
                      </a:cubicBezTo>
                      <a:cubicBezTo>
                        <a:pt x="15050" y="3810"/>
                        <a:pt x="15812" y="5905"/>
                        <a:pt x="15812" y="8572"/>
                      </a:cubicBezTo>
                      <a:cubicBezTo>
                        <a:pt x="15812" y="10763"/>
                        <a:pt x="15526" y="12478"/>
                        <a:pt x="14859" y="13716"/>
                      </a:cubicBezTo>
                      <a:cubicBezTo>
                        <a:pt x="14192" y="14954"/>
                        <a:pt x="13240" y="15907"/>
                        <a:pt x="12002" y="16573"/>
                      </a:cubicBezTo>
                      <a:cubicBezTo>
                        <a:pt x="10763" y="17240"/>
                        <a:pt x="9430" y="17621"/>
                        <a:pt x="7906" y="17621"/>
                      </a:cubicBezTo>
                      <a:cubicBezTo>
                        <a:pt x="5525" y="17621"/>
                        <a:pt x="3620" y="16859"/>
                        <a:pt x="2191" y="15335"/>
                      </a:cubicBezTo>
                      <a:cubicBezTo>
                        <a:pt x="762" y="13906"/>
                        <a:pt x="0" y="11716"/>
                        <a:pt x="0" y="8858"/>
                      </a:cubicBezTo>
                      <a:close/>
                      <a:moveTo>
                        <a:pt x="2953" y="8858"/>
                      </a:moveTo>
                      <a:cubicBezTo>
                        <a:pt x="2953" y="11049"/>
                        <a:pt x="3429" y="12668"/>
                        <a:pt x="4382" y="13716"/>
                      </a:cubicBezTo>
                      <a:cubicBezTo>
                        <a:pt x="5334" y="14764"/>
                        <a:pt x="6477" y="15335"/>
                        <a:pt x="7906" y="15335"/>
                      </a:cubicBezTo>
                      <a:cubicBezTo>
                        <a:pt x="9335" y="15335"/>
                        <a:pt x="10478" y="14764"/>
                        <a:pt x="11430" y="13716"/>
                      </a:cubicBezTo>
                      <a:cubicBezTo>
                        <a:pt x="12383" y="12668"/>
                        <a:pt x="12859" y="10954"/>
                        <a:pt x="12859" y="8763"/>
                      </a:cubicBezTo>
                      <a:cubicBezTo>
                        <a:pt x="12859" y="6668"/>
                        <a:pt x="12383" y="5144"/>
                        <a:pt x="11430" y="4001"/>
                      </a:cubicBezTo>
                      <a:cubicBezTo>
                        <a:pt x="10478" y="2953"/>
                        <a:pt x="9335" y="2381"/>
                        <a:pt x="7906" y="2381"/>
                      </a:cubicBezTo>
                      <a:cubicBezTo>
                        <a:pt x="6477" y="2381"/>
                        <a:pt x="5334" y="2953"/>
                        <a:pt x="4382" y="4001"/>
                      </a:cubicBezTo>
                      <a:cubicBezTo>
                        <a:pt x="3429" y="5048"/>
                        <a:pt x="2953" y="6668"/>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4" name="Freeform 69">
                  <a:extLst>
                    <a:ext uri="{FF2B5EF4-FFF2-40B4-BE49-F238E27FC236}">
                      <a16:creationId xmlns:a16="http://schemas.microsoft.com/office/drawing/2014/main" id="{9E01CF2B-8337-7C0A-DCE1-DCB1D40FB32E}"/>
                    </a:ext>
                  </a:extLst>
                </p:cNvPr>
                <p:cNvSpPr/>
                <p:nvPr/>
              </p:nvSpPr>
              <p:spPr>
                <a:xfrm>
                  <a:off x="451579" y="3963734"/>
                  <a:ext cx="14954" cy="24098"/>
                </a:xfrm>
                <a:custGeom>
                  <a:avLst/>
                  <a:gdLst>
                    <a:gd name="connsiteX0" fmla="*/ 667 w 14954"/>
                    <a:gd name="connsiteY0" fmla="*/ 18574 h 24098"/>
                    <a:gd name="connsiteX1" fmla="*/ 3429 w 14954"/>
                    <a:gd name="connsiteY1" fmla="*/ 18955 h 24098"/>
                    <a:gd name="connsiteX2" fmla="*/ 4381 w 14954"/>
                    <a:gd name="connsiteY2" fmla="*/ 20860 h 24098"/>
                    <a:gd name="connsiteX3" fmla="*/ 7239 w 14954"/>
                    <a:gd name="connsiteY3" fmla="*/ 21622 h 24098"/>
                    <a:gd name="connsiteX4" fmla="*/ 10287 w 14954"/>
                    <a:gd name="connsiteY4" fmla="*/ 20860 h 24098"/>
                    <a:gd name="connsiteX5" fmla="*/ 11716 w 14954"/>
                    <a:gd name="connsiteY5" fmla="*/ 18669 h 24098"/>
                    <a:gd name="connsiteX6" fmla="*/ 11906 w 14954"/>
                    <a:gd name="connsiteY6" fmla="*/ 15049 h 24098"/>
                    <a:gd name="connsiteX7" fmla="*/ 7239 w 14954"/>
                    <a:gd name="connsiteY7" fmla="*/ 17240 h 24098"/>
                    <a:gd name="connsiteX8" fmla="*/ 1905 w 14954"/>
                    <a:gd name="connsiteY8" fmla="*/ 14764 h 24098"/>
                    <a:gd name="connsiteX9" fmla="*/ 0 w 14954"/>
                    <a:gd name="connsiteY9" fmla="*/ 8763 h 24098"/>
                    <a:gd name="connsiteX10" fmla="*/ 857 w 14954"/>
                    <a:gd name="connsiteY10" fmla="*/ 4286 h 24098"/>
                    <a:gd name="connsiteX11" fmla="*/ 3429 w 14954"/>
                    <a:gd name="connsiteY11" fmla="*/ 1143 h 24098"/>
                    <a:gd name="connsiteX12" fmla="*/ 7334 w 14954"/>
                    <a:gd name="connsiteY12" fmla="*/ 0 h 24098"/>
                    <a:gd name="connsiteX13" fmla="*/ 12287 w 14954"/>
                    <a:gd name="connsiteY13" fmla="*/ 2381 h 24098"/>
                    <a:gd name="connsiteX14" fmla="*/ 12287 w 14954"/>
                    <a:gd name="connsiteY14" fmla="*/ 381 h 24098"/>
                    <a:gd name="connsiteX15" fmla="*/ 14954 w 14954"/>
                    <a:gd name="connsiteY15" fmla="*/ 381 h 24098"/>
                    <a:gd name="connsiteX16" fmla="*/ 14954 w 14954"/>
                    <a:gd name="connsiteY16" fmla="*/ 14954 h 24098"/>
                    <a:gd name="connsiteX17" fmla="*/ 14192 w 14954"/>
                    <a:gd name="connsiteY17" fmla="*/ 20574 h 24098"/>
                    <a:gd name="connsiteX18" fmla="*/ 11621 w 14954"/>
                    <a:gd name="connsiteY18" fmla="*/ 23146 h 24098"/>
                    <a:gd name="connsiteX19" fmla="*/ 7334 w 14954"/>
                    <a:gd name="connsiteY19" fmla="*/ 24098 h 24098"/>
                    <a:gd name="connsiteX20" fmla="*/ 2476 w 14954"/>
                    <a:gd name="connsiteY20" fmla="*/ 22765 h 24098"/>
                    <a:gd name="connsiteX21" fmla="*/ 667 w 14954"/>
                    <a:gd name="connsiteY21" fmla="*/ 18574 h 24098"/>
                    <a:gd name="connsiteX22" fmla="*/ 3048 w 14954"/>
                    <a:gd name="connsiteY22" fmla="*/ 8477 h 24098"/>
                    <a:gd name="connsiteX23" fmla="*/ 4381 w 14954"/>
                    <a:gd name="connsiteY23" fmla="*/ 13335 h 24098"/>
                    <a:gd name="connsiteX24" fmla="*/ 7715 w 14954"/>
                    <a:gd name="connsiteY24" fmla="*/ 14859 h 24098"/>
                    <a:gd name="connsiteX25" fmla="*/ 11049 w 14954"/>
                    <a:gd name="connsiteY25" fmla="*/ 13335 h 24098"/>
                    <a:gd name="connsiteX26" fmla="*/ 12382 w 14954"/>
                    <a:gd name="connsiteY26" fmla="*/ 8572 h 24098"/>
                    <a:gd name="connsiteX27" fmla="*/ 11049 w 14954"/>
                    <a:gd name="connsiteY27" fmla="*/ 3905 h 24098"/>
                    <a:gd name="connsiteX28" fmla="*/ 7715 w 14954"/>
                    <a:gd name="connsiteY28" fmla="*/ 2381 h 24098"/>
                    <a:gd name="connsiteX29" fmla="*/ 4477 w 14954"/>
                    <a:gd name="connsiteY29" fmla="*/ 3905 h 24098"/>
                    <a:gd name="connsiteX30" fmla="*/ 3048 w 14954"/>
                    <a:gd name="connsiteY30" fmla="*/ 8477 h 24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4954" h="24098">
                      <a:moveTo>
                        <a:pt x="667" y="18574"/>
                      </a:moveTo>
                      <a:lnTo>
                        <a:pt x="3429" y="18955"/>
                      </a:lnTo>
                      <a:cubicBezTo>
                        <a:pt x="3524" y="19812"/>
                        <a:pt x="3905" y="20479"/>
                        <a:pt x="4381" y="20860"/>
                      </a:cubicBezTo>
                      <a:cubicBezTo>
                        <a:pt x="5048" y="21431"/>
                        <a:pt x="6096" y="21622"/>
                        <a:pt x="7239" y="21622"/>
                      </a:cubicBezTo>
                      <a:cubicBezTo>
                        <a:pt x="8573" y="21622"/>
                        <a:pt x="9620" y="21336"/>
                        <a:pt x="10287" y="20860"/>
                      </a:cubicBezTo>
                      <a:cubicBezTo>
                        <a:pt x="11049" y="20288"/>
                        <a:pt x="11525" y="19621"/>
                        <a:pt x="11716" y="18669"/>
                      </a:cubicBezTo>
                      <a:cubicBezTo>
                        <a:pt x="11906" y="18097"/>
                        <a:pt x="11906" y="16859"/>
                        <a:pt x="11906" y="15049"/>
                      </a:cubicBezTo>
                      <a:cubicBezTo>
                        <a:pt x="10668" y="16478"/>
                        <a:pt x="9144" y="17240"/>
                        <a:pt x="7239" y="17240"/>
                      </a:cubicBezTo>
                      <a:cubicBezTo>
                        <a:pt x="4953" y="17240"/>
                        <a:pt x="3143" y="16383"/>
                        <a:pt x="1905" y="14764"/>
                      </a:cubicBezTo>
                      <a:cubicBezTo>
                        <a:pt x="667" y="13049"/>
                        <a:pt x="0" y="11049"/>
                        <a:pt x="0" y="8763"/>
                      </a:cubicBezTo>
                      <a:cubicBezTo>
                        <a:pt x="0" y="7144"/>
                        <a:pt x="286" y="5715"/>
                        <a:pt x="857" y="4286"/>
                      </a:cubicBezTo>
                      <a:cubicBezTo>
                        <a:pt x="1429" y="2953"/>
                        <a:pt x="2286" y="1905"/>
                        <a:pt x="3429" y="1143"/>
                      </a:cubicBezTo>
                      <a:cubicBezTo>
                        <a:pt x="4572" y="381"/>
                        <a:pt x="5810" y="0"/>
                        <a:pt x="7334" y="0"/>
                      </a:cubicBezTo>
                      <a:cubicBezTo>
                        <a:pt x="9334" y="0"/>
                        <a:pt x="10954" y="762"/>
                        <a:pt x="12287" y="2381"/>
                      </a:cubicBezTo>
                      <a:lnTo>
                        <a:pt x="12287" y="381"/>
                      </a:lnTo>
                      <a:lnTo>
                        <a:pt x="14954" y="381"/>
                      </a:lnTo>
                      <a:lnTo>
                        <a:pt x="14954" y="14954"/>
                      </a:lnTo>
                      <a:cubicBezTo>
                        <a:pt x="14954" y="17621"/>
                        <a:pt x="14669" y="19431"/>
                        <a:pt x="14192" y="20574"/>
                      </a:cubicBezTo>
                      <a:cubicBezTo>
                        <a:pt x="13621" y="21622"/>
                        <a:pt x="12859" y="22574"/>
                        <a:pt x="11621" y="23146"/>
                      </a:cubicBezTo>
                      <a:cubicBezTo>
                        <a:pt x="10477" y="23813"/>
                        <a:pt x="9049" y="24098"/>
                        <a:pt x="7334" y="24098"/>
                      </a:cubicBezTo>
                      <a:cubicBezTo>
                        <a:pt x="5334" y="24098"/>
                        <a:pt x="3715" y="23622"/>
                        <a:pt x="2476" y="22765"/>
                      </a:cubicBezTo>
                      <a:cubicBezTo>
                        <a:pt x="1238" y="21717"/>
                        <a:pt x="667" y="20383"/>
                        <a:pt x="667" y="18574"/>
                      </a:cubicBezTo>
                      <a:close/>
                      <a:moveTo>
                        <a:pt x="3048" y="8477"/>
                      </a:moveTo>
                      <a:cubicBezTo>
                        <a:pt x="3048" y="10668"/>
                        <a:pt x="3524" y="12287"/>
                        <a:pt x="4381" y="13335"/>
                      </a:cubicBezTo>
                      <a:cubicBezTo>
                        <a:pt x="5239" y="14383"/>
                        <a:pt x="6382" y="14859"/>
                        <a:pt x="7715" y="14859"/>
                      </a:cubicBezTo>
                      <a:cubicBezTo>
                        <a:pt x="9049" y="14859"/>
                        <a:pt x="10096" y="14383"/>
                        <a:pt x="11049" y="13335"/>
                      </a:cubicBezTo>
                      <a:cubicBezTo>
                        <a:pt x="11906" y="12287"/>
                        <a:pt x="12382" y="10763"/>
                        <a:pt x="12382" y="8572"/>
                      </a:cubicBezTo>
                      <a:cubicBezTo>
                        <a:pt x="12382" y="6477"/>
                        <a:pt x="11906" y="4953"/>
                        <a:pt x="11049" y="3905"/>
                      </a:cubicBezTo>
                      <a:cubicBezTo>
                        <a:pt x="10096" y="2857"/>
                        <a:pt x="9049" y="2381"/>
                        <a:pt x="7715" y="2381"/>
                      </a:cubicBezTo>
                      <a:cubicBezTo>
                        <a:pt x="6477" y="2381"/>
                        <a:pt x="5334" y="2857"/>
                        <a:pt x="4477" y="3905"/>
                      </a:cubicBezTo>
                      <a:cubicBezTo>
                        <a:pt x="3524" y="4858"/>
                        <a:pt x="3048" y="6382"/>
                        <a:pt x="3048" y="8477"/>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5" name="Freeform 70">
                  <a:extLst>
                    <a:ext uri="{FF2B5EF4-FFF2-40B4-BE49-F238E27FC236}">
                      <a16:creationId xmlns:a16="http://schemas.microsoft.com/office/drawing/2014/main" id="{4C609415-33CD-6971-D943-2D8601380A60}"/>
                    </a:ext>
                  </a:extLst>
                </p:cNvPr>
                <p:cNvSpPr/>
                <p:nvPr/>
              </p:nvSpPr>
              <p:spPr>
                <a:xfrm>
                  <a:off x="470819" y="3963638"/>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8 w 9143"/>
                    <a:gd name="connsiteY11" fmla="*/ 8477 h 17335"/>
                    <a:gd name="connsiteX12" fmla="*/ 2858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9"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1"/>
                        <a:pt x="3524" y="4477"/>
                        <a:pt x="3334" y="5144"/>
                      </a:cubicBezTo>
                      <a:cubicBezTo>
                        <a:pt x="3048" y="6191"/>
                        <a:pt x="2858" y="7239"/>
                        <a:pt x="2858" y="8477"/>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6" name="Freeform 71">
                  <a:extLst>
                    <a:ext uri="{FF2B5EF4-FFF2-40B4-BE49-F238E27FC236}">
                      <a16:creationId xmlns:a16="http://schemas.microsoft.com/office/drawing/2014/main" id="{117B7CAF-7A2D-24E8-4783-E47A393CD858}"/>
                    </a:ext>
                  </a:extLst>
                </p:cNvPr>
                <p:cNvSpPr/>
                <p:nvPr/>
              </p:nvSpPr>
              <p:spPr>
                <a:xfrm>
                  <a:off x="480630" y="3963734"/>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8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20 h 17525"/>
                    <a:gd name="connsiteX22" fmla="*/ 14573 w 15525"/>
                    <a:gd name="connsiteY22" fmla="*/ 6287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811 w 15525"/>
                    <a:gd name="connsiteY28" fmla="*/ 8668 h 17525"/>
                    <a:gd name="connsiteX29" fmla="*/ 7144 w 15525"/>
                    <a:gd name="connsiteY29" fmla="*/ 9715 h 17525"/>
                    <a:gd name="connsiteX30" fmla="*/ 4667 w 15525"/>
                    <a:gd name="connsiteY30" fmla="*/ 10287 h 17525"/>
                    <a:gd name="connsiteX31" fmla="*/ 3524 w 15525"/>
                    <a:gd name="connsiteY31" fmla="*/ 11239 h 17525"/>
                    <a:gd name="connsiteX32" fmla="*/ 3143 w 15525"/>
                    <a:gd name="connsiteY32" fmla="*/ 12573 h 17525"/>
                    <a:gd name="connsiteX33" fmla="*/ 4001 w 15525"/>
                    <a:gd name="connsiteY33" fmla="*/ 14478 h 17525"/>
                    <a:gd name="connsiteX34" fmla="*/ 6572 w 15525"/>
                    <a:gd name="connsiteY34" fmla="*/ 15240 h 17525"/>
                    <a:gd name="connsiteX35" fmla="*/ 9525 w 15525"/>
                    <a:gd name="connsiteY35" fmla="*/ 14478 h 17525"/>
                    <a:gd name="connsiteX36" fmla="*/ 11430 w 15525"/>
                    <a:gd name="connsiteY36" fmla="*/ 12478 h 17525"/>
                    <a:gd name="connsiteX37" fmla="*/ 11906 w 15525"/>
                    <a:gd name="connsiteY37" fmla="*/ 9620 h 17525"/>
                    <a:gd name="connsiteX38" fmla="*/ 11906 w 15525"/>
                    <a:gd name="connsiteY38" fmla="*/ 8668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6"/>
                        <a:pt x="6953" y="17526"/>
                        <a:pt x="5810" y="17526"/>
                      </a:cubicBezTo>
                      <a:cubicBezTo>
                        <a:pt x="4001" y="17526"/>
                        <a:pt x="2572" y="17050"/>
                        <a:pt x="1524" y="16192"/>
                      </a:cubicBezTo>
                      <a:cubicBezTo>
                        <a:pt x="572" y="15335"/>
                        <a:pt x="0" y="14097"/>
                        <a:pt x="0" y="12763"/>
                      </a:cubicBezTo>
                      <a:cubicBezTo>
                        <a:pt x="0" y="11906"/>
                        <a:pt x="191" y="11144"/>
                        <a:pt x="572" y="10478"/>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3"/>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20"/>
                      </a:cubicBezTo>
                      <a:cubicBezTo>
                        <a:pt x="14573" y="4096"/>
                        <a:pt x="14573" y="4953"/>
                        <a:pt x="14573" y="6287"/>
                      </a:cubicBezTo>
                      <a:lnTo>
                        <a:pt x="14573" y="10096"/>
                      </a:lnTo>
                      <a:cubicBezTo>
                        <a:pt x="14573" y="12763"/>
                        <a:pt x="14669" y="14383"/>
                        <a:pt x="14764" y="15145"/>
                      </a:cubicBezTo>
                      <a:cubicBezTo>
                        <a:pt x="14859" y="15812"/>
                        <a:pt x="15145" y="16478"/>
                        <a:pt x="15526" y="17145"/>
                      </a:cubicBezTo>
                      <a:lnTo>
                        <a:pt x="12573" y="17145"/>
                      </a:lnTo>
                      <a:cubicBezTo>
                        <a:pt x="12287" y="16573"/>
                        <a:pt x="12097" y="15907"/>
                        <a:pt x="12002" y="15049"/>
                      </a:cubicBezTo>
                      <a:close/>
                      <a:moveTo>
                        <a:pt x="11811" y="8668"/>
                      </a:moveTo>
                      <a:cubicBezTo>
                        <a:pt x="10763" y="9049"/>
                        <a:pt x="9239" y="9430"/>
                        <a:pt x="7144" y="9715"/>
                      </a:cubicBezTo>
                      <a:cubicBezTo>
                        <a:pt x="6001" y="9906"/>
                        <a:pt x="5144" y="10096"/>
                        <a:pt x="4667" y="10287"/>
                      </a:cubicBezTo>
                      <a:cubicBezTo>
                        <a:pt x="4191" y="10478"/>
                        <a:pt x="3810" y="10763"/>
                        <a:pt x="3524" y="11239"/>
                      </a:cubicBezTo>
                      <a:cubicBezTo>
                        <a:pt x="3239" y="11621"/>
                        <a:pt x="3143" y="12097"/>
                        <a:pt x="3143" y="12573"/>
                      </a:cubicBezTo>
                      <a:cubicBezTo>
                        <a:pt x="3143" y="13335"/>
                        <a:pt x="3429" y="14002"/>
                        <a:pt x="4001" y="14478"/>
                      </a:cubicBezTo>
                      <a:cubicBezTo>
                        <a:pt x="4572" y="14954"/>
                        <a:pt x="5429" y="15240"/>
                        <a:pt x="6572" y="15240"/>
                      </a:cubicBezTo>
                      <a:cubicBezTo>
                        <a:pt x="7715" y="15240"/>
                        <a:pt x="8668" y="14954"/>
                        <a:pt x="9525" y="14478"/>
                      </a:cubicBezTo>
                      <a:cubicBezTo>
                        <a:pt x="10382" y="14002"/>
                        <a:pt x="11049" y="13335"/>
                        <a:pt x="11430" y="12478"/>
                      </a:cubicBezTo>
                      <a:cubicBezTo>
                        <a:pt x="11716" y="11811"/>
                        <a:pt x="11906" y="10858"/>
                        <a:pt x="11906" y="9620"/>
                      </a:cubicBezTo>
                      <a:lnTo>
                        <a:pt x="11906" y="8668"/>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7" name="Freeform 72">
                  <a:extLst>
                    <a:ext uri="{FF2B5EF4-FFF2-40B4-BE49-F238E27FC236}">
                      <a16:creationId xmlns:a16="http://schemas.microsoft.com/office/drawing/2014/main" id="{1C2E8F84-B600-4DAB-FD43-832B5A28275F}"/>
                    </a:ext>
                  </a:extLst>
                </p:cNvPr>
                <p:cNvSpPr/>
                <p:nvPr/>
              </p:nvSpPr>
              <p:spPr>
                <a:xfrm>
                  <a:off x="499775"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3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4 w 22764"/>
                    <a:gd name="connsiteY18" fmla="*/ 7429 h 17240"/>
                    <a:gd name="connsiteX19" fmla="*/ 12764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9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5" y="286"/>
                        <a:pt x="6572" y="0"/>
                        <a:pt x="7620" y="0"/>
                      </a:cubicBezTo>
                      <a:cubicBezTo>
                        <a:pt x="8858" y="0"/>
                        <a:pt x="9906" y="286"/>
                        <a:pt x="10668" y="762"/>
                      </a:cubicBezTo>
                      <a:cubicBezTo>
                        <a:pt x="11430" y="1238"/>
                        <a:pt x="12002" y="2000"/>
                        <a:pt x="12383" y="2953"/>
                      </a:cubicBezTo>
                      <a:cubicBezTo>
                        <a:pt x="13716" y="953"/>
                        <a:pt x="15431" y="0"/>
                        <a:pt x="17621" y="0"/>
                      </a:cubicBezTo>
                      <a:cubicBezTo>
                        <a:pt x="19336" y="0"/>
                        <a:pt x="20574" y="476"/>
                        <a:pt x="21431" y="1429"/>
                      </a:cubicBezTo>
                      <a:cubicBezTo>
                        <a:pt x="22289"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98" y="2667"/>
                        <a:pt x="17526" y="2477"/>
                        <a:pt x="16859" y="2477"/>
                      </a:cubicBezTo>
                      <a:cubicBezTo>
                        <a:pt x="15716" y="2477"/>
                        <a:pt x="14669" y="2857"/>
                        <a:pt x="13906" y="3620"/>
                      </a:cubicBezTo>
                      <a:cubicBezTo>
                        <a:pt x="13144" y="4381"/>
                        <a:pt x="12764" y="5715"/>
                        <a:pt x="12764" y="7429"/>
                      </a:cubicBezTo>
                      <a:lnTo>
                        <a:pt x="12764" y="17240"/>
                      </a:lnTo>
                      <a:lnTo>
                        <a:pt x="9906" y="17240"/>
                      </a:lnTo>
                      <a:lnTo>
                        <a:pt x="9906" y="6287"/>
                      </a:lnTo>
                      <a:cubicBezTo>
                        <a:pt x="9906" y="5048"/>
                        <a:pt x="9716" y="4096"/>
                        <a:pt x="9239" y="3429"/>
                      </a:cubicBezTo>
                      <a:cubicBezTo>
                        <a:pt x="8763" y="2762"/>
                        <a:pt x="8001" y="2477"/>
                        <a:pt x="6953" y="2477"/>
                      </a:cubicBezTo>
                      <a:cubicBezTo>
                        <a:pt x="6191" y="2477"/>
                        <a:pt x="5429" y="2667"/>
                        <a:pt x="4763" y="3143"/>
                      </a:cubicBezTo>
                      <a:cubicBezTo>
                        <a:pt x="4096" y="3620"/>
                        <a:pt x="3619" y="4191"/>
                        <a:pt x="3239"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8" name="Freeform 73">
                  <a:extLst>
                    <a:ext uri="{FF2B5EF4-FFF2-40B4-BE49-F238E27FC236}">
                      <a16:creationId xmlns:a16="http://schemas.microsoft.com/office/drawing/2014/main" id="{A1419C7C-2E50-2491-1371-B73864AAE498}"/>
                    </a:ext>
                  </a:extLst>
                </p:cNvPr>
                <p:cNvSpPr/>
                <p:nvPr/>
              </p:nvSpPr>
              <p:spPr>
                <a:xfrm>
                  <a:off x="526827" y="3963638"/>
                  <a:ext cx="22764" cy="17240"/>
                </a:xfrm>
                <a:custGeom>
                  <a:avLst/>
                  <a:gdLst>
                    <a:gd name="connsiteX0" fmla="*/ 0 w 22764"/>
                    <a:gd name="connsiteY0" fmla="*/ 17240 h 17240"/>
                    <a:gd name="connsiteX1" fmla="*/ 0 w 22764"/>
                    <a:gd name="connsiteY1" fmla="*/ 381 h 17240"/>
                    <a:gd name="connsiteX2" fmla="*/ 2572 w 22764"/>
                    <a:gd name="connsiteY2" fmla="*/ 381 h 17240"/>
                    <a:gd name="connsiteX3" fmla="*/ 2572 w 22764"/>
                    <a:gd name="connsiteY3" fmla="*/ 2762 h 17240"/>
                    <a:gd name="connsiteX4" fmla="*/ 4667 w 22764"/>
                    <a:gd name="connsiteY4" fmla="*/ 762 h 17240"/>
                    <a:gd name="connsiteX5" fmla="*/ 7620 w 22764"/>
                    <a:gd name="connsiteY5" fmla="*/ 0 h 17240"/>
                    <a:gd name="connsiteX6" fmla="*/ 10668 w 22764"/>
                    <a:gd name="connsiteY6" fmla="*/ 762 h 17240"/>
                    <a:gd name="connsiteX7" fmla="*/ 12382 w 22764"/>
                    <a:gd name="connsiteY7" fmla="*/ 2953 h 17240"/>
                    <a:gd name="connsiteX8" fmla="*/ 17621 w 22764"/>
                    <a:gd name="connsiteY8" fmla="*/ 0 h 17240"/>
                    <a:gd name="connsiteX9" fmla="*/ 21431 w 22764"/>
                    <a:gd name="connsiteY9" fmla="*/ 1429 h 17240"/>
                    <a:gd name="connsiteX10" fmla="*/ 22765 w 22764"/>
                    <a:gd name="connsiteY10" fmla="*/ 5715 h 17240"/>
                    <a:gd name="connsiteX11" fmla="*/ 22765 w 22764"/>
                    <a:gd name="connsiteY11" fmla="*/ 17240 h 17240"/>
                    <a:gd name="connsiteX12" fmla="*/ 19907 w 22764"/>
                    <a:gd name="connsiteY12" fmla="*/ 17240 h 17240"/>
                    <a:gd name="connsiteX13" fmla="*/ 19907 w 22764"/>
                    <a:gd name="connsiteY13" fmla="*/ 6668 h 17240"/>
                    <a:gd name="connsiteX14" fmla="*/ 19621 w 22764"/>
                    <a:gd name="connsiteY14" fmla="*/ 4191 h 17240"/>
                    <a:gd name="connsiteX15" fmla="*/ 18574 w 22764"/>
                    <a:gd name="connsiteY15" fmla="*/ 2953 h 17240"/>
                    <a:gd name="connsiteX16" fmla="*/ 16859 w 22764"/>
                    <a:gd name="connsiteY16" fmla="*/ 2477 h 17240"/>
                    <a:gd name="connsiteX17" fmla="*/ 13906 w 22764"/>
                    <a:gd name="connsiteY17" fmla="*/ 3620 h 17240"/>
                    <a:gd name="connsiteX18" fmla="*/ 12763 w 22764"/>
                    <a:gd name="connsiteY18" fmla="*/ 7429 h 17240"/>
                    <a:gd name="connsiteX19" fmla="*/ 12763 w 22764"/>
                    <a:gd name="connsiteY19" fmla="*/ 17240 h 17240"/>
                    <a:gd name="connsiteX20" fmla="*/ 9906 w 22764"/>
                    <a:gd name="connsiteY20" fmla="*/ 17240 h 17240"/>
                    <a:gd name="connsiteX21" fmla="*/ 9906 w 22764"/>
                    <a:gd name="connsiteY21" fmla="*/ 6287 h 17240"/>
                    <a:gd name="connsiteX22" fmla="*/ 9239 w 22764"/>
                    <a:gd name="connsiteY22" fmla="*/ 3429 h 17240"/>
                    <a:gd name="connsiteX23" fmla="*/ 6953 w 22764"/>
                    <a:gd name="connsiteY23" fmla="*/ 2477 h 17240"/>
                    <a:gd name="connsiteX24" fmla="*/ 4763 w 22764"/>
                    <a:gd name="connsiteY24" fmla="*/ 3143 h 17240"/>
                    <a:gd name="connsiteX25" fmla="*/ 3238 w 22764"/>
                    <a:gd name="connsiteY25" fmla="*/ 4953 h 17240"/>
                    <a:gd name="connsiteX26" fmla="*/ 2762 w 22764"/>
                    <a:gd name="connsiteY26" fmla="*/ 8477 h 17240"/>
                    <a:gd name="connsiteX27" fmla="*/ 2762 w 22764"/>
                    <a:gd name="connsiteY27" fmla="*/ 17240 h 17240"/>
                    <a:gd name="connsiteX28" fmla="*/ 0 w 22764"/>
                    <a:gd name="connsiteY28" fmla="*/ 17240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764" h="17240">
                      <a:moveTo>
                        <a:pt x="0" y="17240"/>
                      </a:moveTo>
                      <a:lnTo>
                        <a:pt x="0" y="381"/>
                      </a:lnTo>
                      <a:lnTo>
                        <a:pt x="2572" y="381"/>
                      </a:lnTo>
                      <a:lnTo>
                        <a:pt x="2572" y="2762"/>
                      </a:lnTo>
                      <a:cubicBezTo>
                        <a:pt x="3143" y="1905"/>
                        <a:pt x="3810" y="1238"/>
                        <a:pt x="4667" y="762"/>
                      </a:cubicBezTo>
                      <a:cubicBezTo>
                        <a:pt x="5524" y="286"/>
                        <a:pt x="6572" y="0"/>
                        <a:pt x="7620" y="0"/>
                      </a:cubicBezTo>
                      <a:cubicBezTo>
                        <a:pt x="8858" y="0"/>
                        <a:pt x="9906" y="286"/>
                        <a:pt x="10668" y="762"/>
                      </a:cubicBezTo>
                      <a:cubicBezTo>
                        <a:pt x="11430" y="1238"/>
                        <a:pt x="12001" y="2000"/>
                        <a:pt x="12382" y="2953"/>
                      </a:cubicBezTo>
                      <a:cubicBezTo>
                        <a:pt x="13716" y="953"/>
                        <a:pt x="15430" y="0"/>
                        <a:pt x="17621" y="0"/>
                      </a:cubicBezTo>
                      <a:cubicBezTo>
                        <a:pt x="19336" y="0"/>
                        <a:pt x="20574" y="476"/>
                        <a:pt x="21431" y="1429"/>
                      </a:cubicBezTo>
                      <a:cubicBezTo>
                        <a:pt x="22288" y="2381"/>
                        <a:pt x="22765" y="3810"/>
                        <a:pt x="22765" y="5715"/>
                      </a:cubicBezTo>
                      <a:lnTo>
                        <a:pt x="22765" y="17240"/>
                      </a:lnTo>
                      <a:lnTo>
                        <a:pt x="19907" y="17240"/>
                      </a:lnTo>
                      <a:lnTo>
                        <a:pt x="19907" y="6668"/>
                      </a:lnTo>
                      <a:cubicBezTo>
                        <a:pt x="19907" y="5525"/>
                        <a:pt x="19812" y="4667"/>
                        <a:pt x="19621" y="4191"/>
                      </a:cubicBezTo>
                      <a:cubicBezTo>
                        <a:pt x="19431" y="3715"/>
                        <a:pt x="19145" y="3238"/>
                        <a:pt x="18574" y="2953"/>
                      </a:cubicBezTo>
                      <a:cubicBezTo>
                        <a:pt x="18002" y="2667"/>
                        <a:pt x="17526" y="2477"/>
                        <a:pt x="16859" y="2477"/>
                      </a:cubicBezTo>
                      <a:cubicBezTo>
                        <a:pt x="15716" y="2477"/>
                        <a:pt x="14668" y="2857"/>
                        <a:pt x="13906" y="3620"/>
                      </a:cubicBezTo>
                      <a:cubicBezTo>
                        <a:pt x="13144" y="4381"/>
                        <a:pt x="12763" y="5715"/>
                        <a:pt x="12763" y="7429"/>
                      </a:cubicBezTo>
                      <a:lnTo>
                        <a:pt x="12763" y="17240"/>
                      </a:lnTo>
                      <a:lnTo>
                        <a:pt x="9906" y="17240"/>
                      </a:lnTo>
                      <a:lnTo>
                        <a:pt x="9906" y="6287"/>
                      </a:lnTo>
                      <a:cubicBezTo>
                        <a:pt x="9906" y="5048"/>
                        <a:pt x="9715" y="4096"/>
                        <a:pt x="9239" y="3429"/>
                      </a:cubicBezTo>
                      <a:cubicBezTo>
                        <a:pt x="8763" y="2762"/>
                        <a:pt x="8001" y="2477"/>
                        <a:pt x="6953" y="2477"/>
                      </a:cubicBezTo>
                      <a:cubicBezTo>
                        <a:pt x="6191" y="2477"/>
                        <a:pt x="5429" y="2667"/>
                        <a:pt x="4763" y="3143"/>
                      </a:cubicBezTo>
                      <a:cubicBezTo>
                        <a:pt x="4096" y="3524"/>
                        <a:pt x="3619" y="4191"/>
                        <a:pt x="3238" y="4953"/>
                      </a:cubicBezTo>
                      <a:cubicBezTo>
                        <a:pt x="2953" y="5810"/>
                        <a:pt x="2762" y="6953"/>
                        <a:pt x="2762" y="8477"/>
                      </a:cubicBezTo>
                      <a:lnTo>
                        <a:pt x="2762" y="17240"/>
                      </a:lnTo>
                      <a:lnTo>
                        <a:pt x="0" y="1724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2119" name="Freeform 74">
                  <a:extLst>
                    <a:ext uri="{FF2B5EF4-FFF2-40B4-BE49-F238E27FC236}">
                      <a16:creationId xmlns:a16="http://schemas.microsoft.com/office/drawing/2014/main" id="{0420273D-257F-2C75-2062-520759F03A4D}"/>
                    </a:ext>
                  </a:extLst>
                </p:cNvPr>
                <p:cNvSpPr/>
                <p:nvPr/>
              </p:nvSpPr>
              <p:spPr>
                <a:xfrm>
                  <a:off x="552830" y="3963638"/>
                  <a:ext cx="15525" cy="17621"/>
                </a:xfrm>
                <a:custGeom>
                  <a:avLst/>
                  <a:gdLst>
                    <a:gd name="connsiteX0" fmla="*/ 12573 w 15525"/>
                    <a:gd name="connsiteY0" fmla="*/ 11811 h 17621"/>
                    <a:gd name="connsiteX1" fmla="*/ 15526 w 15525"/>
                    <a:gd name="connsiteY1" fmla="*/ 12192 h 17621"/>
                    <a:gd name="connsiteX2" fmla="*/ 12954 w 15525"/>
                    <a:gd name="connsiteY2" fmla="*/ 16193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3"/>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19" y="12763"/>
                        <a:pt x="4477" y="13811"/>
                      </a:cubicBezTo>
                      <a:cubicBezTo>
                        <a:pt x="5429" y="14764"/>
                        <a:pt x="6572" y="15240"/>
                        <a:pt x="8001" y="15240"/>
                      </a:cubicBezTo>
                      <a:cubicBezTo>
                        <a:pt x="9049" y="15240"/>
                        <a:pt x="9906" y="14954"/>
                        <a:pt x="10668"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8" y="2477"/>
                        <a:pt x="5620" y="2953"/>
                        <a:pt x="4667" y="3810"/>
                      </a:cubicBezTo>
                      <a:cubicBezTo>
                        <a:pt x="3810" y="4572"/>
                        <a:pt x="3239"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nvGrpSpPr>
              <p:cNvPr id="36" name="Graphic 6">
                <a:extLst>
                  <a:ext uri="{FF2B5EF4-FFF2-40B4-BE49-F238E27FC236}">
                    <a16:creationId xmlns:a16="http://schemas.microsoft.com/office/drawing/2014/main" id="{82CF6448-3502-955E-7106-C943E1BA7008}"/>
                  </a:ext>
                </a:extLst>
              </p:cNvPr>
              <p:cNvGrpSpPr/>
              <p:nvPr/>
            </p:nvGrpSpPr>
            <p:grpSpPr>
              <a:xfrm>
                <a:off x="245077" y="3993642"/>
                <a:ext cx="321658" cy="30194"/>
                <a:chOff x="245077" y="3993642"/>
                <a:chExt cx="321658" cy="30194"/>
              </a:xfrm>
              <a:solidFill>
                <a:srgbClr val="23509E"/>
              </a:solidFill>
            </p:grpSpPr>
            <p:sp>
              <p:nvSpPr>
                <p:cNvPr id="37" name="Freeform 76">
                  <a:extLst>
                    <a:ext uri="{FF2B5EF4-FFF2-40B4-BE49-F238E27FC236}">
                      <a16:creationId xmlns:a16="http://schemas.microsoft.com/office/drawing/2014/main" id="{65787380-2D9E-BD26-3690-592B65F6425C}"/>
                    </a:ext>
                  </a:extLst>
                </p:cNvPr>
                <p:cNvSpPr/>
                <p:nvPr/>
              </p:nvSpPr>
              <p:spPr>
                <a:xfrm>
                  <a:off x="24507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857 w 15811"/>
                    <a:gd name="connsiteY10" fmla="*/ 8858 h 17621"/>
                    <a:gd name="connsiteX11" fmla="*/ 4286 w 15811"/>
                    <a:gd name="connsiteY11" fmla="*/ 13716 h 17621"/>
                    <a:gd name="connsiteX12" fmla="*/ 7810 w 15811"/>
                    <a:gd name="connsiteY12" fmla="*/ 15335 h 17621"/>
                    <a:gd name="connsiteX13" fmla="*/ 11335 w 15811"/>
                    <a:gd name="connsiteY13" fmla="*/ 13716 h 17621"/>
                    <a:gd name="connsiteX14" fmla="*/ 12763 w 15811"/>
                    <a:gd name="connsiteY14" fmla="*/ 8763 h 17621"/>
                    <a:gd name="connsiteX15" fmla="*/ 11335 w 15811"/>
                    <a:gd name="connsiteY15" fmla="*/ 4000 h 17621"/>
                    <a:gd name="connsiteX16" fmla="*/ 7810 w 15811"/>
                    <a:gd name="connsiteY16" fmla="*/ 2381 h 17621"/>
                    <a:gd name="connsiteX17" fmla="*/ 4286 w 15811"/>
                    <a:gd name="connsiteY17" fmla="*/ 4000 h 17621"/>
                    <a:gd name="connsiteX18" fmla="*/ 2857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667" y="13811"/>
                        <a:pt x="0" y="11716"/>
                        <a:pt x="0" y="8858"/>
                      </a:cubicBezTo>
                      <a:close/>
                      <a:moveTo>
                        <a:pt x="2857" y="8858"/>
                      </a:moveTo>
                      <a:cubicBezTo>
                        <a:pt x="2857" y="11049"/>
                        <a:pt x="3334" y="12668"/>
                        <a:pt x="4286" y="13716"/>
                      </a:cubicBezTo>
                      <a:cubicBezTo>
                        <a:pt x="5239" y="14764"/>
                        <a:pt x="6382" y="15335"/>
                        <a:pt x="7810" y="15335"/>
                      </a:cubicBezTo>
                      <a:cubicBezTo>
                        <a:pt x="9239" y="15335"/>
                        <a:pt x="10382" y="14764"/>
                        <a:pt x="11335" y="13716"/>
                      </a:cubicBezTo>
                      <a:cubicBezTo>
                        <a:pt x="12287" y="12668"/>
                        <a:pt x="12763" y="10954"/>
                        <a:pt x="12763" y="8763"/>
                      </a:cubicBezTo>
                      <a:cubicBezTo>
                        <a:pt x="12763" y="6667"/>
                        <a:pt x="12287" y="5144"/>
                        <a:pt x="11335" y="4000"/>
                      </a:cubicBezTo>
                      <a:cubicBezTo>
                        <a:pt x="10382" y="2953"/>
                        <a:pt x="9239" y="2381"/>
                        <a:pt x="7810" y="2381"/>
                      </a:cubicBezTo>
                      <a:cubicBezTo>
                        <a:pt x="6382" y="2381"/>
                        <a:pt x="5239" y="2953"/>
                        <a:pt x="4286" y="4000"/>
                      </a:cubicBezTo>
                      <a:cubicBezTo>
                        <a:pt x="3334" y="5048"/>
                        <a:pt x="2857" y="6667"/>
                        <a:pt x="2857"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8" name="Freeform 77">
                  <a:extLst>
                    <a:ext uri="{FF2B5EF4-FFF2-40B4-BE49-F238E27FC236}">
                      <a16:creationId xmlns:a16="http://schemas.microsoft.com/office/drawing/2014/main" id="{09F7B3C2-49EC-C0E8-173E-7D10468F63C7}"/>
                    </a:ext>
                  </a:extLst>
                </p:cNvPr>
                <p:cNvSpPr/>
                <p:nvPr/>
              </p:nvSpPr>
              <p:spPr>
                <a:xfrm>
                  <a:off x="262413" y="3993642"/>
                  <a:ext cx="9810" cy="23622"/>
                </a:xfrm>
                <a:custGeom>
                  <a:avLst/>
                  <a:gdLst>
                    <a:gd name="connsiteX0" fmla="*/ 2477 w 9810"/>
                    <a:gd name="connsiteY0" fmla="*/ 23622 h 23622"/>
                    <a:gd name="connsiteX1" fmla="*/ 2477 w 9810"/>
                    <a:gd name="connsiteY1" fmla="*/ 8954 h 23622"/>
                    <a:gd name="connsiteX2" fmla="*/ 0 w 9810"/>
                    <a:gd name="connsiteY2" fmla="*/ 8954 h 23622"/>
                    <a:gd name="connsiteX3" fmla="*/ 0 w 9810"/>
                    <a:gd name="connsiteY3" fmla="*/ 6763 h 23622"/>
                    <a:gd name="connsiteX4" fmla="*/ 2477 w 9810"/>
                    <a:gd name="connsiteY4" fmla="*/ 6763 h 23622"/>
                    <a:gd name="connsiteX5" fmla="*/ 2477 w 9810"/>
                    <a:gd name="connsiteY5" fmla="*/ 4953 h 23622"/>
                    <a:gd name="connsiteX6" fmla="*/ 2762 w 9810"/>
                    <a:gd name="connsiteY6" fmla="*/ 2477 h 23622"/>
                    <a:gd name="connsiteX7" fmla="*/ 4191 w 9810"/>
                    <a:gd name="connsiteY7" fmla="*/ 667 h 23622"/>
                    <a:gd name="connsiteX8" fmla="*/ 7144 w 9810"/>
                    <a:gd name="connsiteY8" fmla="*/ 0 h 23622"/>
                    <a:gd name="connsiteX9" fmla="*/ 9811 w 9810"/>
                    <a:gd name="connsiteY9" fmla="*/ 286 h 23622"/>
                    <a:gd name="connsiteX10" fmla="*/ 9334 w 9810"/>
                    <a:gd name="connsiteY10" fmla="*/ 2762 h 23622"/>
                    <a:gd name="connsiteX11" fmla="*/ 7620 w 9810"/>
                    <a:gd name="connsiteY11" fmla="*/ 2572 h 23622"/>
                    <a:gd name="connsiteX12" fmla="*/ 5810 w 9810"/>
                    <a:gd name="connsiteY12" fmla="*/ 3143 h 23622"/>
                    <a:gd name="connsiteX13" fmla="*/ 5239 w 9810"/>
                    <a:gd name="connsiteY13" fmla="*/ 5239 h 23622"/>
                    <a:gd name="connsiteX14" fmla="*/ 5239 w 9810"/>
                    <a:gd name="connsiteY14" fmla="*/ 6763 h 23622"/>
                    <a:gd name="connsiteX15" fmla="*/ 8477 w 9810"/>
                    <a:gd name="connsiteY15" fmla="*/ 6763 h 23622"/>
                    <a:gd name="connsiteX16" fmla="*/ 8477 w 9810"/>
                    <a:gd name="connsiteY16" fmla="*/ 8954 h 23622"/>
                    <a:gd name="connsiteX17" fmla="*/ 5239 w 9810"/>
                    <a:gd name="connsiteY17" fmla="*/ 8954 h 23622"/>
                    <a:gd name="connsiteX18" fmla="*/ 5239 w 9810"/>
                    <a:gd name="connsiteY18" fmla="*/ 23622 h 23622"/>
                    <a:gd name="connsiteX19" fmla="*/ 2477 w 9810"/>
                    <a:gd name="connsiteY19" fmla="*/ 23622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10" h="23622">
                      <a:moveTo>
                        <a:pt x="2477" y="23622"/>
                      </a:moveTo>
                      <a:lnTo>
                        <a:pt x="2477" y="8954"/>
                      </a:lnTo>
                      <a:lnTo>
                        <a:pt x="0" y="8954"/>
                      </a:lnTo>
                      <a:lnTo>
                        <a:pt x="0" y="6763"/>
                      </a:lnTo>
                      <a:lnTo>
                        <a:pt x="2477" y="6763"/>
                      </a:lnTo>
                      <a:lnTo>
                        <a:pt x="2477" y="4953"/>
                      </a:lnTo>
                      <a:cubicBezTo>
                        <a:pt x="2477" y="3810"/>
                        <a:pt x="2572" y="2953"/>
                        <a:pt x="2762" y="2477"/>
                      </a:cubicBezTo>
                      <a:cubicBezTo>
                        <a:pt x="3048" y="1715"/>
                        <a:pt x="3524" y="1143"/>
                        <a:pt x="4191" y="667"/>
                      </a:cubicBezTo>
                      <a:cubicBezTo>
                        <a:pt x="4858" y="191"/>
                        <a:pt x="5810" y="0"/>
                        <a:pt x="7144" y="0"/>
                      </a:cubicBezTo>
                      <a:cubicBezTo>
                        <a:pt x="7906" y="0"/>
                        <a:pt x="8858" y="95"/>
                        <a:pt x="9811" y="286"/>
                      </a:cubicBezTo>
                      <a:lnTo>
                        <a:pt x="9334" y="2762"/>
                      </a:lnTo>
                      <a:cubicBezTo>
                        <a:pt x="8763" y="2667"/>
                        <a:pt x="8192" y="2572"/>
                        <a:pt x="7620" y="2572"/>
                      </a:cubicBezTo>
                      <a:cubicBezTo>
                        <a:pt x="6763" y="2572"/>
                        <a:pt x="6096" y="2762"/>
                        <a:pt x="5810" y="3143"/>
                      </a:cubicBezTo>
                      <a:cubicBezTo>
                        <a:pt x="5429" y="3524"/>
                        <a:pt x="5239" y="4191"/>
                        <a:pt x="5239" y="5239"/>
                      </a:cubicBezTo>
                      <a:lnTo>
                        <a:pt x="5239" y="6763"/>
                      </a:lnTo>
                      <a:lnTo>
                        <a:pt x="8477" y="6763"/>
                      </a:lnTo>
                      <a:lnTo>
                        <a:pt x="8477" y="8954"/>
                      </a:lnTo>
                      <a:lnTo>
                        <a:pt x="5239" y="8954"/>
                      </a:lnTo>
                      <a:lnTo>
                        <a:pt x="5239" y="23622"/>
                      </a:lnTo>
                      <a:lnTo>
                        <a:pt x="2477" y="23622"/>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39" name="Freeform 78">
                  <a:extLst>
                    <a:ext uri="{FF2B5EF4-FFF2-40B4-BE49-F238E27FC236}">
                      <a16:creationId xmlns:a16="http://schemas.microsoft.com/office/drawing/2014/main" id="{345CA472-C970-3AE8-D9C2-E329DEE862EB}"/>
                    </a:ext>
                  </a:extLst>
                </p:cNvPr>
                <p:cNvSpPr/>
                <p:nvPr/>
              </p:nvSpPr>
              <p:spPr>
                <a:xfrm>
                  <a:off x="280510" y="3994499"/>
                  <a:ext cx="8286" cy="22955"/>
                </a:xfrm>
                <a:custGeom>
                  <a:avLst/>
                  <a:gdLst>
                    <a:gd name="connsiteX0" fmla="*/ 7906 w 8286"/>
                    <a:gd name="connsiteY0" fmla="*/ 20193 h 22955"/>
                    <a:gd name="connsiteX1" fmla="*/ 8287 w 8286"/>
                    <a:gd name="connsiteY1" fmla="*/ 22670 h 22955"/>
                    <a:gd name="connsiteX2" fmla="*/ 6096 w 8286"/>
                    <a:gd name="connsiteY2" fmla="*/ 22955 h 22955"/>
                    <a:gd name="connsiteX3" fmla="*/ 3715 w 8286"/>
                    <a:gd name="connsiteY3" fmla="*/ 22479 h 22955"/>
                    <a:gd name="connsiteX4" fmla="*/ 2476 w 8286"/>
                    <a:gd name="connsiteY4" fmla="*/ 21146 h 22955"/>
                    <a:gd name="connsiteX5" fmla="*/ 2095 w 8286"/>
                    <a:gd name="connsiteY5" fmla="*/ 17812 h 22955"/>
                    <a:gd name="connsiteX6" fmla="*/ 2095 w 8286"/>
                    <a:gd name="connsiteY6" fmla="*/ 8096 h 22955"/>
                    <a:gd name="connsiteX7" fmla="*/ 0 w 8286"/>
                    <a:gd name="connsiteY7" fmla="*/ 8096 h 22955"/>
                    <a:gd name="connsiteX8" fmla="*/ 0 w 8286"/>
                    <a:gd name="connsiteY8" fmla="*/ 5906 h 22955"/>
                    <a:gd name="connsiteX9" fmla="*/ 2095 w 8286"/>
                    <a:gd name="connsiteY9" fmla="*/ 5906 h 22955"/>
                    <a:gd name="connsiteX10" fmla="*/ 2095 w 8286"/>
                    <a:gd name="connsiteY10" fmla="*/ 1715 h 22955"/>
                    <a:gd name="connsiteX11" fmla="*/ 4953 w 8286"/>
                    <a:gd name="connsiteY11" fmla="*/ 0 h 22955"/>
                    <a:gd name="connsiteX12" fmla="*/ 4953 w 8286"/>
                    <a:gd name="connsiteY12" fmla="*/ 5906 h 22955"/>
                    <a:gd name="connsiteX13" fmla="*/ 7810 w 8286"/>
                    <a:gd name="connsiteY13" fmla="*/ 5906 h 22955"/>
                    <a:gd name="connsiteX14" fmla="*/ 7810 w 8286"/>
                    <a:gd name="connsiteY14" fmla="*/ 8096 h 22955"/>
                    <a:gd name="connsiteX15" fmla="*/ 4953 w 8286"/>
                    <a:gd name="connsiteY15" fmla="*/ 8096 h 22955"/>
                    <a:gd name="connsiteX16" fmla="*/ 4953 w 8286"/>
                    <a:gd name="connsiteY16" fmla="*/ 17907 h 22955"/>
                    <a:gd name="connsiteX17" fmla="*/ 5144 w 8286"/>
                    <a:gd name="connsiteY17" fmla="*/ 19431 h 22955"/>
                    <a:gd name="connsiteX18" fmla="*/ 5620 w 8286"/>
                    <a:gd name="connsiteY18" fmla="*/ 20003 h 22955"/>
                    <a:gd name="connsiteX19" fmla="*/ 6572 w 8286"/>
                    <a:gd name="connsiteY19" fmla="*/ 20193 h 22955"/>
                    <a:gd name="connsiteX20" fmla="*/ 7906 w 8286"/>
                    <a:gd name="connsiteY20" fmla="*/ 20193 h 2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286" h="22955">
                      <a:moveTo>
                        <a:pt x="7906" y="20193"/>
                      </a:moveTo>
                      <a:lnTo>
                        <a:pt x="8287" y="22670"/>
                      </a:lnTo>
                      <a:cubicBezTo>
                        <a:pt x="7525" y="22860"/>
                        <a:pt x="6763" y="22955"/>
                        <a:pt x="6096" y="22955"/>
                      </a:cubicBezTo>
                      <a:cubicBezTo>
                        <a:pt x="5048" y="22955"/>
                        <a:pt x="4286" y="22765"/>
                        <a:pt x="3715" y="22479"/>
                      </a:cubicBezTo>
                      <a:cubicBezTo>
                        <a:pt x="3143" y="22193"/>
                        <a:pt x="2762" y="21717"/>
                        <a:pt x="2476" y="21146"/>
                      </a:cubicBezTo>
                      <a:cubicBezTo>
                        <a:pt x="2286" y="20574"/>
                        <a:pt x="2095" y="19526"/>
                        <a:pt x="2095" y="17812"/>
                      </a:cubicBezTo>
                      <a:lnTo>
                        <a:pt x="2095" y="8096"/>
                      </a:lnTo>
                      <a:lnTo>
                        <a:pt x="0" y="8096"/>
                      </a:lnTo>
                      <a:lnTo>
                        <a:pt x="0" y="5906"/>
                      </a:lnTo>
                      <a:lnTo>
                        <a:pt x="2095" y="5906"/>
                      </a:lnTo>
                      <a:lnTo>
                        <a:pt x="2095" y="1715"/>
                      </a:lnTo>
                      <a:lnTo>
                        <a:pt x="4953" y="0"/>
                      </a:lnTo>
                      <a:lnTo>
                        <a:pt x="4953" y="5906"/>
                      </a:lnTo>
                      <a:lnTo>
                        <a:pt x="7810" y="5906"/>
                      </a:lnTo>
                      <a:lnTo>
                        <a:pt x="7810" y="8096"/>
                      </a:lnTo>
                      <a:lnTo>
                        <a:pt x="4953" y="8096"/>
                      </a:lnTo>
                      <a:lnTo>
                        <a:pt x="4953" y="17907"/>
                      </a:lnTo>
                      <a:cubicBezTo>
                        <a:pt x="4953" y="18764"/>
                        <a:pt x="5048" y="19241"/>
                        <a:pt x="5144" y="19431"/>
                      </a:cubicBezTo>
                      <a:cubicBezTo>
                        <a:pt x="5239" y="19621"/>
                        <a:pt x="5429" y="19812"/>
                        <a:pt x="5620" y="20003"/>
                      </a:cubicBezTo>
                      <a:cubicBezTo>
                        <a:pt x="5810" y="20098"/>
                        <a:pt x="6191" y="20193"/>
                        <a:pt x="6572" y="20193"/>
                      </a:cubicBezTo>
                      <a:cubicBezTo>
                        <a:pt x="6953" y="20384"/>
                        <a:pt x="7429" y="20288"/>
                        <a:pt x="7906" y="20193"/>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0" name="Freeform 79">
                  <a:extLst>
                    <a:ext uri="{FF2B5EF4-FFF2-40B4-BE49-F238E27FC236}">
                      <a16:creationId xmlns:a16="http://schemas.microsoft.com/office/drawing/2014/main" id="{20B59567-9420-0AD2-BC32-656059058905}"/>
                    </a:ext>
                  </a:extLst>
                </p:cNvPr>
                <p:cNvSpPr/>
                <p:nvPr/>
              </p:nvSpPr>
              <p:spPr>
                <a:xfrm>
                  <a:off x="291273" y="3994023"/>
                  <a:ext cx="13716" cy="23431"/>
                </a:xfrm>
                <a:custGeom>
                  <a:avLst/>
                  <a:gdLst>
                    <a:gd name="connsiteX0" fmla="*/ 0 w 13716"/>
                    <a:gd name="connsiteY0" fmla="*/ 23241 h 23431"/>
                    <a:gd name="connsiteX1" fmla="*/ 0 w 13716"/>
                    <a:gd name="connsiteY1" fmla="*/ 0 h 23431"/>
                    <a:gd name="connsiteX2" fmla="*/ 2858 w 13716"/>
                    <a:gd name="connsiteY2" fmla="*/ 0 h 23431"/>
                    <a:gd name="connsiteX3" fmla="*/ 2858 w 13716"/>
                    <a:gd name="connsiteY3" fmla="*/ 8382 h 23431"/>
                    <a:gd name="connsiteX4" fmla="*/ 7906 w 13716"/>
                    <a:gd name="connsiteY4" fmla="*/ 6096 h 23431"/>
                    <a:gd name="connsiteX5" fmla="*/ 11144 w 13716"/>
                    <a:gd name="connsiteY5" fmla="*/ 6858 h 23431"/>
                    <a:gd name="connsiteX6" fmla="*/ 13144 w 13716"/>
                    <a:gd name="connsiteY6" fmla="*/ 8858 h 23431"/>
                    <a:gd name="connsiteX7" fmla="*/ 13716 w 13716"/>
                    <a:gd name="connsiteY7" fmla="*/ 12668 h 23431"/>
                    <a:gd name="connsiteX8" fmla="*/ 13716 w 13716"/>
                    <a:gd name="connsiteY8" fmla="*/ 23336 h 23431"/>
                    <a:gd name="connsiteX9" fmla="*/ 10858 w 13716"/>
                    <a:gd name="connsiteY9" fmla="*/ 23336 h 23431"/>
                    <a:gd name="connsiteX10" fmla="*/ 10858 w 13716"/>
                    <a:gd name="connsiteY10" fmla="*/ 12668 h 23431"/>
                    <a:gd name="connsiteX11" fmla="*/ 9906 w 13716"/>
                    <a:gd name="connsiteY11" fmla="*/ 9525 h 23431"/>
                    <a:gd name="connsiteX12" fmla="*/ 7239 w 13716"/>
                    <a:gd name="connsiteY12" fmla="*/ 8572 h 23431"/>
                    <a:gd name="connsiteX13" fmla="*/ 4858 w 13716"/>
                    <a:gd name="connsiteY13" fmla="*/ 9239 h 23431"/>
                    <a:gd name="connsiteX14" fmla="*/ 3238 w 13716"/>
                    <a:gd name="connsiteY14" fmla="*/ 11049 h 23431"/>
                    <a:gd name="connsiteX15" fmla="*/ 2762 w 13716"/>
                    <a:gd name="connsiteY15" fmla="*/ 14192 h 23431"/>
                    <a:gd name="connsiteX16" fmla="*/ 2762 w 13716"/>
                    <a:gd name="connsiteY16" fmla="*/ 23431 h 23431"/>
                    <a:gd name="connsiteX17" fmla="*/ 0 w 13716"/>
                    <a:gd name="connsiteY17" fmla="*/ 23431 h 2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16" h="23431">
                      <a:moveTo>
                        <a:pt x="0" y="23241"/>
                      </a:moveTo>
                      <a:lnTo>
                        <a:pt x="0" y="0"/>
                      </a:lnTo>
                      <a:lnTo>
                        <a:pt x="2858" y="0"/>
                      </a:lnTo>
                      <a:lnTo>
                        <a:pt x="2858" y="8382"/>
                      </a:lnTo>
                      <a:cubicBezTo>
                        <a:pt x="4191" y="6858"/>
                        <a:pt x="5906" y="6096"/>
                        <a:pt x="7906" y="6096"/>
                      </a:cubicBezTo>
                      <a:cubicBezTo>
                        <a:pt x="9144" y="6096"/>
                        <a:pt x="10192" y="6382"/>
                        <a:pt x="11144" y="6858"/>
                      </a:cubicBezTo>
                      <a:cubicBezTo>
                        <a:pt x="12097" y="7334"/>
                        <a:pt x="12763" y="8001"/>
                        <a:pt x="13144" y="8858"/>
                      </a:cubicBezTo>
                      <a:cubicBezTo>
                        <a:pt x="13525" y="9715"/>
                        <a:pt x="13716" y="10954"/>
                        <a:pt x="13716" y="12668"/>
                      </a:cubicBezTo>
                      <a:lnTo>
                        <a:pt x="13716" y="23336"/>
                      </a:lnTo>
                      <a:lnTo>
                        <a:pt x="10858" y="23336"/>
                      </a:lnTo>
                      <a:lnTo>
                        <a:pt x="10858" y="12668"/>
                      </a:lnTo>
                      <a:cubicBezTo>
                        <a:pt x="10858" y="11239"/>
                        <a:pt x="10573" y="10192"/>
                        <a:pt x="9906" y="9525"/>
                      </a:cubicBezTo>
                      <a:cubicBezTo>
                        <a:pt x="9335" y="8858"/>
                        <a:pt x="8382" y="8572"/>
                        <a:pt x="7239" y="8572"/>
                      </a:cubicBezTo>
                      <a:cubicBezTo>
                        <a:pt x="6382" y="8572"/>
                        <a:pt x="5620" y="8763"/>
                        <a:pt x="4858" y="9239"/>
                      </a:cubicBezTo>
                      <a:cubicBezTo>
                        <a:pt x="4096" y="9715"/>
                        <a:pt x="3619" y="10287"/>
                        <a:pt x="3238" y="11049"/>
                      </a:cubicBezTo>
                      <a:cubicBezTo>
                        <a:pt x="2953" y="11811"/>
                        <a:pt x="2762" y="12859"/>
                        <a:pt x="2762" y="14192"/>
                      </a:cubicBezTo>
                      <a:lnTo>
                        <a:pt x="2762" y="23431"/>
                      </a:lnTo>
                      <a:lnTo>
                        <a:pt x="0" y="23431"/>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1" name="Freeform 80">
                  <a:extLst>
                    <a:ext uri="{FF2B5EF4-FFF2-40B4-BE49-F238E27FC236}">
                      <a16:creationId xmlns:a16="http://schemas.microsoft.com/office/drawing/2014/main" id="{6F253182-C053-0872-8BB4-8F817E4C989B}"/>
                    </a:ext>
                  </a:extLst>
                </p:cNvPr>
                <p:cNvSpPr/>
                <p:nvPr/>
              </p:nvSpPr>
              <p:spPr>
                <a:xfrm>
                  <a:off x="308228"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2953 w 15525"/>
                    <a:gd name="connsiteY11" fmla="*/ 9525 h 17621"/>
                    <a:gd name="connsiteX12" fmla="*/ 4477 w 15525"/>
                    <a:gd name="connsiteY12" fmla="*/ 13811 h 17621"/>
                    <a:gd name="connsiteX13" fmla="*/ 8001 w 15525"/>
                    <a:gd name="connsiteY13" fmla="*/ 15240 h 17621"/>
                    <a:gd name="connsiteX14" fmla="*/ 10668 w 15525"/>
                    <a:gd name="connsiteY14" fmla="*/ 14383 h 17621"/>
                    <a:gd name="connsiteX15" fmla="*/ 12573 w 15525"/>
                    <a:gd name="connsiteY15" fmla="*/ 11811 h 17621"/>
                    <a:gd name="connsiteX16" fmla="*/ 3239 w 15525"/>
                    <a:gd name="connsiteY16" fmla="*/ 7239 h 17621"/>
                    <a:gd name="connsiteX17" fmla="*/ 12668 w 15525"/>
                    <a:gd name="connsiteY17" fmla="*/ 7239 h 17621"/>
                    <a:gd name="connsiteX18" fmla="*/ 11621 w 15525"/>
                    <a:gd name="connsiteY18" fmla="*/ 4096 h 17621"/>
                    <a:gd name="connsiteX19" fmla="*/ 8096 w 15525"/>
                    <a:gd name="connsiteY19" fmla="*/ 2477 h 17621"/>
                    <a:gd name="connsiteX20" fmla="*/ 4763 w 15525"/>
                    <a:gd name="connsiteY20" fmla="*/ 3810 h 17621"/>
                    <a:gd name="connsiteX21" fmla="*/ 3239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50"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20" y="857"/>
                        <a:pt x="5525" y="0"/>
                        <a:pt x="7906" y="0"/>
                      </a:cubicBezTo>
                      <a:cubicBezTo>
                        <a:pt x="10192" y="0"/>
                        <a:pt x="12002" y="762"/>
                        <a:pt x="13430" y="2286"/>
                      </a:cubicBezTo>
                      <a:cubicBezTo>
                        <a:pt x="14859" y="3810"/>
                        <a:pt x="15526" y="6001"/>
                        <a:pt x="15526" y="8763"/>
                      </a:cubicBezTo>
                      <a:cubicBezTo>
                        <a:pt x="15526" y="8954"/>
                        <a:pt x="15526" y="9144"/>
                        <a:pt x="15526" y="9525"/>
                      </a:cubicBezTo>
                      <a:lnTo>
                        <a:pt x="2953" y="9525"/>
                      </a:lnTo>
                      <a:cubicBezTo>
                        <a:pt x="3048" y="11335"/>
                        <a:pt x="3620" y="12763"/>
                        <a:pt x="4477" y="13811"/>
                      </a:cubicBezTo>
                      <a:cubicBezTo>
                        <a:pt x="5429" y="14764"/>
                        <a:pt x="6572" y="15240"/>
                        <a:pt x="8001" y="15240"/>
                      </a:cubicBezTo>
                      <a:cubicBezTo>
                        <a:pt x="9049" y="15240"/>
                        <a:pt x="9906" y="14954"/>
                        <a:pt x="10668" y="14383"/>
                      </a:cubicBezTo>
                      <a:cubicBezTo>
                        <a:pt x="11621" y="13906"/>
                        <a:pt x="12192" y="13049"/>
                        <a:pt x="12573" y="11811"/>
                      </a:cubicBezTo>
                      <a:close/>
                      <a:moveTo>
                        <a:pt x="3239" y="7239"/>
                      </a:moveTo>
                      <a:lnTo>
                        <a:pt x="12668" y="7239"/>
                      </a:lnTo>
                      <a:cubicBezTo>
                        <a:pt x="12573" y="5810"/>
                        <a:pt x="12192" y="4763"/>
                        <a:pt x="11621" y="4096"/>
                      </a:cubicBezTo>
                      <a:cubicBezTo>
                        <a:pt x="10668" y="2953"/>
                        <a:pt x="9525" y="2477"/>
                        <a:pt x="8096" y="2477"/>
                      </a:cubicBezTo>
                      <a:cubicBezTo>
                        <a:pt x="6763" y="2477"/>
                        <a:pt x="5715" y="2953"/>
                        <a:pt x="4763" y="3810"/>
                      </a:cubicBezTo>
                      <a:cubicBezTo>
                        <a:pt x="3810" y="4572"/>
                        <a:pt x="3334" y="5715"/>
                        <a:pt x="3239"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2" name="Freeform 81">
                  <a:extLst>
                    <a:ext uri="{FF2B5EF4-FFF2-40B4-BE49-F238E27FC236}">
                      <a16:creationId xmlns:a16="http://schemas.microsoft.com/office/drawing/2014/main" id="{4975D90B-CA6B-FD40-BF11-9445671390E6}"/>
                    </a:ext>
                  </a:extLst>
                </p:cNvPr>
                <p:cNvSpPr/>
                <p:nvPr/>
              </p:nvSpPr>
              <p:spPr>
                <a:xfrm>
                  <a:off x="336803" y="3994023"/>
                  <a:ext cx="17430" cy="23336"/>
                </a:xfrm>
                <a:custGeom>
                  <a:avLst/>
                  <a:gdLst>
                    <a:gd name="connsiteX0" fmla="*/ 0 w 17430"/>
                    <a:gd name="connsiteY0" fmla="*/ 23241 h 23336"/>
                    <a:gd name="connsiteX1" fmla="*/ 0 w 17430"/>
                    <a:gd name="connsiteY1" fmla="*/ 0 h 23336"/>
                    <a:gd name="connsiteX2" fmla="*/ 16859 w 17430"/>
                    <a:gd name="connsiteY2" fmla="*/ 0 h 23336"/>
                    <a:gd name="connsiteX3" fmla="*/ 16859 w 17430"/>
                    <a:gd name="connsiteY3" fmla="*/ 2762 h 23336"/>
                    <a:gd name="connsiteX4" fmla="*/ 3143 w 17430"/>
                    <a:gd name="connsiteY4" fmla="*/ 2762 h 23336"/>
                    <a:gd name="connsiteX5" fmla="*/ 3143 w 17430"/>
                    <a:gd name="connsiteY5" fmla="*/ 9906 h 23336"/>
                    <a:gd name="connsiteX6" fmla="*/ 16002 w 17430"/>
                    <a:gd name="connsiteY6" fmla="*/ 9906 h 23336"/>
                    <a:gd name="connsiteX7" fmla="*/ 16002 w 17430"/>
                    <a:gd name="connsiteY7" fmla="*/ 12668 h 23336"/>
                    <a:gd name="connsiteX8" fmla="*/ 3143 w 17430"/>
                    <a:gd name="connsiteY8" fmla="*/ 12668 h 23336"/>
                    <a:gd name="connsiteX9" fmla="*/ 3143 w 17430"/>
                    <a:gd name="connsiteY9" fmla="*/ 20574 h 23336"/>
                    <a:gd name="connsiteX10" fmla="*/ 17431 w 17430"/>
                    <a:gd name="connsiteY10" fmla="*/ 20574 h 23336"/>
                    <a:gd name="connsiteX11" fmla="*/ 17431 w 17430"/>
                    <a:gd name="connsiteY11" fmla="*/ 23336 h 23336"/>
                    <a:gd name="connsiteX12" fmla="*/ 0 w 17430"/>
                    <a:gd name="connsiteY12" fmla="*/ 23336 h 2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430" h="23336">
                      <a:moveTo>
                        <a:pt x="0" y="23241"/>
                      </a:moveTo>
                      <a:lnTo>
                        <a:pt x="0" y="0"/>
                      </a:lnTo>
                      <a:lnTo>
                        <a:pt x="16859" y="0"/>
                      </a:lnTo>
                      <a:lnTo>
                        <a:pt x="16859" y="2762"/>
                      </a:lnTo>
                      <a:lnTo>
                        <a:pt x="3143" y="2762"/>
                      </a:lnTo>
                      <a:lnTo>
                        <a:pt x="3143" y="9906"/>
                      </a:lnTo>
                      <a:lnTo>
                        <a:pt x="16002" y="9906"/>
                      </a:lnTo>
                      <a:lnTo>
                        <a:pt x="16002" y="12668"/>
                      </a:lnTo>
                      <a:lnTo>
                        <a:pt x="3143" y="12668"/>
                      </a:lnTo>
                      <a:lnTo>
                        <a:pt x="3143" y="20574"/>
                      </a:lnTo>
                      <a:lnTo>
                        <a:pt x="17431" y="20574"/>
                      </a:lnTo>
                      <a:lnTo>
                        <a:pt x="17431" y="23336"/>
                      </a:lnTo>
                      <a:lnTo>
                        <a:pt x="0" y="23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3" name="Freeform 82">
                  <a:extLst>
                    <a:ext uri="{FF2B5EF4-FFF2-40B4-BE49-F238E27FC236}">
                      <a16:creationId xmlns:a16="http://schemas.microsoft.com/office/drawing/2014/main" id="{3D9A7794-CE61-704C-81F4-CCD5A377BE3A}"/>
                    </a:ext>
                  </a:extLst>
                </p:cNvPr>
                <p:cNvSpPr/>
                <p:nvPr/>
              </p:nvSpPr>
              <p:spPr>
                <a:xfrm>
                  <a:off x="358044" y="4000405"/>
                  <a:ext cx="13715" cy="17240"/>
                </a:xfrm>
                <a:custGeom>
                  <a:avLst/>
                  <a:gdLst>
                    <a:gd name="connsiteX0" fmla="*/ 11049 w 13715"/>
                    <a:gd name="connsiteY0" fmla="*/ 16859 h 17240"/>
                    <a:gd name="connsiteX1" fmla="*/ 11049 w 13715"/>
                    <a:gd name="connsiteY1" fmla="*/ 14383 h 17240"/>
                    <a:gd name="connsiteX2" fmla="*/ 5715 w 13715"/>
                    <a:gd name="connsiteY2" fmla="*/ 17240 h 17240"/>
                    <a:gd name="connsiteX3" fmla="*/ 2953 w 13715"/>
                    <a:gd name="connsiteY3" fmla="*/ 16669 h 17240"/>
                    <a:gd name="connsiteX4" fmla="*/ 1048 w 13715"/>
                    <a:gd name="connsiteY4" fmla="*/ 15240 h 17240"/>
                    <a:gd name="connsiteX5" fmla="*/ 190 w 13715"/>
                    <a:gd name="connsiteY5" fmla="*/ 13144 h 17240"/>
                    <a:gd name="connsiteX6" fmla="*/ 0 w 13715"/>
                    <a:gd name="connsiteY6" fmla="*/ 10477 h 17240"/>
                    <a:gd name="connsiteX7" fmla="*/ 0 w 13715"/>
                    <a:gd name="connsiteY7" fmla="*/ 0 h 17240"/>
                    <a:gd name="connsiteX8" fmla="*/ 2857 w 13715"/>
                    <a:gd name="connsiteY8" fmla="*/ 0 h 17240"/>
                    <a:gd name="connsiteX9" fmla="*/ 2857 w 13715"/>
                    <a:gd name="connsiteY9" fmla="*/ 9334 h 17240"/>
                    <a:gd name="connsiteX10" fmla="*/ 3048 w 13715"/>
                    <a:gd name="connsiteY10" fmla="*/ 12382 h 17240"/>
                    <a:gd name="connsiteX11" fmla="*/ 4191 w 13715"/>
                    <a:gd name="connsiteY11" fmla="*/ 14192 h 17240"/>
                    <a:gd name="connsiteX12" fmla="*/ 6382 w 13715"/>
                    <a:gd name="connsiteY12" fmla="*/ 14859 h 17240"/>
                    <a:gd name="connsiteX13" fmla="*/ 8763 w 13715"/>
                    <a:gd name="connsiteY13" fmla="*/ 14192 h 17240"/>
                    <a:gd name="connsiteX14" fmla="*/ 10382 w 13715"/>
                    <a:gd name="connsiteY14" fmla="*/ 12382 h 17240"/>
                    <a:gd name="connsiteX15" fmla="*/ 10858 w 13715"/>
                    <a:gd name="connsiteY15" fmla="*/ 9049 h 17240"/>
                    <a:gd name="connsiteX16" fmla="*/ 10858 w 13715"/>
                    <a:gd name="connsiteY16" fmla="*/ 0 h 17240"/>
                    <a:gd name="connsiteX17" fmla="*/ 13716 w 13715"/>
                    <a:gd name="connsiteY17" fmla="*/ 0 h 17240"/>
                    <a:gd name="connsiteX18" fmla="*/ 13716 w 13715"/>
                    <a:gd name="connsiteY18" fmla="*/ 16859 h 17240"/>
                    <a:gd name="connsiteX19" fmla="*/ 11049 w 13715"/>
                    <a:gd name="connsiteY19" fmla="*/ 16859 h 1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5" h="17240">
                      <a:moveTo>
                        <a:pt x="11049" y="16859"/>
                      </a:moveTo>
                      <a:lnTo>
                        <a:pt x="11049" y="14383"/>
                      </a:lnTo>
                      <a:cubicBezTo>
                        <a:pt x="9715" y="16288"/>
                        <a:pt x="8001" y="17240"/>
                        <a:pt x="5715" y="17240"/>
                      </a:cubicBezTo>
                      <a:cubicBezTo>
                        <a:pt x="4763" y="17240"/>
                        <a:pt x="3810" y="17050"/>
                        <a:pt x="2953" y="16669"/>
                      </a:cubicBezTo>
                      <a:cubicBezTo>
                        <a:pt x="2096" y="16288"/>
                        <a:pt x="1429" y="15811"/>
                        <a:pt x="1048" y="15240"/>
                      </a:cubicBezTo>
                      <a:cubicBezTo>
                        <a:pt x="667" y="14668"/>
                        <a:pt x="381" y="14002"/>
                        <a:pt x="190" y="13144"/>
                      </a:cubicBezTo>
                      <a:cubicBezTo>
                        <a:pt x="95" y="12573"/>
                        <a:pt x="0" y="11716"/>
                        <a:pt x="0" y="10477"/>
                      </a:cubicBezTo>
                      <a:lnTo>
                        <a:pt x="0" y="0"/>
                      </a:lnTo>
                      <a:lnTo>
                        <a:pt x="2857" y="0"/>
                      </a:lnTo>
                      <a:lnTo>
                        <a:pt x="2857" y="9334"/>
                      </a:lnTo>
                      <a:cubicBezTo>
                        <a:pt x="2857" y="10858"/>
                        <a:pt x="2953" y="11811"/>
                        <a:pt x="3048" y="12382"/>
                      </a:cubicBezTo>
                      <a:cubicBezTo>
                        <a:pt x="3238" y="13144"/>
                        <a:pt x="3619" y="13716"/>
                        <a:pt x="4191" y="14192"/>
                      </a:cubicBezTo>
                      <a:cubicBezTo>
                        <a:pt x="4763" y="14668"/>
                        <a:pt x="5524" y="14859"/>
                        <a:pt x="6382" y="14859"/>
                      </a:cubicBezTo>
                      <a:cubicBezTo>
                        <a:pt x="7239" y="14859"/>
                        <a:pt x="8001" y="14668"/>
                        <a:pt x="8763" y="14192"/>
                      </a:cubicBezTo>
                      <a:cubicBezTo>
                        <a:pt x="9525" y="13716"/>
                        <a:pt x="10001" y="13144"/>
                        <a:pt x="10382" y="12382"/>
                      </a:cubicBezTo>
                      <a:cubicBezTo>
                        <a:pt x="10668" y="11621"/>
                        <a:pt x="10858" y="10573"/>
                        <a:pt x="10858" y="9049"/>
                      </a:cubicBezTo>
                      <a:lnTo>
                        <a:pt x="10858" y="0"/>
                      </a:lnTo>
                      <a:lnTo>
                        <a:pt x="13716" y="0"/>
                      </a:lnTo>
                      <a:lnTo>
                        <a:pt x="13716" y="16859"/>
                      </a:lnTo>
                      <a:lnTo>
                        <a:pt x="11049" y="16859"/>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4" name="Freeform 83">
                  <a:extLst>
                    <a:ext uri="{FF2B5EF4-FFF2-40B4-BE49-F238E27FC236}">
                      <a16:creationId xmlns:a16="http://schemas.microsoft.com/office/drawing/2014/main" id="{9A86B7C8-98CA-699C-CCA5-21B11A988728}"/>
                    </a:ext>
                  </a:extLst>
                </p:cNvPr>
                <p:cNvSpPr/>
                <p:nvPr/>
              </p:nvSpPr>
              <p:spPr>
                <a:xfrm>
                  <a:off x="376046" y="4000024"/>
                  <a:ext cx="9143" cy="17335"/>
                </a:xfrm>
                <a:custGeom>
                  <a:avLst/>
                  <a:gdLst>
                    <a:gd name="connsiteX0" fmla="*/ 0 w 9143"/>
                    <a:gd name="connsiteY0" fmla="*/ 17240 h 17335"/>
                    <a:gd name="connsiteX1" fmla="*/ 0 w 9143"/>
                    <a:gd name="connsiteY1" fmla="*/ 381 h 17335"/>
                    <a:gd name="connsiteX2" fmla="*/ 2572 w 9143"/>
                    <a:gd name="connsiteY2" fmla="*/ 381 h 17335"/>
                    <a:gd name="connsiteX3" fmla="*/ 2572 w 9143"/>
                    <a:gd name="connsiteY3" fmla="*/ 2953 h 17335"/>
                    <a:gd name="connsiteX4" fmla="*/ 4381 w 9143"/>
                    <a:gd name="connsiteY4" fmla="*/ 571 h 17335"/>
                    <a:gd name="connsiteX5" fmla="*/ 6191 w 9143"/>
                    <a:gd name="connsiteY5" fmla="*/ 0 h 17335"/>
                    <a:gd name="connsiteX6" fmla="*/ 9144 w 9143"/>
                    <a:gd name="connsiteY6" fmla="*/ 953 h 17335"/>
                    <a:gd name="connsiteX7" fmla="*/ 8192 w 9143"/>
                    <a:gd name="connsiteY7" fmla="*/ 3620 h 17335"/>
                    <a:gd name="connsiteX8" fmla="*/ 6096 w 9143"/>
                    <a:gd name="connsiteY8" fmla="*/ 3048 h 17335"/>
                    <a:gd name="connsiteX9" fmla="*/ 4381 w 9143"/>
                    <a:gd name="connsiteY9" fmla="*/ 3620 h 17335"/>
                    <a:gd name="connsiteX10" fmla="*/ 3334 w 9143"/>
                    <a:gd name="connsiteY10" fmla="*/ 5144 h 17335"/>
                    <a:gd name="connsiteX11" fmla="*/ 2857 w 9143"/>
                    <a:gd name="connsiteY11" fmla="*/ 8477 h 17335"/>
                    <a:gd name="connsiteX12" fmla="*/ 2857 w 9143"/>
                    <a:gd name="connsiteY12" fmla="*/ 17336 h 17335"/>
                    <a:gd name="connsiteX13" fmla="*/ 0 w 9143"/>
                    <a:gd name="connsiteY13"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43" h="17335">
                      <a:moveTo>
                        <a:pt x="0" y="17240"/>
                      </a:moveTo>
                      <a:lnTo>
                        <a:pt x="0" y="381"/>
                      </a:lnTo>
                      <a:lnTo>
                        <a:pt x="2572" y="381"/>
                      </a:lnTo>
                      <a:lnTo>
                        <a:pt x="2572" y="2953"/>
                      </a:lnTo>
                      <a:cubicBezTo>
                        <a:pt x="3238" y="1714"/>
                        <a:pt x="3810" y="953"/>
                        <a:pt x="4381" y="571"/>
                      </a:cubicBezTo>
                      <a:cubicBezTo>
                        <a:pt x="4953" y="190"/>
                        <a:pt x="5525" y="0"/>
                        <a:pt x="6191" y="0"/>
                      </a:cubicBezTo>
                      <a:cubicBezTo>
                        <a:pt x="7144" y="0"/>
                        <a:pt x="8096" y="286"/>
                        <a:pt x="9144" y="953"/>
                      </a:cubicBezTo>
                      <a:lnTo>
                        <a:pt x="8192" y="3620"/>
                      </a:lnTo>
                      <a:cubicBezTo>
                        <a:pt x="7525" y="3238"/>
                        <a:pt x="6763" y="3048"/>
                        <a:pt x="6096" y="3048"/>
                      </a:cubicBezTo>
                      <a:cubicBezTo>
                        <a:pt x="5429" y="3048"/>
                        <a:pt x="4953" y="3238"/>
                        <a:pt x="4381" y="3620"/>
                      </a:cubicBezTo>
                      <a:cubicBezTo>
                        <a:pt x="3905" y="4000"/>
                        <a:pt x="3524" y="4477"/>
                        <a:pt x="3334" y="5144"/>
                      </a:cubicBezTo>
                      <a:cubicBezTo>
                        <a:pt x="3048" y="6191"/>
                        <a:pt x="2857" y="7239"/>
                        <a:pt x="2857" y="8477"/>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5" name="Freeform 84">
                  <a:extLst>
                    <a:ext uri="{FF2B5EF4-FFF2-40B4-BE49-F238E27FC236}">
                      <a16:creationId xmlns:a16="http://schemas.microsoft.com/office/drawing/2014/main" id="{CED7A93D-D55F-9F63-8F12-851197CEAF49}"/>
                    </a:ext>
                  </a:extLst>
                </p:cNvPr>
                <p:cNvSpPr/>
                <p:nvPr/>
              </p:nvSpPr>
              <p:spPr>
                <a:xfrm>
                  <a:off x="385857"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2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50" y="3810"/>
                        <a:pt x="15811" y="5905"/>
                        <a:pt x="15811" y="8572"/>
                      </a:cubicBezTo>
                      <a:cubicBezTo>
                        <a:pt x="15811" y="10763"/>
                        <a:pt x="15526" y="12478"/>
                        <a:pt x="14859" y="13716"/>
                      </a:cubicBezTo>
                      <a:cubicBezTo>
                        <a:pt x="14192" y="14954"/>
                        <a:pt x="13240" y="15907"/>
                        <a:pt x="12002" y="16573"/>
                      </a:cubicBezTo>
                      <a:cubicBezTo>
                        <a:pt x="10763" y="17240"/>
                        <a:pt x="9430" y="17621"/>
                        <a:pt x="7906" y="17621"/>
                      </a:cubicBezTo>
                      <a:cubicBezTo>
                        <a:pt x="5525"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5" y="15335"/>
                        <a:pt x="10477" y="14764"/>
                        <a:pt x="11430" y="13716"/>
                      </a:cubicBezTo>
                      <a:cubicBezTo>
                        <a:pt x="12383" y="12668"/>
                        <a:pt x="12859" y="10954"/>
                        <a:pt x="12859" y="8763"/>
                      </a:cubicBezTo>
                      <a:cubicBezTo>
                        <a:pt x="12859" y="6667"/>
                        <a:pt x="12383" y="5144"/>
                        <a:pt x="11430" y="4000"/>
                      </a:cubicBezTo>
                      <a:cubicBezTo>
                        <a:pt x="10477" y="2953"/>
                        <a:pt x="9335"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6" name="Freeform 85">
                  <a:extLst>
                    <a:ext uri="{FF2B5EF4-FFF2-40B4-BE49-F238E27FC236}">
                      <a16:creationId xmlns:a16="http://schemas.microsoft.com/office/drawing/2014/main" id="{992C80D2-43BD-2644-F284-001A7B298EEC}"/>
                    </a:ext>
                  </a:extLst>
                </p:cNvPr>
                <p:cNvSpPr/>
                <p:nvPr/>
              </p:nvSpPr>
              <p:spPr>
                <a:xfrm>
                  <a:off x="405002" y="4000024"/>
                  <a:ext cx="14573" cy="23812"/>
                </a:xfrm>
                <a:custGeom>
                  <a:avLst/>
                  <a:gdLst>
                    <a:gd name="connsiteX0" fmla="*/ 0 w 14573"/>
                    <a:gd name="connsiteY0" fmla="*/ 23717 h 23812"/>
                    <a:gd name="connsiteX1" fmla="*/ 0 w 14573"/>
                    <a:gd name="connsiteY1" fmla="*/ 381 h 23812"/>
                    <a:gd name="connsiteX2" fmla="*/ 2572 w 14573"/>
                    <a:gd name="connsiteY2" fmla="*/ 381 h 23812"/>
                    <a:gd name="connsiteX3" fmla="*/ 2572 w 14573"/>
                    <a:gd name="connsiteY3" fmla="*/ 2572 h 23812"/>
                    <a:gd name="connsiteX4" fmla="*/ 4667 w 14573"/>
                    <a:gd name="connsiteY4" fmla="*/ 667 h 23812"/>
                    <a:gd name="connsiteX5" fmla="*/ 7429 w 14573"/>
                    <a:gd name="connsiteY5" fmla="*/ 0 h 23812"/>
                    <a:gd name="connsiteX6" fmla="*/ 11240 w 14573"/>
                    <a:gd name="connsiteY6" fmla="*/ 1143 h 23812"/>
                    <a:gd name="connsiteX7" fmla="*/ 13716 w 14573"/>
                    <a:gd name="connsiteY7" fmla="*/ 4286 h 23812"/>
                    <a:gd name="connsiteX8" fmla="*/ 14573 w 14573"/>
                    <a:gd name="connsiteY8" fmla="*/ 8763 h 23812"/>
                    <a:gd name="connsiteX9" fmla="*/ 13621 w 14573"/>
                    <a:gd name="connsiteY9" fmla="*/ 13430 h 23812"/>
                    <a:gd name="connsiteX10" fmla="*/ 10954 w 14573"/>
                    <a:gd name="connsiteY10" fmla="*/ 16573 h 23812"/>
                    <a:gd name="connsiteX11" fmla="*/ 7239 w 14573"/>
                    <a:gd name="connsiteY11" fmla="*/ 17716 h 23812"/>
                    <a:gd name="connsiteX12" fmla="*/ 4667 w 14573"/>
                    <a:gd name="connsiteY12" fmla="*/ 17145 h 23812"/>
                    <a:gd name="connsiteX13" fmla="*/ 2762 w 14573"/>
                    <a:gd name="connsiteY13" fmla="*/ 15621 h 23812"/>
                    <a:gd name="connsiteX14" fmla="*/ 2762 w 14573"/>
                    <a:gd name="connsiteY14" fmla="*/ 23813 h 23812"/>
                    <a:gd name="connsiteX15" fmla="*/ 0 w 14573"/>
                    <a:gd name="connsiteY15" fmla="*/ 23813 h 23812"/>
                    <a:gd name="connsiteX16" fmla="*/ 2572 w 14573"/>
                    <a:gd name="connsiteY16" fmla="*/ 8954 h 23812"/>
                    <a:gd name="connsiteX17" fmla="*/ 3905 w 14573"/>
                    <a:gd name="connsiteY17" fmla="*/ 13716 h 23812"/>
                    <a:gd name="connsiteX18" fmla="*/ 7048 w 14573"/>
                    <a:gd name="connsiteY18" fmla="*/ 15240 h 23812"/>
                    <a:gd name="connsiteX19" fmla="*/ 10287 w 14573"/>
                    <a:gd name="connsiteY19" fmla="*/ 13621 h 23812"/>
                    <a:gd name="connsiteX20" fmla="*/ 11621 w 14573"/>
                    <a:gd name="connsiteY20" fmla="*/ 8668 h 23812"/>
                    <a:gd name="connsiteX21" fmla="*/ 10287 w 14573"/>
                    <a:gd name="connsiteY21" fmla="*/ 3810 h 23812"/>
                    <a:gd name="connsiteX22" fmla="*/ 7144 w 14573"/>
                    <a:gd name="connsiteY22" fmla="*/ 2191 h 23812"/>
                    <a:gd name="connsiteX23" fmla="*/ 3905 w 14573"/>
                    <a:gd name="connsiteY23" fmla="*/ 3905 h 23812"/>
                    <a:gd name="connsiteX24" fmla="*/ 2572 w 14573"/>
                    <a:gd name="connsiteY24" fmla="*/ 8954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573" h="23812">
                      <a:moveTo>
                        <a:pt x="0" y="23717"/>
                      </a:moveTo>
                      <a:lnTo>
                        <a:pt x="0" y="381"/>
                      </a:lnTo>
                      <a:lnTo>
                        <a:pt x="2572" y="381"/>
                      </a:lnTo>
                      <a:lnTo>
                        <a:pt x="2572" y="2572"/>
                      </a:lnTo>
                      <a:cubicBezTo>
                        <a:pt x="3143" y="1714"/>
                        <a:pt x="3905" y="1048"/>
                        <a:pt x="4667" y="667"/>
                      </a:cubicBezTo>
                      <a:cubicBezTo>
                        <a:pt x="5429" y="286"/>
                        <a:pt x="6382" y="0"/>
                        <a:pt x="7429" y="0"/>
                      </a:cubicBezTo>
                      <a:cubicBezTo>
                        <a:pt x="8858" y="0"/>
                        <a:pt x="10096" y="381"/>
                        <a:pt x="11240" y="1143"/>
                      </a:cubicBezTo>
                      <a:cubicBezTo>
                        <a:pt x="12382" y="1905"/>
                        <a:pt x="13144" y="2953"/>
                        <a:pt x="13716" y="4286"/>
                      </a:cubicBezTo>
                      <a:cubicBezTo>
                        <a:pt x="14288" y="5620"/>
                        <a:pt x="14573" y="7144"/>
                        <a:pt x="14573" y="8763"/>
                      </a:cubicBezTo>
                      <a:cubicBezTo>
                        <a:pt x="14573" y="10478"/>
                        <a:pt x="14288" y="12002"/>
                        <a:pt x="13621" y="13430"/>
                      </a:cubicBezTo>
                      <a:cubicBezTo>
                        <a:pt x="13049" y="14764"/>
                        <a:pt x="12097" y="15907"/>
                        <a:pt x="10954" y="16573"/>
                      </a:cubicBezTo>
                      <a:cubicBezTo>
                        <a:pt x="9811" y="17336"/>
                        <a:pt x="8572" y="17716"/>
                        <a:pt x="7239" y="17716"/>
                      </a:cubicBezTo>
                      <a:cubicBezTo>
                        <a:pt x="6286" y="17716"/>
                        <a:pt x="5429" y="17526"/>
                        <a:pt x="4667" y="17145"/>
                      </a:cubicBezTo>
                      <a:cubicBezTo>
                        <a:pt x="3905" y="16764"/>
                        <a:pt x="3334" y="16192"/>
                        <a:pt x="2762" y="15621"/>
                      </a:cubicBezTo>
                      <a:lnTo>
                        <a:pt x="2762" y="23813"/>
                      </a:lnTo>
                      <a:lnTo>
                        <a:pt x="0" y="23813"/>
                      </a:lnTo>
                      <a:close/>
                      <a:moveTo>
                        <a:pt x="2572" y="8954"/>
                      </a:moveTo>
                      <a:cubicBezTo>
                        <a:pt x="2572" y="11144"/>
                        <a:pt x="3048" y="12763"/>
                        <a:pt x="3905" y="13716"/>
                      </a:cubicBezTo>
                      <a:cubicBezTo>
                        <a:pt x="4763" y="14764"/>
                        <a:pt x="5810" y="15240"/>
                        <a:pt x="7048" y="15240"/>
                      </a:cubicBezTo>
                      <a:cubicBezTo>
                        <a:pt x="8287" y="15240"/>
                        <a:pt x="9430" y="14669"/>
                        <a:pt x="10287" y="13621"/>
                      </a:cubicBezTo>
                      <a:cubicBezTo>
                        <a:pt x="11144" y="12573"/>
                        <a:pt x="11621" y="10858"/>
                        <a:pt x="11621" y="8668"/>
                      </a:cubicBezTo>
                      <a:cubicBezTo>
                        <a:pt x="11621" y="6477"/>
                        <a:pt x="11144" y="4953"/>
                        <a:pt x="10287" y="3810"/>
                      </a:cubicBezTo>
                      <a:cubicBezTo>
                        <a:pt x="9430" y="2762"/>
                        <a:pt x="8382" y="2191"/>
                        <a:pt x="7144" y="2191"/>
                      </a:cubicBezTo>
                      <a:cubicBezTo>
                        <a:pt x="5905" y="2191"/>
                        <a:pt x="4858" y="2762"/>
                        <a:pt x="3905" y="3905"/>
                      </a:cubicBezTo>
                      <a:cubicBezTo>
                        <a:pt x="3048" y="5144"/>
                        <a:pt x="2572" y="6763"/>
                        <a:pt x="2572" y="8954"/>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7" name="Freeform 86">
                  <a:extLst>
                    <a:ext uri="{FF2B5EF4-FFF2-40B4-BE49-F238E27FC236}">
                      <a16:creationId xmlns:a16="http://schemas.microsoft.com/office/drawing/2014/main" id="{191E5EA2-D19B-EA5F-635D-4E62D5377157}"/>
                    </a:ext>
                  </a:extLst>
                </p:cNvPr>
                <p:cNvSpPr/>
                <p:nvPr/>
              </p:nvSpPr>
              <p:spPr>
                <a:xfrm>
                  <a:off x="422052" y="4000024"/>
                  <a:ext cx="15525" cy="17621"/>
                </a:xfrm>
                <a:custGeom>
                  <a:avLst/>
                  <a:gdLst>
                    <a:gd name="connsiteX0" fmla="*/ 12573 w 15525"/>
                    <a:gd name="connsiteY0" fmla="*/ 11811 h 17621"/>
                    <a:gd name="connsiteX1" fmla="*/ 15526 w 15525"/>
                    <a:gd name="connsiteY1" fmla="*/ 12192 h 17621"/>
                    <a:gd name="connsiteX2" fmla="*/ 12954 w 15525"/>
                    <a:gd name="connsiteY2" fmla="*/ 16192 h 17621"/>
                    <a:gd name="connsiteX3" fmla="*/ 8096 w 15525"/>
                    <a:gd name="connsiteY3" fmla="*/ 17621 h 17621"/>
                    <a:gd name="connsiteX4" fmla="*/ 2191 w 15525"/>
                    <a:gd name="connsiteY4" fmla="*/ 15335 h 17621"/>
                    <a:gd name="connsiteX5" fmla="*/ 0 w 15525"/>
                    <a:gd name="connsiteY5" fmla="*/ 8954 h 17621"/>
                    <a:gd name="connsiteX6" fmla="*/ 2191 w 15525"/>
                    <a:gd name="connsiteY6" fmla="*/ 2381 h 17621"/>
                    <a:gd name="connsiteX7" fmla="*/ 7906 w 15525"/>
                    <a:gd name="connsiteY7" fmla="*/ 0 h 17621"/>
                    <a:gd name="connsiteX8" fmla="*/ 13430 w 15525"/>
                    <a:gd name="connsiteY8" fmla="*/ 2286 h 17621"/>
                    <a:gd name="connsiteX9" fmla="*/ 15526 w 15525"/>
                    <a:gd name="connsiteY9" fmla="*/ 8763 h 17621"/>
                    <a:gd name="connsiteX10" fmla="*/ 15526 w 15525"/>
                    <a:gd name="connsiteY10" fmla="*/ 9525 h 17621"/>
                    <a:gd name="connsiteX11" fmla="*/ 3048 w 15525"/>
                    <a:gd name="connsiteY11" fmla="*/ 9525 h 17621"/>
                    <a:gd name="connsiteX12" fmla="*/ 4572 w 15525"/>
                    <a:gd name="connsiteY12" fmla="*/ 13811 h 17621"/>
                    <a:gd name="connsiteX13" fmla="*/ 8096 w 15525"/>
                    <a:gd name="connsiteY13" fmla="*/ 15240 h 17621"/>
                    <a:gd name="connsiteX14" fmla="*/ 10763 w 15525"/>
                    <a:gd name="connsiteY14" fmla="*/ 14383 h 17621"/>
                    <a:gd name="connsiteX15" fmla="*/ 12573 w 15525"/>
                    <a:gd name="connsiteY15" fmla="*/ 11811 h 17621"/>
                    <a:gd name="connsiteX16" fmla="*/ 3143 w 15525"/>
                    <a:gd name="connsiteY16" fmla="*/ 7239 h 17621"/>
                    <a:gd name="connsiteX17" fmla="*/ 12573 w 15525"/>
                    <a:gd name="connsiteY17" fmla="*/ 7239 h 17621"/>
                    <a:gd name="connsiteX18" fmla="*/ 11525 w 15525"/>
                    <a:gd name="connsiteY18" fmla="*/ 4096 h 17621"/>
                    <a:gd name="connsiteX19" fmla="*/ 8001 w 15525"/>
                    <a:gd name="connsiteY19" fmla="*/ 2477 h 17621"/>
                    <a:gd name="connsiteX20" fmla="*/ 4667 w 15525"/>
                    <a:gd name="connsiteY20" fmla="*/ 3810 h 17621"/>
                    <a:gd name="connsiteX21" fmla="*/ 3143 w 15525"/>
                    <a:gd name="connsiteY21" fmla="*/ 7239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5" h="17621">
                      <a:moveTo>
                        <a:pt x="12573" y="11811"/>
                      </a:moveTo>
                      <a:lnTo>
                        <a:pt x="15526" y="12192"/>
                      </a:lnTo>
                      <a:cubicBezTo>
                        <a:pt x="15049" y="13906"/>
                        <a:pt x="14192" y="15240"/>
                        <a:pt x="12954" y="16192"/>
                      </a:cubicBezTo>
                      <a:cubicBezTo>
                        <a:pt x="11716" y="17145"/>
                        <a:pt x="10096" y="17621"/>
                        <a:pt x="8096" y="17621"/>
                      </a:cubicBezTo>
                      <a:cubicBezTo>
                        <a:pt x="5620" y="17621"/>
                        <a:pt x="3715" y="16859"/>
                        <a:pt x="2191" y="15335"/>
                      </a:cubicBezTo>
                      <a:cubicBezTo>
                        <a:pt x="762" y="13811"/>
                        <a:pt x="0" y="11716"/>
                        <a:pt x="0" y="8954"/>
                      </a:cubicBezTo>
                      <a:cubicBezTo>
                        <a:pt x="0" y="6096"/>
                        <a:pt x="762" y="3905"/>
                        <a:pt x="2191" y="2381"/>
                      </a:cubicBezTo>
                      <a:cubicBezTo>
                        <a:pt x="3619" y="857"/>
                        <a:pt x="5524" y="0"/>
                        <a:pt x="7906" y="0"/>
                      </a:cubicBezTo>
                      <a:cubicBezTo>
                        <a:pt x="10192" y="0"/>
                        <a:pt x="12001" y="762"/>
                        <a:pt x="13430" y="2286"/>
                      </a:cubicBezTo>
                      <a:cubicBezTo>
                        <a:pt x="14859" y="3810"/>
                        <a:pt x="15526" y="6001"/>
                        <a:pt x="15526" y="8763"/>
                      </a:cubicBezTo>
                      <a:cubicBezTo>
                        <a:pt x="15526" y="8954"/>
                        <a:pt x="15526" y="9144"/>
                        <a:pt x="15526" y="9525"/>
                      </a:cubicBezTo>
                      <a:lnTo>
                        <a:pt x="3048" y="9525"/>
                      </a:lnTo>
                      <a:cubicBezTo>
                        <a:pt x="3143" y="11335"/>
                        <a:pt x="3715" y="12763"/>
                        <a:pt x="4572" y="13811"/>
                      </a:cubicBezTo>
                      <a:cubicBezTo>
                        <a:pt x="5524" y="14764"/>
                        <a:pt x="6667" y="15240"/>
                        <a:pt x="8096" y="15240"/>
                      </a:cubicBezTo>
                      <a:cubicBezTo>
                        <a:pt x="9144" y="15240"/>
                        <a:pt x="10001" y="14954"/>
                        <a:pt x="10763" y="14383"/>
                      </a:cubicBezTo>
                      <a:cubicBezTo>
                        <a:pt x="11525" y="13906"/>
                        <a:pt x="12097" y="13049"/>
                        <a:pt x="12573" y="11811"/>
                      </a:cubicBezTo>
                      <a:close/>
                      <a:moveTo>
                        <a:pt x="3143" y="7239"/>
                      </a:moveTo>
                      <a:lnTo>
                        <a:pt x="12573" y="7239"/>
                      </a:lnTo>
                      <a:cubicBezTo>
                        <a:pt x="12478" y="5810"/>
                        <a:pt x="12097" y="4763"/>
                        <a:pt x="11525" y="4096"/>
                      </a:cubicBezTo>
                      <a:cubicBezTo>
                        <a:pt x="10573" y="2953"/>
                        <a:pt x="9430" y="2477"/>
                        <a:pt x="8001" y="2477"/>
                      </a:cubicBezTo>
                      <a:cubicBezTo>
                        <a:pt x="6667" y="2477"/>
                        <a:pt x="5620" y="2953"/>
                        <a:pt x="4667" y="3810"/>
                      </a:cubicBezTo>
                      <a:cubicBezTo>
                        <a:pt x="3810" y="4572"/>
                        <a:pt x="3238" y="5715"/>
                        <a:pt x="3143" y="7239"/>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8" name="Freeform 87">
                  <a:extLst>
                    <a:ext uri="{FF2B5EF4-FFF2-40B4-BE49-F238E27FC236}">
                      <a16:creationId xmlns:a16="http://schemas.microsoft.com/office/drawing/2014/main" id="{01A17BCC-E822-8038-3AB8-5EB9E9663582}"/>
                    </a:ext>
                  </a:extLst>
                </p:cNvPr>
                <p:cNvSpPr/>
                <p:nvPr/>
              </p:nvSpPr>
              <p:spPr>
                <a:xfrm>
                  <a:off x="440149" y="4000119"/>
                  <a:ext cx="15525" cy="17525"/>
                </a:xfrm>
                <a:custGeom>
                  <a:avLst/>
                  <a:gdLst>
                    <a:gd name="connsiteX0" fmla="*/ 12002 w 15525"/>
                    <a:gd name="connsiteY0" fmla="*/ 15049 h 17525"/>
                    <a:gd name="connsiteX1" fmla="*/ 8954 w 15525"/>
                    <a:gd name="connsiteY1" fmla="*/ 16954 h 17525"/>
                    <a:gd name="connsiteX2" fmla="*/ 5810 w 15525"/>
                    <a:gd name="connsiteY2" fmla="*/ 17526 h 17525"/>
                    <a:gd name="connsiteX3" fmla="*/ 1524 w 15525"/>
                    <a:gd name="connsiteY3" fmla="*/ 16192 h 17525"/>
                    <a:gd name="connsiteX4" fmla="*/ 0 w 15525"/>
                    <a:gd name="connsiteY4" fmla="*/ 12763 h 17525"/>
                    <a:gd name="connsiteX5" fmla="*/ 572 w 15525"/>
                    <a:gd name="connsiteY5" fmla="*/ 10477 h 17525"/>
                    <a:gd name="connsiteX6" fmla="*/ 2000 w 15525"/>
                    <a:gd name="connsiteY6" fmla="*/ 8858 h 17525"/>
                    <a:gd name="connsiteX7" fmla="*/ 4096 w 15525"/>
                    <a:gd name="connsiteY7" fmla="*/ 7906 h 17525"/>
                    <a:gd name="connsiteX8" fmla="*/ 6668 w 15525"/>
                    <a:gd name="connsiteY8" fmla="*/ 7525 h 17525"/>
                    <a:gd name="connsiteX9" fmla="*/ 11716 w 15525"/>
                    <a:gd name="connsiteY9" fmla="*/ 6572 h 17525"/>
                    <a:gd name="connsiteX10" fmla="*/ 11716 w 15525"/>
                    <a:gd name="connsiteY10" fmla="*/ 5810 h 17525"/>
                    <a:gd name="connsiteX11" fmla="*/ 10954 w 15525"/>
                    <a:gd name="connsiteY11" fmla="*/ 3334 h 17525"/>
                    <a:gd name="connsiteX12" fmla="*/ 7715 w 15525"/>
                    <a:gd name="connsiteY12" fmla="*/ 2381 h 17525"/>
                    <a:gd name="connsiteX13" fmla="*/ 4763 w 15525"/>
                    <a:gd name="connsiteY13" fmla="*/ 3048 h 17525"/>
                    <a:gd name="connsiteX14" fmla="*/ 3334 w 15525"/>
                    <a:gd name="connsiteY14" fmla="*/ 5524 h 17525"/>
                    <a:gd name="connsiteX15" fmla="*/ 572 w 15525"/>
                    <a:gd name="connsiteY15" fmla="*/ 5143 h 17525"/>
                    <a:gd name="connsiteX16" fmla="*/ 1810 w 15525"/>
                    <a:gd name="connsiteY16" fmla="*/ 2286 h 17525"/>
                    <a:gd name="connsiteX17" fmla="*/ 4286 w 15525"/>
                    <a:gd name="connsiteY17" fmla="*/ 571 h 17525"/>
                    <a:gd name="connsiteX18" fmla="*/ 8096 w 15525"/>
                    <a:gd name="connsiteY18" fmla="*/ 0 h 17525"/>
                    <a:gd name="connsiteX19" fmla="*/ 11621 w 15525"/>
                    <a:gd name="connsiteY19" fmla="*/ 476 h 17525"/>
                    <a:gd name="connsiteX20" fmla="*/ 13621 w 15525"/>
                    <a:gd name="connsiteY20" fmla="*/ 1714 h 17525"/>
                    <a:gd name="connsiteX21" fmla="*/ 14478 w 15525"/>
                    <a:gd name="connsiteY21" fmla="*/ 3619 h 17525"/>
                    <a:gd name="connsiteX22" fmla="*/ 14573 w 15525"/>
                    <a:gd name="connsiteY22" fmla="*/ 6286 h 17525"/>
                    <a:gd name="connsiteX23" fmla="*/ 14573 w 15525"/>
                    <a:gd name="connsiteY23" fmla="*/ 10096 h 17525"/>
                    <a:gd name="connsiteX24" fmla="*/ 14764 w 15525"/>
                    <a:gd name="connsiteY24" fmla="*/ 15145 h 17525"/>
                    <a:gd name="connsiteX25" fmla="*/ 15526 w 15525"/>
                    <a:gd name="connsiteY25" fmla="*/ 17145 h 17525"/>
                    <a:gd name="connsiteX26" fmla="*/ 12573 w 15525"/>
                    <a:gd name="connsiteY26" fmla="*/ 17145 h 17525"/>
                    <a:gd name="connsiteX27" fmla="*/ 12002 w 15525"/>
                    <a:gd name="connsiteY27" fmla="*/ 15049 h 17525"/>
                    <a:gd name="connsiteX28" fmla="*/ 11716 w 15525"/>
                    <a:gd name="connsiteY28" fmla="*/ 8667 h 17525"/>
                    <a:gd name="connsiteX29" fmla="*/ 7049 w 15525"/>
                    <a:gd name="connsiteY29" fmla="*/ 9715 h 17525"/>
                    <a:gd name="connsiteX30" fmla="*/ 4572 w 15525"/>
                    <a:gd name="connsiteY30" fmla="*/ 10287 h 17525"/>
                    <a:gd name="connsiteX31" fmla="*/ 3429 w 15525"/>
                    <a:gd name="connsiteY31" fmla="*/ 11239 h 17525"/>
                    <a:gd name="connsiteX32" fmla="*/ 3048 w 15525"/>
                    <a:gd name="connsiteY32" fmla="*/ 12573 h 17525"/>
                    <a:gd name="connsiteX33" fmla="*/ 3905 w 15525"/>
                    <a:gd name="connsiteY33" fmla="*/ 14478 h 17525"/>
                    <a:gd name="connsiteX34" fmla="*/ 6477 w 15525"/>
                    <a:gd name="connsiteY34" fmla="*/ 15240 h 17525"/>
                    <a:gd name="connsiteX35" fmla="*/ 9430 w 15525"/>
                    <a:gd name="connsiteY35" fmla="*/ 14478 h 17525"/>
                    <a:gd name="connsiteX36" fmla="*/ 11335 w 15525"/>
                    <a:gd name="connsiteY36" fmla="*/ 12478 h 17525"/>
                    <a:gd name="connsiteX37" fmla="*/ 11811 w 15525"/>
                    <a:gd name="connsiteY37" fmla="*/ 9620 h 17525"/>
                    <a:gd name="connsiteX38" fmla="*/ 11811 w 15525"/>
                    <a:gd name="connsiteY38" fmla="*/ 8667 h 17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525" h="17525">
                      <a:moveTo>
                        <a:pt x="12002" y="15049"/>
                      </a:moveTo>
                      <a:cubicBezTo>
                        <a:pt x="10954" y="15907"/>
                        <a:pt x="9906" y="16573"/>
                        <a:pt x="8954" y="16954"/>
                      </a:cubicBezTo>
                      <a:cubicBezTo>
                        <a:pt x="8001" y="17335"/>
                        <a:pt x="6953" y="17526"/>
                        <a:pt x="5810" y="17526"/>
                      </a:cubicBezTo>
                      <a:cubicBezTo>
                        <a:pt x="4001" y="17526"/>
                        <a:pt x="2572" y="17050"/>
                        <a:pt x="1524" y="16192"/>
                      </a:cubicBezTo>
                      <a:cubicBezTo>
                        <a:pt x="572" y="15335"/>
                        <a:pt x="0" y="14097"/>
                        <a:pt x="0" y="12763"/>
                      </a:cubicBezTo>
                      <a:cubicBezTo>
                        <a:pt x="0" y="11906"/>
                        <a:pt x="191" y="11144"/>
                        <a:pt x="572" y="10477"/>
                      </a:cubicBezTo>
                      <a:cubicBezTo>
                        <a:pt x="953" y="9811"/>
                        <a:pt x="1429" y="9239"/>
                        <a:pt x="2000" y="8858"/>
                      </a:cubicBezTo>
                      <a:cubicBezTo>
                        <a:pt x="2572" y="8477"/>
                        <a:pt x="3334" y="8096"/>
                        <a:pt x="4096" y="7906"/>
                      </a:cubicBezTo>
                      <a:cubicBezTo>
                        <a:pt x="4667" y="7715"/>
                        <a:pt x="5525" y="7620"/>
                        <a:pt x="6668" y="7525"/>
                      </a:cubicBezTo>
                      <a:cubicBezTo>
                        <a:pt x="8954" y="7239"/>
                        <a:pt x="10668" y="6953"/>
                        <a:pt x="11716" y="6572"/>
                      </a:cubicBezTo>
                      <a:cubicBezTo>
                        <a:pt x="11716" y="6191"/>
                        <a:pt x="11716" y="5905"/>
                        <a:pt x="11716" y="5810"/>
                      </a:cubicBezTo>
                      <a:cubicBezTo>
                        <a:pt x="11716" y="4667"/>
                        <a:pt x="11430" y="3810"/>
                        <a:pt x="10954" y="3334"/>
                      </a:cubicBezTo>
                      <a:cubicBezTo>
                        <a:pt x="10192" y="2667"/>
                        <a:pt x="9144" y="2381"/>
                        <a:pt x="7715" y="2381"/>
                      </a:cubicBezTo>
                      <a:cubicBezTo>
                        <a:pt x="6382" y="2381"/>
                        <a:pt x="5334" y="2572"/>
                        <a:pt x="4763" y="3048"/>
                      </a:cubicBezTo>
                      <a:cubicBezTo>
                        <a:pt x="4096" y="3524"/>
                        <a:pt x="3620" y="4381"/>
                        <a:pt x="3334" y="5524"/>
                      </a:cubicBezTo>
                      <a:lnTo>
                        <a:pt x="572" y="5143"/>
                      </a:lnTo>
                      <a:cubicBezTo>
                        <a:pt x="857" y="3905"/>
                        <a:pt x="1238" y="2953"/>
                        <a:pt x="1810" y="2286"/>
                      </a:cubicBezTo>
                      <a:cubicBezTo>
                        <a:pt x="2381" y="1524"/>
                        <a:pt x="3239" y="952"/>
                        <a:pt x="4286" y="571"/>
                      </a:cubicBezTo>
                      <a:cubicBezTo>
                        <a:pt x="5429" y="190"/>
                        <a:pt x="6668" y="0"/>
                        <a:pt x="8096" y="0"/>
                      </a:cubicBezTo>
                      <a:cubicBezTo>
                        <a:pt x="9525" y="0"/>
                        <a:pt x="10668" y="190"/>
                        <a:pt x="11621" y="476"/>
                      </a:cubicBezTo>
                      <a:cubicBezTo>
                        <a:pt x="12478" y="857"/>
                        <a:pt x="13145" y="1238"/>
                        <a:pt x="13621" y="1714"/>
                      </a:cubicBezTo>
                      <a:cubicBezTo>
                        <a:pt x="14002" y="2191"/>
                        <a:pt x="14383" y="2857"/>
                        <a:pt x="14478" y="3619"/>
                      </a:cubicBezTo>
                      <a:cubicBezTo>
                        <a:pt x="14573" y="4096"/>
                        <a:pt x="14573" y="4953"/>
                        <a:pt x="14573" y="6286"/>
                      </a:cubicBezTo>
                      <a:lnTo>
                        <a:pt x="14573" y="10096"/>
                      </a:lnTo>
                      <a:cubicBezTo>
                        <a:pt x="14573" y="12763"/>
                        <a:pt x="14669" y="14383"/>
                        <a:pt x="14764" y="15145"/>
                      </a:cubicBezTo>
                      <a:cubicBezTo>
                        <a:pt x="14859" y="15811"/>
                        <a:pt x="15145" y="16478"/>
                        <a:pt x="15526" y="17145"/>
                      </a:cubicBezTo>
                      <a:lnTo>
                        <a:pt x="12573" y="17145"/>
                      </a:lnTo>
                      <a:cubicBezTo>
                        <a:pt x="12287" y="16573"/>
                        <a:pt x="12097" y="15907"/>
                        <a:pt x="12002" y="15049"/>
                      </a:cubicBezTo>
                      <a:close/>
                      <a:moveTo>
                        <a:pt x="11716" y="8667"/>
                      </a:moveTo>
                      <a:cubicBezTo>
                        <a:pt x="10668" y="9049"/>
                        <a:pt x="9144" y="9430"/>
                        <a:pt x="7049" y="9715"/>
                      </a:cubicBezTo>
                      <a:cubicBezTo>
                        <a:pt x="5906" y="9906"/>
                        <a:pt x="5048" y="10096"/>
                        <a:pt x="4572" y="10287"/>
                      </a:cubicBezTo>
                      <a:cubicBezTo>
                        <a:pt x="4096" y="10477"/>
                        <a:pt x="3715" y="10763"/>
                        <a:pt x="3429" y="11239"/>
                      </a:cubicBezTo>
                      <a:cubicBezTo>
                        <a:pt x="3143" y="11620"/>
                        <a:pt x="3048" y="12097"/>
                        <a:pt x="3048" y="12573"/>
                      </a:cubicBezTo>
                      <a:cubicBezTo>
                        <a:pt x="3048" y="13335"/>
                        <a:pt x="3334" y="14001"/>
                        <a:pt x="3905" y="14478"/>
                      </a:cubicBezTo>
                      <a:cubicBezTo>
                        <a:pt x="4477" y="14954"/>
                        <a:pt x="5334" y="15240"/>
                        <a:pt x="6477" y="15240"/>
                      </a:cubicBezTo>
                      <a:cubicBezTo>
                        <a:pt x="7620" y="15240"/>
                        <a:pt x="8573" y="14954"/>
                        <a:pt x="9430" y="14478"/>
                      </a:cubicBezTo>
                      <a:cubicBezTo>
                        <a:pt x="10287" y="14001"/>
                        <a:pt x="10954" y="13335"/>
                        <a:pt x="11335" y="12478"/>
                      </a:cubicBezTo>
                      <a:cubicBezTo>
                        <a:pt x="11621" y="11811"/>
                        <a:pt x="11811" y="10858"/>
                        <a:pt x="11811" y="9620"/>
                      </a:cubicBezTo>
                      <a:lnTo>
                        <a:pt x="11811" y="8667"/>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49" name="Freeform 88">
                  <a:extLst>
                    <a:ext uri="{FF2B5EF4-FFF2-40B4-BE49-F238E27FC236}">
                      <a16:creationId xmlns:a16="http://schemas.microsoft.com/office/drawing/2014/main" id="{B84F3BAB-9B1D-54D6-FB36-80D61C755892}"/>
                    </a:ext>
                  </a:extLst>
                </p:cNvPr>
                <p:cNvSpPr/>
                <p:nvPr/>
              </p:nvSpPr>
              <p:spPr>
                <a:xfrm>
                  <a:off x="459199"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8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8"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0" name="Freeform 89">
                  <a:extLst>
                    <a:ext uri="{FF2B5EF4-FFF2-40B4-BE49-F238E27FC236}">
                      <a16:creationId xmlns:a16="http://schemas.microsoft.com/office/drawing/2014/main" id="{E81A2797-B9BF-AC0C-77B4-6606DC8442FC}"/>
                    </a:ext>
                  </a:extLst>
                </p:cNvPr>
                <p:cNvSpPr/>
                <p:nvPr/>
              </p:nvSpPr>
              <p:spPr>
                <a:xfrm>
                  <a:off x="486726" y="3994023"/>
                  <a:ext cx="18192" cy="23622"/>
                </a:xfrm>
                <a:custGeom>
                  <a:avLst/>
                  <a:gdLst>
                    <a:gd name="connsiteX0" fmla="*/ 15145 w 18192"/>
                    <a:gd name="connsiteY0" fmla="*/ 0 h 23622"/>
                    <a:gd name="connsiteX1" fmla="*/ 18193 w 18192"/>
                    <a:gd name="connsiteY1" fmla="*/ 0 h 23622"/>
                    <a:gd name="connsiteX2" fmla="*/ 18193 w 18192"/>
                    <a:gd name="connsiteY2" fmla="*/ 13430 h 23622"/>
                    <a:gd name="connsiteX3" fmla="*/ 17431 w 18192"/>
                    <a:gd name="connsiteY3" fmla="*/ 18955 h 23622"/>
                    <a:gd name="connsiteX4" fmla="*/ 14573 w 18192"/>
                    <a:gd name="connsiteY4" fmla="*/ 22288 h 23622"/>
                    <a:gd name="connsiteX5" fmla="*/ 9144 w 18192"/>
                    <a:gd name="connsiteY5" fmla="*/ 23622 h 23622"/>
                    <a:gd name="connsiteX6" fmla="*/ 3810 w 18192"/>
                    <a:gd name="connsiteY6" fmla="*/ 22479 h 23622"/>
                    <a:gd name="connsiteX7" fmla="*/ 857 w 18192"/>
                    <a:gd name="connsiteY7" fmla="*/ 19240 h 23622"/>
                    <a:gd name="connsiteX8" fmla="*/ 0 w 18192"/>
                    <a:gd name="connsiteY8" fmla="*/ 13430 h 23622"/>
                    <a:gd name="connsiteX9" fmla="*/ 0 w 18192"/>
                    <a:gd name="connsiteY9" fmla="*/ 0 h 23622"/>
                    <a:gd name="connsiteX10" fmla="*/ 3048 w 18192"/>
                    <a:gd name="connsiteY10" fmla="*/ 0 h 23622"/>
                    <a:gd name="connsiteX11" fmla="*/ 3048 w 18192"/>
                    <a:gd name="connsiteY11" fmla="*/ 13430 h 23622"/>
                    <a:gd name="connsiteX12" fmla="*/ 3620 w 18192"/>
                    <a:gd name="connsiteY12" fmla="*/ 17907 h 23622"/>
                    <a:gd name="connsiteX13" fmla="*/ 5525 w 18192"/>
                    <a:gd name="connsiteY13" fmla="*/ 20098 h 23622"/>
                    <a:gd name="connsiteX14" fmla="*/ 8858 w 18192"/>
                    <a:gd name="connsiteY14" fmla="*/ 20860 h 23622"/>
                    <a:gd name="connsiteX15" fmla="*/ 13716 w 18192"/>
                    <a:gd name="connsiteY15" fmla="*/ 19336 h 23622"/>
                    <a:gd name="connsiteX16" fmla="*/ 15145 w 18192"/>
                    <a:gd name="connsiteY16" fmla="*/ 13430 h 23622"/>
                    <a:gd name="connsiteX17" fmla="*/ 15145 w 18192"/>
                    <a:gd name="connsiteY17" fmla="*/ 0 h 23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192" h="23622">
                      <a:moveTo>
                        <a:pt x="15145" y="0"/>
                      </a:moveTo>
                      <a:lnTo>
                        <a:pt x="18193" y="0"/>
                      </a:lnTo>
                      <a:lnTo>
                        <a:pt x="18193" y="13430"/>
                      </a:lnTo>
                      <a:cubicBezTo>
                        <a:pt x="18193" y="15812"/>
                        <a:pt x="17907" y="17621"/>
                        <a:pt x="17431" y="18955"/>
                      </a:cubicBezTo>
                      <a:cubicBezTo>
                        <a:pt x="16859" y="20288"/>
                        <a:pt x="15907" y="21431"/>
                        <a:pt x="14573" y="22288"/>
                      </a:cubicBezTo>
                      <a:cubicBezTo>
                        <a:pt x="13240" y="23146"/>
                        <a:pt x="11430" y="23622"/>
                        <a:pt x="9144" y="23622"/>
                      </a:cubicBezTo>
                      <a:cubicBezTo>
                        <a:pt x="6953" y="23622"/>
                        <a:pt x="5144" y="23241"/>
                        <a:pt x="3810" y="22479"/>
                      </a:cubicBezTo>
                      <a:cubicBezTo>
                        <a:pt x="2381" y="21717"/>
                        <a:pt x="1429" y="20669"/>
                        <a:pt x="857" y="19240"/>
                      </a:cubicBezTo>
                      <a:cubicBezTo>
                        <a:pt x="286" y="17812"/>
                        <a:pt x="0" y="15907"/>
                        <a:pt x="0" y="13430"/>
                      </a:cubicBezTo>
                      <a:lnTo>
                        <a:pt x="0" y="0"/>
                      </a:lnTo>
                      <a:lnTo>
                        <a:pt x="3048" y="0"/>
                      </a:lnTo>
                      <a:lnTo>
                        <a:pt x="3048" y="13430"/>
                      </a:lnTo>
                      <a:cubicBezTo>
                        <a:pt x="3048" y="15430"/>
                        <a:pt x="3239" y="16954"/>
                        <a:pt x="3620" y="17907"/>
                      </a:cubicBezTo>
                      <a:cubicBezTo>
                        <a:pt x="4001" y="18860"/>
                        <a:pt x="4667" y="19621"/>
                        <a:pt x="5525" y="20098"/>
                      </a:cubicBezTo>
                      <a:cubicBezTo>
                        <a:pt x="6477" y="20574"/>
                        <a:pt x="7525" y="20860"/>
                        <a:pt x="8858" y="20860"/>
                      </a:cubicBezTo>
                      <a:cubicBezTo>
                        <a:pt x="11144" y="20860"/>
                        <a:pt x="12764" y="20384"/>
                        <a:pt x="13716" y="19336"/>
                      </a:cubicBezTo>
                      <a:cubicBezTo>
                        <a:pt x="14669" y="18288"/>
                        <a:pt x="15145" y="16383"/>
                        <a:pt x="15145" y="13430"/>
                      </a:cubicBezTo>
                      <a:lnTo>
                        <a:pt x="15145" y="0"/>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1" name="Freeform 90">
                  <a:extLst>
                    <a:ext uri="{FF2B5EF4-FFF2-40B4-BE49-F238E27FC236}">
                      <a16:creationId xmlns:a16="http://schemas.microsoft.com/office/drawing/2014/main" id="{A73AFD26-8535-9B91-D4AE-60A3DAD6E722}"/>
                    </a:ext>
                  </a:extLst>
                </p:cNvPr>
                <p:cNvSpPr/>
                <p:nvPr/>
              </p:nvSpPr>
              <p:spPr>
                <a:xfrm>
                  <a:off x="509777"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4 w 13620"/>
                    <a:gd name="connsiteY13" fmla="*/ 3048 h 17335"/>
                    <a:gd name="connsiteX14" fmla="*/ 7334 w 13620"/>
                    <a:gd name="connsiteY14" fmla="*/ 2572 h 17335"/>
                    <a:gd name="connsiteX15" fmla="*/ 4191 w 13620"/>
                    <a:gd name="connsiteY15" fmla="*/ 3715 h 17335"/>
                    <a:gd name="connsiteX16" fmla="*/ 2857 w 13620"/>
                    <a:gd name="connsiteY16" fmla="*/ 8096 h 17335"/>
                    <a:gd name="connsiteX17" fmla="*/ 2857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3" y="0"/>
                        <a:pt x="9811" y="190"/>
                        <a:pt x="10668" y="571"/>
                      </a:cubicBezTo>
                      <a:cubicBezTo>
                        <a:pt x="11525" y="953"/>
                        <a:pt x="12192" y="1429"/>
                        <a:pt x="12573" y="2000"/>
                      </a:cubicBezTo>
                      <a:cubicBezTo>
                        <a:pt x="12954" y="2572"/>
                        <a:pt x="13335" y="3334"/>
                        <a:pt x="13430" y="4096"/>
                      </a:cubicBezTo>
                      <a:cubicBezTo>
                        <a:pt x="13525" y="4667"/>
                        <a:pt x="13621" y="5524"/>
                        <a:pt x="13621" y="6858"/>
                      </a:cubicBezTo>
                      <a:lnTo>
                        <a:pt x="13621" y="17240"/>
                      </a:lnTo>
                      <a:lnTo>
                        <a:pt x="10763" y="17240"/>
                      </a:lnTo>
                      <a:lnTo>
                        <a:pt x="10763" y="6953"/>
                      </a:lnTo>
                      <a:cubicBezTo>
                        <a:pt x="10763" y="5810"/>
                        <a:pt x="10668" y="4953"/>
                        <a:pt x="10477" y="4381"/>
                      </a:cubicBezTo>
                      <a:cubicBezTo>
                        <a:pt x="10287" y="3810"/>
                        <a:pt x="9906" y="3334"/>
                        <a:pt x="9334" y="3048"/>
                      </a:cubicBezTo>
                      <a:cubicBezTo>
                        <a:pt x="8763" y="2667"/>
                        <a:pt x="8096" y="2572"/>
                        <a:pt x="7334" y="2572"/>
                      </a:cubicBezTo>
                      <a:cubicBezTo>
                        <a:pt x="6096" y="2572"/>
                        <a:pt x="5048" y="2953"/>
                        <a:pt x="4191" y="3715"/>
                      </a:cubicBezTo>
                      <a:cubicBezTo>
                        <a:pt x="3334" y="4477"/>
                        <a:pt x="2857" y="5905"/>
                        <a:pt x="2857" y="8096"/>
                      </a:cubicBezTo>
                      <a:lnTo>
                        <a:pt x="2857"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2" name="Freeform 91">
                  <a:extLst>
                    <a:ext uri="{FF2B5EF4-FFF2-40B4-BE49-F238E27FC236}">
                      <a16:creationId xmlns:a16="http://schemas.microsoft.com/office/drawing/2014/main" id="{0A59F2C4-214F-61EB-5243-22F9F00F5E56}"/>
                    </a:ext>
                  </a:extLst>
                </p:cNvPr>
                <p:cNvSpPr/>
                <p:nvPr/>
              </p:nvSpPr>
              <p:spPr>
                <a:xfrm>
                  <a:off x="527779" y="3994119"/>
                  <a:ext cx="2857" cy="23145"/>
                </a:xfrm>
                <a:custGeom>
                  <a:avLst/>
                  <a:gdLst>
                    <a:gd name="connsiteX0" fmla="*/ 0 w 2857"/>
                    <a:gd name="connsiteY0" fmla="*/ 3238 h 23145"/>
                    <a:gd name="connsiteX1" fmla="*/ 0 w 2857"/>
                    <a:gd name="connsiteY1" fmla="*/ 0 h 23145"/>
                    <a:gd name="connsiteX2" fmla="*/ 2857 w 2857"/>
                    <a:gd name="connsiteY2" fmla="*/ 0 h 23145"/>
                    <a:gd name="connsiteX3" fmla="*/ 2857 w 2857"/>
                    <a:gd name="connsiteY3" fmla="*/ 3238 h 23145"/>
                    <a:gd name="connsiteX4" fmla="*/ 0 w 2857"/>
                    <a:gd name="connsiteY4" fmla="*/ 3238 h 23145"/>
                    <a:gd name="connsiteX5" fmla="*/ 0 w 2857"/>
                    <a:gd name="connsiteY5" fmla="*/ 23146 h 23145"/>
                    <a:gd name="connsiteX6" fmla="*/ 0 w 2857"/>
                    <a:gd name="connsiteY6" fmla="*/ 6287 h 23145"/>
                    <a:gd name="connsiteX7" fmla="*/ 2857 w 2857"/>
                    <a:gd name="connsiteY7" fmla="*/ 6287 h 23145"/>
                    <a:gd name="connsiteX8" fmla="*/ 2857 w 2857"/>
                    <a:gd name="connsiteY8" fmla="*/ 23146 h 23145"/>
                    <a:gd name="connsiteX9" fmla="*/ 0 w 2857"/>
                    <a:gd name="connsiteY9" fmla="*/ 23146 h 2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57" h="23145">
                      <a:moveTo>
                        <a:pt x="0" y="3238"/>
                      </a:moveTo>
                      <a:lnTo>
                        <a:pt x="0" y="0"/>
                      </a:lnTo>
                      <a:lnTo>
                        <a:pt x="2857" y="0"/>
                      </a:lnTo>
                      <a:lnTo>
                        <a:pt x="2857" y="3238"/>
                      </a:lnTo>
                      <a:lnTo>
                        <a:pt x="0" y="3238"/>
                      </a:lnTo>
                      <a:close/>
                      <a:moveTo>
                        <a:pt x="0" y="23146"/>
                      </a:moveTo>
                      <a:lnTo>
                        <a:pt x="0" y="6287"/>
                      </a:lnTo>
                      <a:lnTo>
                        <a:pt x="2857" y="6287"/>
                      </a:lnTo>
                      <a:lnTo>
                        <a:pt x="2857" y="23146"/>
                      </a:lnTo>
                      <a:lnTo>
                        <a:pt x="0" y="2314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3" name="Freeform 92">
                  <a:extLst>
                    <a:ext uri="{FF2B5EF4-FFF2-40B4-BE49-F238E27FC236}">
                      <a16:creationId xmlns:a16="http://schemas.microsoft.com/office/drawing/2014/main" id="{33F978E2-F66B-CDE0-F123-5023E5DCE794}"/>
                    </a:ext>
                  </a:extLst>
                </p:cNvPr>
                <p:cNvSpPr/>
                <p:nvPr/>
              </p:nvSpPr>
              <p:spPr>
                <a:xfrm>
                  <a:off x="533970" y="4000024"/>
                  <a:ext cx="15811" cy="17621"/>
                </a:xfrm>
                <a:custGeom>
                  <a:avLst/>
                  <a:gdLst>
                    <a:gd name="connsiteX0" fmla="*/ 0 w 15811"/>
                    <a:gd name="connsiteY0" fmla="*/ 8858 h 17621"/>
                    <a:gd name="connsiteX1" fmla="*/ 2572 w 15811"/>
                    <a:gd name="connsiteY1" fmla="*/ 1905 h 17621"/>
                    <a:gd name="connsiteX2" fmla="*/ 7906 w 15811"/>
                    <a:gd name="connsiteY2" fmla="*/ 0 h 17621"/>
                    <a:gd name="connsiteX3" fmla="*/ 13621 w 15811"/>
                    <a:gd name="connsiteY3" fmla="*/ 2286 h 17621"/>
                    <a:gd name="connsiteX4" fmla="*/ 15811 w 15811"/>
                    <a:gd name="connsiteY4" fmla="*/ 8572 h 17621"/>
                    <a:gd name="connsiteX5" fmla="*/ 14859 w 15811"/>
                    <a:gd name="connsiteY5" fmla="*/ 13716 h 17621"/>
                    <a:gd name="connsiteX6" fmla="*/ 12001 w 15811"/>
                    <a:gd name="connsiteY6" fmla="*/ 16573 h 17621"/>
                    <a:gd name="connsiteX7" fmla="*/ 7906 w 15811"/>
                    <a:gd name="connsiteY7" fmla="*/ 17621 h 17621"/>
                    <a:gd name="connsiteX8" fmla="*/ 2191 w 15811"/>
                    <a:gd name="connsiteY8" fmla="*/ 15335 h 17621"/>
                    <a:gd name="connsiteX9" fmla="*/ 0 w 15811"/>
                    <a:gd name="connsiteY9" fmla="*/ 8858 h 17621"/>
                    <a:gd name="connsiteX10" fmla="*/ 2953 w 15811"/>
                    <a:gd name="connsiteY10" fmla="*/ 8858 h 17621"/>
                    <a:gd name="connsiteX11" fmla="*/ 4381 w 15811"/>
                    <a:gd name="connsiteY11" fmla="*/ 13716 h 17621"/>
                    <a:gd name="connsiteX12" fmla="*/ 7906 w 15811"/>
                    <a:gd name="connsiteY12" fmla="*/ 15335 h 17621"/>
                    <a:gd name="connsiteX13" fmla="*/ 11430 w 15811"/>
                    <a:gd name="connsiteY13" fmla="*/ 13716 h 17621"/>
                    <a:gd name="connsiteX14" fmla="*/ 12859 w 15811"/>
                    <a:gd name="connsiteY14" fmla="*/ 8763 h 17621"/>
                    <a:gd name="connsiteX15" fmla="*/ 11430 w 15811"/>
                    <a:gd name="connsiteY15" fmla="*/ 4000 h 17621"/>
                    <a:gd name="connsiteX16" fmla="*/ 7906 w 15811"/>
                    <a:gd name="connsiteY16" fmla="*/ 2381 h 17621"/>
                    <a:gd name="connsiteX17" fmla="*/ 4381 w 15811"/>
                    <a:gd name="connsiteY17" fmla="*/ 4000 h 17621"/>
                    <a:gd name="connsiteX18" fmla="*/ 2953 w 15811"/>
                    <a:gd name="connsiteY18" fmla="*/ 8858 h 1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11" h="17621">
                      <a:moveTo>
                        <a:pt x="0" y="8858"/>
                      </a:moveTo>
                      <a:cubicBezTo>
                        <a:pt x="0" y="5715"/>
                        <a:pt x="857" y="3429"/>
                        <a:pt x="2572" y="1905"/>
                      </a:cubicBezTo>
                      <a:cubicBezTo>
                        <a:pt x="4000" y="667"/>
                        <a:pt x="5810" y="0"/>
                        <a:pt x="7906" y="0"/>
                      </a:cubicBezTo>
                      <a:cubicBezTo>
                        <a:pt x="10192" y="0"/>
                        <a:pt x="12097" y="762"/>
                        <a:pt x="13621" y="2286"/>
                      </a:cubicBezTo>
                      <a:cubicBezTo>
                        <a:pt x="15049" y="3810"/>
                        <a:pt x="15811" y="5905"/>
                        <a:pt x="15811" y="8572"/>
                      </a:cubicBezTo>
                      <a:cubicBezTo>
                        <a:pt x="15811" y="10763"/>
                        <a:pt x="15526" y="12478"/>
                        <a:pt x="14859" y="13716"/>
                      </a:cubicBezTo>
                      <a:cubicBezTo>
                        <a:pt x="14192" y="14954"/>
                        <a:pt x="13240" y="15907"/>
                        <a:pt x="12001" y="16573"/>
                      </a:cubicBezTo>
                      <a:cubicBezTo>
                        <a:pt x="10763" y="17240"/>
                        <a:pt x="9430" y="17621"/>
                        <a:pt x="7906" y="17621"/>
                      </a:cubicBezTo>
                      <a:cubicBezTo>
                        <a:pt x="5524" y="17621"/>
                        <a:pt x="3619" y="16859"/>
                        <a:pt x="2191" y="15335"/>
                      </a:cubicBezTo>
                      <a:cubicBezTo>
                        <a:pt x="762" y="13811"/>
                        <a:pt x="0" y="11716"/>
                        <a:pt x="0" y="8858"/>
                      </a:cubicBezTo>
                      <a:close/>
                      <a:moveTo>
                        <a:pt x="2953" y="8858"/>
                      </a:moveTo>
                      <a:cubicBezTo>
                        <a:pt x="2953" y="11049"/>
                        <a:pt x="3429" y="12668"/>
                        <a:pt x="4381" y="13716"/>
                      </a:cubicBezTo>
                      <a:cubicBezTo>
                        <a:pt x="5334" y="14764"/>
                        <a:pt x="6477" y="15335"/>
                        <a:pt x="7906" y="15335"/>
                      </a:cubicBezTo>
                      <a:cubicBezTo>
                        <a:pt x="9334" y="15335"/>
                        <a:pt x="10477" y="14764"/>
                        <a:pt x="11430" y="13716"/>
                      </a:cubicBezTo>
                      <a:cubicBezTo>
                        <a:pt x="12382" y="12668"/>
                        <a:pt x="12859" y="10954"/>
                        <a:pt x="12859" y="8763"/>
                      </a:cubicBezTo>
                      <a:cubicBezTo>
                        <a:pt x="12859" y="6667"/>
                        <a:pt x="12382" y="5144"/>
                        <a:pt x="11430" y="4000"/>
                      </a:cubicBezTo>
                      <a:cubicBezTo>
                        <a:pt x="10477" y="2953"/>
                        <a:pt x="9334" y="2381"/>
                        <a:pt x="7906" y="2381"/>
                      </a:cubicBezTo>
                      <a:cubicBezTo>
                        <a:pt x="6477" y="2381"/>
                        <a:pt x="5334" y="2953"/>
                        <a:pt x="4381" y="4000"/>
                      </a:cubicBezTo>
                      <a:cubicBezTo>
                        <a:pt x="3429" y="5048"/>
                        <a:pt x="2953" y="6667"/>
                        <a:pt x="2953" y="8858"/>
                      </a:cubicBez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sp>
              <p:nvSpPr>
                <p:cNvPr id="54" name="Freeform 93">
                  <a:extLst>
                    <a:ext uri="{FF2B5EF4-FFF2-40B4-BE49-F238E27FC236}">
                      <a16:creationId xmlns:a16="http://schemas.microsoft.com/office/drawing/2014/main" id="{5BD72F59-751D-7893-8D1F-98F8C51B0CFA}"/>
                    </a:ext>
                  </a:extLst>
                </p:cNvPr>
                <p:cNvSpPr/>
                <p:nvPr/>
              </p:nvSpPr>
              <p:spPr>
                <a:xfrm>
                  <a:off x="553115" y="4000024"/>
                  <a:ext cx="13620" cy="17335"/>
                </a:xfrm>
                <a:custGeom>
                  <a:avLst/>
                  <a:gdLst>
                    <a:gd name="connsiteX0" fmla="*/ 0 w 13620"/>
                    <a:gd name="connsiteY0" fmla="*/ 17240 h 17335"/>
                    <a:gd name="connsiteX1" fmla="*/ 0 w 13620"/>
                    <a:gd name="connsiteY1" fmla="*/ 381 h 17335"/>
                    <a:gd name="connsiteX2" fmla="*/ 2572 w 13620"/>
                    <a:gd name="connsiteY2" fmla="*/ 381 h 17335"/>
                    <a:gd name="connsiteX3" fmla="*/ 2572 w 13620"/>
                    <a:gd name="connsiteY3" fmla="*/ 2762 h 17335"/>
                    <a:gd name="connsiteX4" fmla="*/ 7906 w 13620"/>
                    <a:gd name="connsiteY4" fmla="*/ 0 h 17335"/>
                    <a:gd name="connsiteX5" fmla="*/ 10668 w 13620"/>
                    <a:gd name="connsiteY5" fmla="*/ 571 h 17335"/>
                    <a:gd name="connsiteX6" fmla="*/ 12573 w 13620"/>
                    <a:gd name="connsiteY6" fmla="*/ 2000 h 17335"/>
                    <a:gd name="connsiteX7" fmla="*/ 13430 w 13620"/>
                    <a:gd name="connsiteY7" fmla="*/ 4096 h 17335"/>
                    <a:gd name="connsiteX8" fmla="*/ 13621 w 13620"/>
                    <a:gd name="connsiteY8" fmla="*/ 6858 h 17335"/>
                    <a:gd name="connsiteX9" fmla="*/ 13621 w 13620"/>
                    <a:gd name="connsiteY9" fmla="*/ 17240 h 17335"/>
                    <a:gd name="connsiteX10" fmla="*/ 10763 w 13620"/>
                    <a:gd name="connsiteY10" fmla="*/ 17240 h 17335"/>
                    <a:gd name="connsiteX11" fmla="*/ 10763 w 13620"/>
                    <a:gd name="connsiteY11" fmla="*/ 6953 h 17335"/>
                    <a:gd name="connsiteX12" fmla="*/ 10477 w 13620"/>
                    <a:gd name="connsiteY12" fmla="*/ 4381 h 17335"/>
                    <a:gd name="connsiteX13" fmla="*/ 9335 w 13620"/>
                    <a:gd name="connsiteY13" fmla="*/ 3048 h 17335"/>
                    <a:gd name="connsiteX14" fmla="*/ 7334 w 13620"/>
                    <a:gd name="connsiteY14" fmla="*/ 2572 h 17335"/>
                    <a:gd name="connsiteX15" fmla="*/ 4191 w 13620"/>
                    <a:gd name="connsiteY15" fmla="*/ 3715 h 17335"/>
                    <a:gd name="connsiteX16" fmla="*/ 2858 w 13620"/>
                    <a:gd name="connsiteY16" fmla="*/ 8096 h 17335"/>
                    <a:gd name="connsiteX17" fmla="*/ 2858 w 13620"/>
                    <a:gd name="connsiteY17" fmla="*/ 17336 h 17335"/>
                    <a:gd name="connsiteX18" fmla="*/ 0 w 13620"/>
                    <a:gd name="connsiteY18" fmla="*/ 17336 h 1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19" h="17335">
                      <a:moveTo>
                        <a:pt x="0" y="17240"/>
                      </a:moveTo>
                      <a:lnTo>
                        <a:pt x="0" y="381"/>
                      </a:lnTo>
                      <a:lnTo>
                        <a:pt x="2572" y="381"/>
                      </a:lnTo>
                      <a:lnTo>
                        <a:pt x="2572" y="2762"/>
                      </a:lnTo>
                      <a:cubicBezTo>
                        <a:pt x="3810" y="953"/>
                        <a:pt x="5620" y="0"/>
                        <a:pt x="7906" y="0"/>
                      </a:cubicBezTo>
                      <a:cubicBezTo>
                        <a:pt x="8954" y="0"/>
                        <a:pt x="9811" y="190"/>
                        <a:pt x="10668" y="571"/>
                      </a:cubicBezTo>
                      <a:cubicBezTo>
                        <a:pt x="11525" y="953"/>
                        <a:pt x="12192" y="1429"/>
                        <a:pt x="12573" y="2000"/>
                      </a:cubicBezTo>
                      <a:cubicBezTo>
                        <a:pt x="12954" y="2572"/>
                        <a:pt x="13335" y="3334"/>
                        <a:pt x="13430" y="4096"/>
                      </a:cubicBezTo>
                      <a:cubicBezTo>
                        <a:pt x="13526" y="4667"/>
                        <a:pt x="13621" y="5524"/>
                        <a:pt x="13621" y="6858"/>
                      </a:cubicBezTo>
                      <a:lnTo>
                        <a:pt x="13621" y="17240"/>
                      </a:lnTo>
                      <a:lnTo>
                        <a:pt x="10763" y="17240"/>
                      </a:lnTo>
                      <a:lnTo>
                        <a:pt x="10763" y="6953"/>
                      </a:lnTo>
                      <a:cubicBezTo>
                        <a:pt x="10763" y="5810"/>
                        <a:pt x="10668" y="4953"/>
                        <a:pt x="10477" y="4381"/>
                      </a:cubicBezTo>
                      <a:cubicBezTo>
                        <a:pt x="10287" y="3810"/>
                        <a:pt x="9906" y="3334"/>
                        <a:pt x="9335" y="3048"/>
                      </a:cubicBezTo>
                      <a:cubicBezTo>
                        <a:pt x="8763" y="2667"/>
                        <a:pt x="8096" y="2572"/>
                        <a:pt x="7334" y="2572"/>
                      </a:cubicBezTo>
                      <a:cubicBezTo>
                        <a:pt x="6096" y="2572"/>
                        <a:pt x="5048" y="2953"/>
                        <a:pt x="4191" y="3715"/>
                      </a:cubicBezTo>
                      <a:cubicBezTo>
                        <a:pt x="3334" y="4477"/>
                        <a:pt x="2858" y="5905"/>
                        <a:pt x="2858" y="8096"/>
                      </a:cubicBezTo>
                      <a:lnTo>
                        <a:pt x="2858" y="17336"/>
                      </a:lnTo>
                      <a:lnTo>
                        <a:pt x="0" y="17336"/>
                      </a:lnTo>
                      <a:close/>
                    </a:path>
                  </a:pathLst>
                </a:custGeom>
                <a:solidFill>
                  <a:srgbClr val="23509E"/>
                </a:solidFill>
                <a:ln w="9525" cap="flat">
                  <a:noFill/>
                  <a:prstDash val="solid"/>
                  <a:miter/>
                </a:ln>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en-IE"/>
                </a:p>
              </p:txBody>
            </p:sp>
          </p:grpSp>
        </p:grpSp>
      </p:grpSp>
      <p:sp>
        <p:nvSpPr>
          <p:cNvPr id="2135" name="Rectangle 82">
            <a:extLst>
              <a:ext uri="{FF2B5EF4-FFF2-40B4-BE49-F238E27FC236}">
                <a16:creationId xmlns:a16="http://schemas.microsoft.com/office/drawing/2014/main" id="{17A638CD-E16A-4268-90BE-49D660E063BC}"/>
              </a:ext>
            </a:extLst>
          </p:cNvPr>
          <p:cNvSpPr>
            <a:spLocks noChangeArrowheads="1"/>
          </p:cNvSpPr>
          <p:nvPr/>
        </p:nvSpPr>
        <p:spPr bwMode="auto">
          <a:xfrm>
            <a:off x="3852469" y="749662"/>
            <a:ext cx="8215987" cy="5047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l"/>
            <a:endParaRPr lang="en-GB" sz="2400">
              <a:solidFill>
                <a:srgbClr val="595959"/>
              </a:solidFill>
              <a:latin typeface="Nuacht Serif Text"/>
            </a:endParaRPr>
          </a:p>
          <a:p>
            <a:pPr algn="l"/>
            <a:r>
              <a:rPr lang="en-GB" sz="2400" b="0" i="0">
                <a:solidFill>
                  <a:srgbClr val="595959"/>
                </a:solidFill>
                <a:effectLst/>
                <a:latin typeface="Nuacht Serif Text"/>
              </a:rPr>
              <a:t>Breda Fox, directora de LEO Galway, explica...</a:t>
            </a:r>
          </a:p>
          <a:p>
            <a:pPr algn="l"/>
            <a:endParaRPr lang="en-GB" sz="2400">
              <a:solidFill>
                <a:srgbClr val="595959"/>
              </a:solidFill>
              <a:latin typeface="Nuacht Serif Text"/>
            </a:endParaRPr>
          </a:p>
          <a:p>
            <a:pPr algn="l"/>
            <a:r>
              <a:rPr lang="en-GB" sz="2400" b="0" i="1">
                <a:solidFill>
                  <a:srgbClr val="595959"/>
                </a:solidFill>
                <a:effectLst/>
                <a:latin typeface="Nuacht Serif Text"/>
              </a:rPr>
              <a:t>"En el caso de Peter, pensaba que necesitaba invertir en nuevos equipos en 2016 para satisfacer la demanda de Estados Unidos, pero tras la intervención de Lean, el negocio se transformó y la productividad se duplicó sin ninguna inversión adicional. Un ejemplo es un proceso de embalaje que originalmente llevaba a dos hombres 90 minutos se redujo a un hombre y 10 minutos. Ahora es nuestro mejor defensor del programa porque ha experimentado el impacto real del mismo en su negocio."</a:t>
            </a:r>
          </a:p>
          <a:p>
            <a:pPr algn="l"/>
            <a:endParaRPr lang="en-GB" sz="2400">
              <a:solidFill>
                <a:srgbClr val="595959"/>
              </a:solidFill>
              <a:latin typeface="Nuacht Serif Text"/>
            </a:endParaRPr>
          </a:p>
          <a:p>
            <a:pPr eaLnBrk="0" fontAlgn="base" hangingPunct="0">
              <a:spcBef>
                <a:spcPct val="0"/>
              </a:spcBef>
              <a:spcAft>
                <a:spcPct val="0"/>
              </a:spcAft>
            </a:pPr>
            <a:r>
              <a:rPr lang="en-US" sz="1600" i="1">
                <a:solidFill>
                  <a:srgbClr val="595959"/>
                </a:solidFill>
              </a:rPr>
              <a:t>Cortesía : Local Enterprise Office, Irlanda</a:t>
            </a:r>
          </a:p>
          <a:p>
            <a:pPr marL="0" marR="0" lvl="0" indent="0" algn="l" defTabSz="914400" rtl="0" eaLnBrk="0" fontAlgn="base" latinLnBrk="0" hangingPunct="0">
              <a:lnSpc>
                <a:spcPct val="100000"/>
              </a:lnSpc>
              <a:spcBef>
                <a:spcPct val="0"/>
              </a:spcBef>
              <a:spcAft>
                <a:spcPct val="0"/>
              </a:spcAft>
              <a:buClrTx/>
              <a:buSzTx/>
              <a:buFontTx/>
              <a:buNone/>
            </a:pPr>
            <a:endParaRPr kumimoji="0" lang="en-IE" altLang="en-US" sz="1800" b="0" i="0" u="none" strike="noStrike" cap="none" normalizeH="0" baseline="0">
              <a:ln>
                <a:noFill/>
              </a:ln>
              <a:solidFill>
                <a:schemeClr val="tx1"/>
              </a:solidFill>
              <a:effectLst/>
              <a:latin typeface="Arial" panose="020B0604020202020204" pitchFamily="34" charset="0"/>
            </a:endParaRPr>
          </a:p>
        </p:txBody>
      </p:sp>
      <p:sp>
        <p:nvSpPr>
          <p:cNvPr id="2136" name="Rectangle 83">
            <a:extLst>
              <a:ext uri="{FF2B5EF4-FFF2-40B4-BE49-F238E27FC236}">
                <a16:creationId xmlns:a16="http://schemas.microsoft.com/office/drawing/2014/main" id="{F8BDDBBF-7CC6-3CB5-7DE1-EBB34D6DAD8A}"/>
              </a:ext>
            </a:extLst>
          </p:cNvPr>
          <p:cNvSpPr>
            <a:spLocks noChangeArrowheads="1"/>
          </p:cNvSpPr>
          <p:nvPr/>
        </p:nvSpPr>
        <p:spPr bwMode="auto">
          <a:xfrm>
            <a:off x="0" y="302895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IE"/>
          </a:p>
        </p:txBody>
      </p:sp>
      <p:pic>
        <p:nvPicPr>
          <p:cNvPr id="5" name="Picture 4">
            <a:extLst>
              <a:ext uri="{FF2B5EF4-FFF2-40B4-BE49-F238E27FC236}">
                <a16:creationId xmlns:a16="http://schemas.microsoft.com/office/drawing/2014/main" id="{565803FC-720F-D576-A476-A414FA274A34}"/>
              </a:ext>
            </a:extLst>
          </p:cNvPr>
          <p:cNvPicPr>
            <a:picLocks noChangeAspect="1"/>
          </p:cNvPicPr>
          <p:nvPr/>
        </p:nvPicPr>
        <p:blipFill>
          <a:blip r:embed="rId3"/>
          <a:stretch>
            <a:fillRect/>
          </a:stretch>
        </p:blipFill>
        <p:spPr>
          <a:xfrm>
            <a:off x="223444" y="3689229"/>
            <a:ext cx="3111660" cy="2368672"/>
          </a:xfrm>
          <a:prstGeom prst="rect">
            <a:avLst/>
          </a:prstGeom>
        </p:spPr>
      </p:pic>
    </p:spTree>
    <p:extLst>
      <p:ext uri="{BB962C8B-B14F-4D97-AF65-F5344CB8AC3E}">
        <p14:creationId xmlns:p14="http://schemas.microsoft.com/office/powerpoint/2010/main" val="3295798438"/>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104F4AC-36E8-A936-ABD0-A3A99F02420A}"/>
              </a:ext>
            </a:extLst>
          </p:cNvPr>
          <p:cNvSpPr/>
          <p:nvPr/>
        </p:nvSpPr>
        <p:spPr>
          <a:xfrm>
            <a:off x="1" y="291787"/>
            <a:ext cx="12191999" cy="11998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6">
            <a:extLst>
              <a:ext uri="{FF2B5EF4-FFF2-40B4-BE49-F238E27FC236}">
                <a16:creationId xmlns:a16="http://schemas.microsoft.com/office/drawing/2014/main" id="{1DB3F67A-6427-8027-D6F4-7B30646855D1}"/>
              </a:ext>
            </a:extLst>
          </p:cNvPr>
          <p:cNvSpPr txBox="1"/>
          <p:nvPr/>
        </p:nvSpPr>
        <p:spPr>
          <a:xfrm>
            <a:off x="529758" y="344234"/>
            <a:ext cx="11662242" cy="1147363"/>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tabLst>
                <a:tab pos="1239838" algn="l"/>
              </a:tabLst>
            </a:pPr>
            <a:r>
              <a:rPr lang="en-US" sz="4000">
                <a:solidFill>
                  <a:schemeClr val="bg1"/>
                </a:solidFill>
              </a:rPr>
              <a:t>03 </a:t>
            </a:r>
            <a:r>
              <a:rPr lang="en-US">
                <a:solidFill>
                  <a:schemeClr val="bg1"/>
                </a:solidFill>
              </a:rPr>
              <a:t>Fase posterior a la crisis</a:t>
            </a:r>
          </a:p>
        </p:txBody>
      </p:sp>
      <p:sp>
        <p:nvSpPr>
          <p:cNvPr id="9" name="Rectangle 8">
            <a:extLst>
              <a:ext uri="{FF2B5EF4-FFF2-40B4-BE49-F238E27FC236}">
                <a16:creationId xmlns:a16="http://schemas.microsoft.com/office/drawing/2014/main" id="{7711F58D-17DE-43CD-ED1A-5168C9119540}"/>
              </a:ext>
            </a:extLst>
          </p:cNvPr>
          <p:cNvSpPr/>
          <p:nvPr/>
        </p:nvSpPr>
        <p:spPr>
          <a:xfrm rot="5400000">
            <a:off x="679094" y="805607"/>
            <a:ext cx="144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cs typeface="Calibri" panose="020F0502020204030204" pitchFamily="34" charset="0"/>
            </a:endParaRPr>
          </a:p>
        </p:txBody>
      </p:sp>
      <p:sp>
        <p:nvSpPr>
          <p:cNvPr id="13" name="Text Placeholder 12">
            <a:extLst>
              <a:ext uri="{FF2B5EF4-FFF2-40B4-BE49-F238E27FC236}">
                <a16:creationId xmlns:a16="http://schemas.microsoft.com/office/drawing/2014/main" id="{4F366160-1DE0-6678-0E05-84170867B321}"/>
              </a:ext>
            </a:extLst>
          </p:cNvPr>
          <p:cNvSpPr>
            <a:spLocks noGrp="1"/>
          </p:cNvSpPr>
          <p:nvPr>
            <p:ph type="body" sz="quarter" idx="18"/>
          </p:nvPr>
        </p:nvSpPr>
        <p:spPr>
          <a:xfrm>
            <a:off x="1878963" y="1620552"/>
            <a:ext cx="9515167" cy="4650317"/>
          </a:xfrm>
        </p:spPr>
        <p:txBody>
          <a:bodyPr>
            <a:normAutofit/>
          </a:bodyPr>
          <a:lstStyle/>
          <a:p>
            <a:pPr marL="12700" indent="-12700" algn="just"/>
            <a:r>
              <a:rPr lang="en-GB" sz="2200">
                <a:latin typeface="Calibri" panose="020F0502020204030204" pitchFamily="34" charset="0"/>
                <a:ea typeface="Lato Light" panose="020F0502020204030203" pitchFamily="34" charset="0"/>
                <a:cs typeface="Calibri" panose="020F0502020204030204" pitchFamily="34" charset="0"/>
              </a:rPr>
              <a:t>En la fase posterior a la crisis, la organización </a:t>
            </a:r>
            <a:r>
              <a:rPr lang="en-GB" sz="2200" b="1" u="sng">
                <a:latin typeface="Calibri" panose="020F0502020204030204" pitchFamily="34" charset="0"/>
                <a:ea typeface="Lato Light" panose="020F0502020204030203" pitchFamily="34" charset="0"/>
                <a:cs typeface="Calibri" panose="020F0502020204030204" pitchFamily="34" charset="0"/>
              </a:rPr>
              <a:t>vuelve a la normalidad</a:t>
            </a:r>
            <a:r>
              <a:rPr lang="en-GB" sz="2200">
                <a:latin typeface="Calibri" panose="020F0502020204030204" pitchFamily="34" charset="0"/>
                <a:ea typeface="Lato Light" panose="020F0502020204030203" pitchFamily="34" charset="0"/>
                <a:cs typeface="Calibri" panose="020F0502020204030204" pitchFamily="34" charset="0"/>
              </a:rPr>
              <a:t>. La crisis ya no es el punto central de la atención de la dirección, pero aún requiere cierta atención.  Como se ha señalado anteriormente, la reparación de la reputación puede continuar o iniciarse durante esta fase. Se requiere una importante comunicación de seguimiento. </a:t>
            </a:r>
          </a:p>
          <a:p>
            <a:pPr marL="12700" indent="-12700" algn="just"/>
            <a:r>
              <a:rPr lang="en-GB" sz="2200">
                <a:latin typeface="Calibri" panose="020F0502020204030204" pitchFamily="34" charset="0"/>
                <a:ea typeface="Lato Light" panose="020F0502020204030203" pitchFamily="34" charset="0"/>
                <a:cs typeface="Calibri" panose="020F0502020204030204" pitchFamily="34" charset="0"/>
              </a:rPr>
              <a:t>En primer lugar, los gestores de crisis suelen prometer que proporcionarán información adicional durante la fase de crisis.  Los gestores de crisis deben cumplir esas promesas informativas o se arriesgan a perder la confianza de los que quieren la información. </a:t>
            </a:r>
          </a:p>
          <a:p>
            <a:pPr marL="12700" indent="-12700" algn="just"/>
            <a:endParaRPr lang="en-GB" sz="2200">
              <a:latin typeface="Calibri" panose="020F0502020204030204" pitchFamily="34" charset="0"/>
              <a:ea typeface="Lato Light" panose="020F0502020204030203" pitchFamily="34" charset="0"/>
              <a:cs typeface="Calibri" panose="020F0502020204030204" pitchFamily="34" charset="0"/>
            </a:endParaRPr>
          </a:p>
          <a:p>
            <a:pPr marL="12700" indent="-12700" algn="just"/>
            <a:endParaRPr lang="en-GB" sz="2200">
              <a:latin typeface="Calibri" panose="020F0502020204030204" pitchFamily="34" charset="0"/>
              <a:ea typeface="Lato Light" panose="020F0502020204030203" pitchFamily="34" charset="0"/>
              <a:cs typeface="Calibri" panose="020F0502020204030204" pitchFamily="34" charset="0"/>
            </a:endParaRPr>
          </a:p>
        </p:txBody>
      </p:sp>
      <p:grpSp>
        <p:nvGrpSpPr>
          <p:cNvPr id="3" name="Group 2">
            <a:extLst>
              <a:ext uri="{FF2B5EF4-FFF2-40B4-BE49-F238E27FC236}">
                <a16:creationId xmlns:a16="http://schemas.microsoft.com/office/drawing/2014/main" id="{77FEAF0F-B595-DA03-AE51-E7CA5AD4930C}"/>
              </a:ext>
            </a:extLst>
          </p:cNvPr>
          <p:cNvGrpSpPr/>
          <p:nvPr/>
        </p:nvGrpSpPr>
        <p:grpSpPr>
          <a:xfrm>
            <a:off x="7965219" y="4573339"/>
            <a:ext cx="4216035" cy="2093295"/>
            <a:chOff x="4406574" y="3422083"/>
            <a:chExt cx="4216035" cy="2093295"/>
          </a:xfrm>
        </p:grpSpPr>
        <p:sp>
          <p:nvSpPr>
            <p:cNvPr id="5" name="Freeform 4">
              <a:extLst>
                <a:ext uri="{FF2B5EF4-FFF2-40B4-BE49-F238E27FC236}">
                  <a16:creationId xmlns:a16="http://schemas.microsoft.com/office/drawing/2014/main" id="{93D7F185-A4CA-F597-F3A3-3F326AFC8228}"/>
                </a:ext>
              </a:extLst>
            </p:cNvPr>
            <p:cNvSpPr/>
            <p:nvPr/>
          </p:nvSpPr>
          <p:spPr>
            <a:xfrm>
              <a:off x="5172562" y="3422083"/>
              <a:ext cx="2682509" cy="1179998"/>
            </a:xfrm>
            <a:custGeom>
              <a:avLst/>
              <a:gdLst>
                <a:gd name="connsiteX0" fmla="*/ 335061 w 1596848"/>
                <a:gd name="connsiteY0" fmla="*/ 685817 h 702431"/>
                <a:gd name="connsiteX1" fmla="*/ 795655 w 1596848"/>
                <a:gd name="connsiteY1" fmla="*/ 532593 h 702431"/>
                <a:gd name="connsiteX2" fmla="*/ 1276555 w 1596848"/>
                <a:gd name="connsiteY2" fmla="*/ 702431 h 702431"/>
                <a:gd name="connsiteX3" fmla="*/ 1544235 w 1596848"/>
                <a:gd name="connsiteY3" fmla="*/ 348908 h 702431"/>
                <a:gd name="connsiteX4" fmla="*/ 1596848 w 1596848"/>
                <a:gd name="connsiteY4" fmla="*/ 286142 h 702431"/>
                <a:gd name="connsiteX5" fmla="*/ 798424 w 1596848"/>
                <a:gd name="connsiteY5" fmla="*/ 0 h 702431"/>
                <a:gd name="connsiteX6" fmla="*/ 0 w 1596848"/>
                <a:gd name="connsiteY6" fmla="*/ 286142 h 702431"/>
                <a:gd name="connsiteX7" fmla="*/ 52613 w 1596848"/>
                <a:gd name="connsiteY7" fmla="*/ 348908 h 702431"/>
                <a:gd name="connsiteX8" fmla="*/ 335061 w 1596848"/>
                <a:gd name="connsiteY8" fmla="*/ 685817 h 702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6848" h="702431">
                  <a:moveTo>
                    <a:pt x="335061" y="685817"/>
                  </a:moveTo>
                  <a:cubicBezTo>
                    <a:pt x="463363" y="589821"/>
                    <a:pt x="623048" y="532593"/>
                    <a:pt x="795655" y="532593"/>
                  </a:cubicBezTo>
                  <a:cubicBezTo>
                    <a:pt x="977492" y="532593"/>
                    <a:pt x="1145485" y="596282"/>
                    <a:pt x="1276555" y="702431"/>
                  </a:cubicBezTo>
                  <a:lnTo>
                    <a:pt x="1544235" y="348908"/>
                  </a:lnTo>
                  <a:lnTo>
                    <a:pt x="1596848" y="286142"/>
                  </a:lnTo>
                  <a:cubicBezTo>
                    <a:pt x="1379935" y="107072"/>
                    <a:pt x="1102102" y="0"/>
                    <a:pt x="798424" y="0"/>
                  </a:cubicBezTo>
                  <a:cubicBezTo>
                    <a:pt x="495669" y="0"/>
                    <a:pt x="216913" y="107072"/>
                    <a:pt x="0" y="286142"/>
                  </a:cubicBezTo>
                  <a:lnTo>
                    <a:pt x="52613" y="348908"/>
                  </a:lnTo>
                  <a:lnTo>
                    <a:pt x="335061" y="685817"/>
                  </a:lnTo>
                  <a:close/>
                </a:path>
              </a:pathLst>
            </a:custGeom>
            <a:solidFill>
              <a:srgbClr val="F16924"/>
            </a:solidFill>
            <a:ln w="9220" cap="flat">
              <a:solidFill>
                <a:srgbClr val="FFFFFF"/>
              </a:solid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3D80EA6A-9C36-27A4-D5AA-A636809B7C90}"/>
                </a:ext>
              </a:extLst>
            </p:cNvPr>
            <p:cNvSpPr/>
            <p:nvPr/>
          </p:nvSpPr>
          <p:spPr>
            <a:xfrm>
              <a:off x="4406574" y="3902766"/>
              <a:ext cx="1328849" cy="1612612"/>
            </a:xfrm>
            <a:custGeom>
              <a:avLst/>
              <a:gdLst>
                <a:gd name="connsiteX0" fmla="*/ 791040 w 791039"/>
                <a:gd name="connsiteY0" fmla="*/ 399675 h 959958"/>
                <a:gd name="connsiteX1" fmla="*/ 509515 w 791039"/>
                <a:gd name="connsiteY1" fmla="*/ 62766 h 959958"/>
                <a:gd name="connsiteX2" fmla="*/ 456902 w 791039"/>
                <a:gd name="connsiteY2" fmla="*/ 0 h 959958"/>
                <a:gd name="connsiteX3" fmla="*/ 0 w 791039"/>
                <a:gd name="connsiteY3" fmla="*/ 959959 h 959958"/>
                <a:gd name="connsiteX4" fmla="*/ 88611 w 791039"/>
                <a:gd name="connsiteY4" fmla="*/ 959959 h 959958"/>
                <a:gd name="connsiteX5" fmla="*/ 485516 w 791039"/>
                <a:gd name="connsiteY5" fmla="*/ 959959 h 959958"/>
                <a:gd name="connsiteX6" fmla="*/ 791040 w 791039"/>
                <a:gd name="connsiteY6" fmla="*/ 399675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039" h="959958">
                  <a:moveTo>
                    <a:pt x="791040" y="399675"/>
                  </a:moveTo>
                  <a:lnTo>
                    <a:pt x="509515" y="62766"/>
                  </a:lnTo>
                  <a:lnTo>
                    <a:pt x="456902" y="0"/>
                  </a:lnTo>
                  <a:cubicBezTo>
                    <a:pt x="179992" y="227990"/>
                    <a:pt x="2769" y="573206"/>
                    <a:pt x="0" y="959959"/>
                  </a:cubicBezTo>
                  <a:lnTo>
                    <a:pt x="88611" y="959959"/>
                  </a:lnTo>
                  <a:lnTo>
                    <a:pt x="485516" y="959959"/>
                  </a:lnTo>
                  <a:cubicBezTo>
                    <a:pt x="502130" y="731046"/>
                    <a:pt x="618433" y="529823"/>
                    <a:pt x="791040" y="399675"/>
                  </a:cubicBezTo>
                  <a:close/>
                </a:path>
              </a:pathLst>
            </a:custGeom>
            <a:solidFill>
              <a:srgbClr val="B41F7A"/>
            </a:solidFill>
            <a:ln w="9220" cap="flat">
              <a:solidFill>
                <a:srgbClr val="FFFFFF"/>
              </a:solid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47DE1F3F-6C42-1D3F-A8E9-BB455C2F2560}"/>
                </a:ext>
              </a:extLst>
            </p:cNvPr>
            <p:cNvSpPr/>
            <p:nvPr/>
          </p:nvSpPr>
          <p:spPr>
            <a:xfrm>
              <a:off x="7317018" y="3901216"/>
              <a:ext cx="1305591" cy="1612612"/>
            </a:xfrm>
            <a:custGeom>
              <a:avLst/>
              <a:gdLst>
                <a:gd name="connsiteX0" fmla="*/ 777194 w 777194"/>
                <a:gd name="connsiteY0" fmla="*/ 959959 h 959958"/>
                <a:gd name="connsiteX1" fmla="*/ 320293 w 777194"/>
                <a:gd name="connsiteY1" fmla="*/ 0 h 959958"/>
                <a:gd name="connsiteX2" fmla="*/ 267680 w 777194"/>
                <a:gd name="connsiteY2" fmla="*/ 62766 h 959958"/>
                <a:gd name="connsiteX3" fmla="*/ 0 w 777194"/>
                <a:gd name="connsiteY3" fmla="*/ 416290 h 959958"/>
                <a:gd name="connsiteX4" fmla="*/ 284295 w 777194"/>
                <a:gd name="connsiteY4" fmla="*/ 959036 h 959958"/>
                <a:gd name="connsiteX5" fmla="*/ 687660 w 777194"/>
                <a:gd name="connsiteY5" fmla="*/ 959036 h 959958"/>
                <a:gd name="connsiteX6" fmla="*/ 777194 w 777194"/>
                <a:gd name="connsiteY6" fmla="*/ 959036 h 95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194" h="959958">
                  <a:moveTo>
                    <a:pt x="777194" y="959959"/>
                  </a:moveTo>
                  <a:cubicBezTo>
                    <a:pt x="774425" y="573206"/>
                    <a:pt x="597203" y="228913"/>
                    <a:pt x="320293" y="0"/>
                  </a:cubicBezTo>
                  <a:lnTo>
                    <a:pt x="267680" y="62766"/>
                  </a:lnTo>
                  <a:lnTo>
                    <a:pt x="0" y="416290"/>
                  </a:lnTo>
                  <a:cubicBezTo>
                    <a:pt x="161531" y="546438"/>
                    <a:pt x="268603" y="740276"/>
                    <a:pt x="284295" y="959036"/>
                  </a:cubicBezTo>
                  <a:lnTo>
                    <a:pt x="687660" y="959036"/>
                  </a:lnTo>
                  <a:lnTo>
                    <a:pt x="777194" y="959036"/>
                  </a:lnTo>
                  <a:close/>
                </a:path>
              </a:pathLst>
            </a:custGeom>
            <a:solidFill>
              <a:srgbClr val="EDA13E"/>
            </a:solidFill>
            <a:ln w="9220" cap="flat">
              <a:solidFill>
                <a:srgbClr val="FFFFFF"/>
              </a:solidFill>
              <a:prstDash val="solid"/>
              <a:miter/>
            </a:ln>
          </p:spPr>
          <p:txBody>
            <a:bodyPr rtlCol="0" anchor="ctr"/>
            <a:lstStyle/>
            <a:p>
              <a:endParaRPr lang="en-US"/>
            </a:p>
          </p:txBody>
        </p:sp>
        <p:sp>
          <p:nvSpPr>
            <p:cNvPr id="10" name="Shape">
              <a:extLst>
                <a:ext uri="{FF2B5EF4-FFF2-40B4-BE49-F238E27FC236}">
                  <a16:creationId xmlns:a16="http://schemas.microsoft.com/office/drawing/2014/main" id="{F05E3392-9598-2A67-7F05-9E9830C73BA0}"/>
                </a:ext>
              </a:extLst>
            </p:cNvPr>
            <p:cNvSpPr/>
            <p:nvPr/>
          </p:nvSpPr>
          <p:spPr>
            <a:xfrm>
              <a:off x="6042522" y="5014800"/>
              <a:ext cx="959643" cy="479822"/>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1300" y="21600"/>
                  </a:lnTo>
                  <a:cubicBezTo>
                    <a:pt x="21300" y="10029"/>
                    <a:pt x="16586" y="600"/>
                    <a:pt x="10800" y="600"/>
                  </a:cubicBezTo>
                  <a:cubicBezTo>
                    <a:pt x="5014" y="600"/>
                    <a:pt x="300" y="10029"/>
                    <a:pt x="300" y="21600"/>
                  </a:cubicBezTo>
                  <a:lnTo>
                    <a:pt x="0" y="21600"/>
                  </a:lnTo>
                  <a:cubicBezTo>
                    <a:pt x="0" y="9686"/>
                    <a:pt x="4843" y="0"/>
                    <a:pt x="10800" y="0"/>
                  </a:cubicBezTo>
                  <a:cubicBezTo>
                    <a:pt x="16757" y="0"/>
                    <a:pt x="21600" y="9686"/>
                    <a:pt x="21600" y="21600"/>
                  </a:cubicBezTo>
                  <a:close/>
                </a:path>
              </a:pathLst>
            </a:custGeom>
            <a:solidFill>
              <a:schemeClr val="bg2"/>
            </a:solidFill>
            <a:ln w="12700">
              <a:miter lim="400000"/>
            </a:ln>
          </p:spPr>
          <p:txBody>
            <a:bodyPr lIns="38100" tIns="38100" rIns="38100" bIns="38100" anchor="ctr"/>
            <a:lstStyle/>
            <a:p>
              <a:pPr>
                <a:defRPr sz="3000">
                  <a:solidFill>
                    <a:srgbClr val="FFFFFF"/>
                  </a:solidFill>
                </a:defRPr>
              </a:pPr>
              <a:endParaRPr/>
            </a:p>
          </p:txBody>
        </p:sp>
        <p:grpSp>
          <p:nvGrpSpPr>
            <p:cNvPr id="11" name="Group 10">
              <a:extLst>
                <a:ext uri="{FF2B5EF4-FFF2-40B4-BE49-F238E27FC236}">
                  <a16:creationId xmlns:a16="http://schemas.microsoft.com/office/drawing/2014/main" id="{BB48FDD9-01CE-76CE-D74F-05CE3D36AD9D}"/>
                </a:ext>
              </a:extLst>
            </p:cNvPr>
            <p:cNvGrpSpPr/>
            <p:nvPr/>
          </p:nvGrpSpPr>
          <p:grpSpPr>
            <a:xfrm>
              <a:off x="4617055" y="4511801"/>
              <a:ext cx="606307" cy="607812"/>
              <a:chOff x="3728648" y="2288053"/>
              <a:chExt cx="1103278" cy="1106017"/>
            </a:xfrm>
            <a:solidFill>
              <a:schemeClr val="bg1"/>
            </a:solidFill>
          </p:grpSpPr>
          <p:sp>
            <p:nvSpPr>
              <p:cNvPr id="27" name="Freeform 26">
                <a:extLst>
                  <a:ext uri="{FF2B5EF4-FFF2-40B4-BE49-F238E27FC236}">
                    <a16:creationId xmlns:a16="http://schemas.microsoft.com/office/drawing/2014/main" id="{C55D07B0-5430-0BBC-787F-1C54ACBD414D}"/>
                  </a:ext>
                </a:extLst>
              </p:cNvPr>
              <p:cNvSpPr/>
              <p:nvPr/>
            </p:nvSpPr>
            <p:spPr>
              <a:xfrm>
                <a:off x="3728648" y="2288053"/>
                <a:ext cx="924311" cy="773459"/>
              </a:xfrm>
              <a:custGeom>
                <a:avLst/>
                <a:gdLst>
                  <a:gd name="connsiteX0" fmla="*/ 74053 w 924311"/>
                  <a:gd name="connsiteY0" fmla="*/ 773459 h 773459"/>
                  <a:gd name="connsiteX1" fmla="*/ 82283 w 924311"/>
                  <a:gd name="connsiteY1" fmla="*/ 737803 h 773459"/>
                  <a:gd name="connsiteX2" fmla="*/ 41142 w 924311"/>
                  <a:gd name="connsiteY2" fmla="*/ 682948 h 773459"/>
                  <a:gd name="connsiteX3" fmla="*/ 41142 w 924311"/>
                  <a:gd name="connsiteY3" fmla="*/ 93254 h 773459"/>
                  <a:gd name="connsiteX4" fmla="*/ 95997 w 924311"/>
                  <a:gd name="connsiteY4" fmla="*/ 38399 h 773459"/>
                  <a:gd name="connsiteX5" fmla="*/ 833800 w 924311"/>
                  <a:gd name="connsiteY5" fmla="*/ 38399 h 773459"/>
                  <a:gd name="connsiteX6" fmla="*/ 888656 w 924311"/>
                  <a:gd name="connsiteY6" fmla="*/ 93254 h 773459"/>
                  <a:gd name="connsiteX7" fmla="*/ 888656 w 924311"/>
                  <a:gd name="connsiteY7" fmla="*/ 112453 h 773459"/>
                  <a:gd name="connsiteX8" fmla="*/ 924311 w 924311"/>
                  <a:gd name="connsiteY8" fmla="*/ 112453 h 773459"/>
                  <a:gd name="connsiteX9" fmla="*/ 924311 w 924311"/>
                  <a:gd name="connsiteY9" fmla="*/ 93254 h 773459"/>
                  <a:gd name="connsiteX10" fmla="*/ 831058 w 924311"/>
                  <a:gd name="connsiteY10" fmla="*/ 0 h 773459"/>
                  <a:gd name="connsiteX11" fmla="*/ 93253 w 924311"/>
                  <a:gd name="connsiteY11" fmla="*/ 0 h 773459"/>
                  <a:gd name="connsiteX12" fmla="*/ 0 w 924311"/>
                  <a:gd name="connsiteY12" fmla="*/ 93254 h 773459"/>
                  <a:gd name="connsiteX13" fmla="*/ 0 w 924311"/>
                  <a:gd name="connsiteY13" fmla="*/ 685691 h 773459"/>
                  <a:gd name="connsiteX14" fmla="*/ 74053 w 924311"/>
                  <a:gd name="connsiteY14" fmla="*/ 773459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24311" h="773459">
                    <a:moveTo>
                      <a:pt x="74053" y="773459"/>
                    </a:moveTo>
                    <a:lnTo>
                      <a:pt x="82283" y="737803"/>
                    </a:lnTo>
                    <a:cubicBezTo>
                      <a:pt x="57597" y="732318"/>
                      <a:pt x="41142" y="710375"/>
                      <a:pt x="41142" y="682948"/>
                    </a:cubicBezTo>
                    <a:lnTo>
                      <a:pt x="41142" y="93254"/>
                    </a:lnTo>
                    <a:cubicBezTo>
                      <a:pt x="41142" y="63084"/>
                      <a:pt x="65825" y="38399"/>
                      <a:pt x="95997" y="38399"/>
                    </a:cubicBezTo>
                    <a:lnTo>
                      <a:pt x="833800" y="38399"/>
                    </a:lnTo>
                    <a:cubicBezTo>
                      <a:pt x="863972" y="38399"/>
                      <a:pt x="888656" y="63084"/>
                      <a:pt x="888656" y="93254"/>
                    </a:cubicBezTo>
                    <a:lnTo>
                      <a:pt x="888656" y="112453"/>
                    </a:lnTo>
                    <a:lnTo>
                      <a:pt x="924311" y="112453"/>
                    </a:lnTo>
                    <a:lnTo>
                      <a:pt x="924311" y="93254"/>
                    </a:lnTo>
                    <a:cubicBezTo>
                      <a:pt x="924311" y="41141"/>
                      <a:pt x="883170" y="0"/>
                      <a:pt x="831058" y="0"/>
                    </a:cubicBezTo>
                    <a:lnTo>
                      <a:pt x="93253" y="0"/>
                    </a:lnTo>
                    <a:cubicBezTo>
                      <a:pt x="41142" y="0"/>
                      <a:pt x="0" y="41141"/>
                      <a:pt x="0" y="93254"/>
                    </a:cubicBezTo>
                    <a:lnTo>
                      <a:pt x="0" y="685691"/>
                    </a:lnTo>
                    <a:cubicBezTo>
                      <a:pt x="2742" y="726832"/>
                      <a:pt x="32912" y="765231"/>
                      <a:pt x="74053" y="773459"/>
                    </a:cubicBezTo>
                    <a:close/>
                  </a:path>
                </a:pathLst>
              </a:custGeom>
              <a:grp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F43D0580-4BCD-71F0-08DA-982A351A2296}"/>
                  </a:ext>
                </a:extLst>
              </p:cNvPr>
              <p:cNvSpPr/>
              <p:nvPr/>
            </p:nvSpPr>
            <p:spPr>
              <a:xfrm>
                <a:off x="3879500" y="2364850"/>
                <a:ext cx="35655" cy="35655"/>
              </a:xfrm>
              <a:custGeom>
                <a:avLst/>
                <a:gdLst>
                  <a:gd name="connsiteX0" fmla="*/ 1 w 35655"/>
                  <a:gd name="connsiteY0" fmla="*/ 0 h 35655"/>
                  <a:gd name="connsiteX1" fmla="*/ 35656 w 35655"/>
                  <a:gd name="connsiteY1" fmla="*/ 0 h 35655"/>
                  <a:gd name="connsiteX2" fmla="*/ 35656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6" y="0"/>
                    </a:lnTo>
                    <a:lnTo>
                      <a:pt x="35656" y="35656"/>
                    </a:lnTo>
                    <a:lnTo>
                      <a:pt x="1" y="35656"/>
                    </a:lnTo>
                    <a:close/>
                  </a:path>
                </a:pathLst>
              </a:custGeom>
              <a:grp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D00956F1-75F6-7EF3-0724-D4DAD3582048}"/>
                  </a:ext>
                </a:extLst>
              </p:cNvPr>
              <p:cNvSpPr/>
              <p:nvPr/>
            </p:nvSpPr>
            <p:spPr>
              <a:xfrm>
                <a:off x="3953555" y="2364850"/>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9E5BB1E1-11B4-5FC8-5216-F86916519D86}"/>
                  </a:ext>
                </a:extLst>
              </p:cNvPr>
              <p:cNvSpPr/>
              <p:nvPr/>
            </p:nvSpPr>
            <p:spPr>
              <a:xfrm>
                <a:off x="3928870" y="2587013"/>
                <a:ext cx="903056" cy="807057"/>
              </a:xfrm>
              <a:custGeom>
                <a:avLst/>
                <a:gdLst>
                  <a:gd name="connsiteX0" fmla="*/ 732319 w 903056"/>
                  <a:gd name="connsiteY0" fmla="*/ 496440 h 807057"/>
                  <a:gd name="connsiteX1" fmla="*/ 762489 w 903056"/>
                  <a:gd name="connsiteY1" fmla="*/ 496440 h 807057"/>
                  <a:gd name="connsiteX2" fmla="*/ 762489 w 903056"/>
                  <a:gd name="connsiteY2" fmla="*/ 460785 h 807057"/>
                  <a:gd name="connsiteX3" fmla="*/ 740547 w 903056"/>
                  <a:gd name="connsiteY3" fmla="*/ 460785 h 807057"/>
                  <a:gd name="connsiteX4" fmla="*/ 724090 w 903056"/>
                  <a:gd name="connsiteY4" fmla="*/ 329131 h 807057"/>
                  <a:gd name="connsiteX5" fmla="*/ 724090 w 903056"/>
                  <a:gd name="connsiteY5" fmla="*/ 148109 h 807057"/>
                  <a:gd name="connsiteX6" fmla="*/ 688434 w 903056"/>
                  <a:gd name="connsiteY6" fmla="*/ 148109 h 807057"/>
                  <a:gd name="connsiteX7" fmla="*/ 688434 w 903056"/>
                  <a:gd name="connsiteY7" fmla="*/ 266048 h 807057"/>
                  <a:gd name="connsiteX8" fmla="*/ 652778 w 903056"/>
                  <a:gd name="connsiteY8" fmla="*/ 227650 h 807057"/>
                  <a:gd name="connsiteX9" fmla="*/ 652778 w 903056"/>
                  <a:gd name="connsiteY9" fmla="*/ 74055 h 807057"/>
                  <a:gd name="connsiteX10" fmla="*/ 617123 w 903056"/>
                  <a:gd name="connsiteY10" fmla="*/ 74055 h 807057"/>
                  <a:gd name="connsiteX11" fmla="*/ 617123 w 903056"/>
                  <a:gd name="connsiteY11" fmla="*/ 200222 h 807057"/>
                  <a:gd name="connsiteX12" fmla="*/ 581467 w 903056"/>
                  <a:gd name="connsiteY12" fmla="*/ 183765 h 807057"/>
                  <a:gd name="connsiteX13" fmla="*/ 581467 w 903056"/>
                  <a:gd name="connsiteY13" fmla="*/ 0 h 807057"/>
                  <a:gd name="connsiteX14" fmla="*/ 545810 w 903056"/>
                  <a:gd name="connsiteY14" fmla="*/ 0 h 807057"/>
                  <a:gd name="connsiteX15" fmla="*/ 545810 w 903056"/>
                  <a:gd name="connsiteY15" fmla="*/ 172795 h 807057"/>
                  <a:gd name="connsiteX16" fmla="*/ 510154 w 903056"/>
                  <a:gd name="connsiteY16" fmla="*/ 167309 h 807057"/>
                  <a:gd name="connsiteX17" fmla="*/ 510154 w 903056"/>
                  <a:gd name="connsiteY17" fmla="*/ 38399 h 807057"/>
                  <a:gd name="connsiteX18" fmla="*/ 474498 w 903056"/>
                  <a:gd name="connsiteY18" fmla="*/ 38399 h 807057"/>
                  <a:gd name="connsiteX19" fmla="*/ 474498 w 903056"/>
                  <a:gd name="connsiteY19" fmla="*/ 167309 h 807057"/>
                  <a:gd name="connsiteX20" fmla="*/ 438843 w 903056"/>
                  <a:gd name="connsiteY20" fmla="*/ 172795 h 807057"/>
                  <a:gd name="connsiteX21" fmla="*/ 438843 w 903056"/>
                  <a:gd name="connsiteY21" fmla="*/ 112453 h 807057"/>
                  <a:gd name="connsiteX22" fmla="*/ 403187 w 903056"/>
                  <a:gd name="connsiteY22" fmla="*/ 112453 h 807057"/>
                  <a:gd name="connsiteX23" fmla="*/ 403187 w 903056"/>
                  <a:gd name="connsiteY23" fmla="*/ 183765 h 807057"/>
                  <a:gd name="connsiteX24" fmla="*/ 367530 w 903056"/>
                  <a:gd name="connsiteY24" fmla="*/ 200222 h 807057"/>
                  <a:gd name="connsiteX25" fmla="*/ 367530 w 903056"/>
                  <a:gd name="connsiteY25" fmla="*/ 90512 h 807057"/>
                  <a:gd name="connsiteX26" fmla="*/ 331874 w 903056"/>
                  <a:gd name="connsiteY26" fmla="*/ 90512 h 807057"/>
                  <a:gd name="connsiteX27" fmla="*/ 331874 w 903056"/>
                  <a:gd name="connsiteY27" fmla="*/ 224907 h 807057"/>
                  <a:gd name="connsiteX28" fmla="*/ 296219 w 903056"/>
                  <a:gd name="connsiteY28" fmla="*/ 263305 h 807057"/>
                  <a:gd name="connsiteX29" fmla="*/ 296219 w 903056"/>
                  <a:gd name="connsiteY29" fmla="*/ 126167 h 807057"/>
                  <a:gd name="connsiteX30" fmla="*/ 260563 w 903056"/>
                  <a:gd name="connsiteY30" fmla="*/ 126167 h 807057"/>
                  <a:gd name="connsiteX31" fmla="*/ 260563 w 903056"/>
                  <a:gd name="connsiteY31" fmla="*/ 326389 h 807057"/>
                  <a:gd name="connsiteX32" fmla="*/ 244105 w 903056"/>
                  <a:gd name="connsiteY32" fmla="*/ 458042 h 807057"/>
                  <a:gd name="connsiteX33" fmla="*/ 0 w 903056"/>
                  <a:gd name="connsiteY33" fmla="*/ 458042 h 807057"/>
                  <a:gd name="connsiteX34" fmla="*/ 0 w 903056"/>
                  <a:gd name="connsiteY34" fmla="*/ 493697 h 807057"/>
                  <a:gd name="connsiteX35" fmla="*/ 249591 w 903056"/>
                  <a:gd name="connsiteY35" fmla="*/ 493697 h 807057"/>
                  <a:gd name="connsiteX36" fmla="*/ 570495 w 903056"/>
                  <a:gd name="connsiteY36" fmla="*/ 666492 h 807057"/>
                  <a:gd name="connsiteX37" fmla="*/ 644550 w 903056"/>
                  <a:gd name="connsiteY37" fmla="*/ 630835 h 807057"/>
                  <a:gd name="connsiteX38" fmla="*/ 814602 w 903056"/>
                  <a:gd name="connsiteY38" fmla="*/ 800887 h 807057"/>
                  <a:gd name="connsiteX39" fmla="*/ 842030 w 903056"/>
                  <a:gd name="connsiteY39" fmla="*/ 800887 h 807057"/>
                  <a:gd name="connsiteX40" fmla="*/ 896885 w 903056"/>
                  <a:gd name="connsiteY40" fmla="*/ 746032 h 807057"/>
                  <a:gd name="connsiteX41" fmla="*/ 896885 w 903056"/>
                  <a:gd name="connsiteY41" fmla="*/ 718604 h 807057"/>
                  <a:gd name="connsiteX42" fmla="*/ 721348 w 903056"/>
                  <a:gd name="connsiteY42" fmla="*/ 543067 h 807057"/>
                  <a:gd name="connsiteX43" fmla="*/ 732319 w 903056"/>
                  <a:gd name="connsiteY43" fmla="*/ 496440 h 807057"/>
                  <a:gd name="connsiteX44" fmla="*/ 263305 w 903056"/>
                  <a:gd name="connsiteY44" fmla="*/ 422385 h 807057"/>
                  <a:gd name="connsiteX45" fmla="*/ 485470 w 903056"/>
                  <a:gd name="connsiteY45" fmla="*/ 200222 h 807057"/>
                  <a:gd name="connsiteX46" fmla="*/ 707634 w 903056"/>
                  <a:gd name="connsiteY46" fmla="*/ 422385 h 807057"/>
                  <a:gd name="connsiteX47" fmla="*/ 485470 w 903056"/>
                  <a:gd name="connsiteY47" fmla="*/ 644549 h 807057"/>
                  <a:gd name="connsiteX48" fmla="*/ 263305 w 903056"/>
                  <a:gd name="connsiteY48" fmla="*/ 422385 h 807057"/>
                  <a:gd name="connsiteX49" fmla="*/ 847514 w 903056"/>
                  <a:gd name="connsiteY49" fmla="*/ 737803 h 807057"/>
                  <a:gd name="connsiteX50" fmla="*/ 817344 w 903056"/>
                  <a:gd name="connsiteY50" fmla="*/ 767973 h 807057"/>
                  <a:gd name="connsiteX51" fmla="*/ 661006 w 903056"/>
                  <a:gd name="connsiteY51" fmla="*/ 611637 h 807057"/>
                  <a:gd name="connsiteX52" fmla="*/ 688434 w 903056"/>
                  <a:gd name="connsiteY52" fmla="*/ 581466 h 807057"/>
                  <a:gd name="connsiteX53" fmla="*/ 847514 w 903056"/>
                  <a:gd name="connsiteY53" fmla="*/ 737803 h 80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03056" h="807057">
                    <a:moveTo>
                      <a:pt x="732319" y="496440"/>
                    </a:moveTo>
                    <a:lnTo>
                      <a:pt x="762489" y="496440"/>
                    </a:lnTo>
                    <a:lnTo>
                      <a:pt x="762489" y="460785"/>
                    </a:lnTo>
                    <a:lnTo>
                      <a:pt x="740547" y="460785"/>
                    </a:lnTo>
                    <a:cubicBezTo>
                      <a:pt x="748775" y="416900"/>
                      <a:pt x="743289" y="370273"/>
                      <a:pt x="724090" y="329131"/>
                    </a:cubicBezTo>
                    <a:lnTo>
                      <a:pt x="724090" y="148109"/>
                    </a:lnTo>
                    <a:lnTo>
                      <a:pt x="688434" y="148109"/>
                    </a:lnTo>
                    <a:lnTo>
                      <a:pt x="688434" y="266048"/>
                    </a:lnTo>
                    <a:cubicBezTo>
                      <a:pt x="677464" y="252334"/>
                      <a:pt x="663750" y="238621"/>
                      <a:pt x="652778" y="227650"/>
                    </a:cubicBezTo>
                    <a:lnTo>
                      <a:pt x="652778" y="74055"/>
                    </a:lnTo>
                    <a:lnTo>
                      <a:pt x="617123" y="74055"/>
                    </a:lnTo>
                    <a:lnTo>
                      <a:pt x="617123" y="200222"/>
                    </a:lnTo>
                    <a:cubicBezTo>
                      <a:pt x="606151" y="194736"/>
                      <a:pt x="592437" y="186508"/>
                      <a:pt x="581467" y="183765"/>
                    </a:cubicBezTo>
                    <a:lnTo>
                      <a:pt x="581467" y="0"/>
                    </a:lnTo>
                    <a:lnTo>
                      <a:pt x="545810" y="0"/>
                    </a:lnTo>
                    <a:lnTo>
                      <a:pt x="545810" y="172795"/>
                    </a:lnTo>
                    <a:cubicBezTo>
                      <a:pt x="534840" y="170052"/>
                      <a:pt x="521126" y="167309"/>
                      <a:pt x="510154" y="167309"/>
                    </a:cubicBezTo>
                    <a:lnTo>
                      <a:pt x="510154" y="38399"/>
                    </a:lnTo>
                    <a:lnTo>
                      <a:pt x="474498" y="38399"/>
                    </a:lnTo>
                    <a:lnTo>
                      <a:pt x="474498" y="167309"/>
                    </a:lnTo>
                    <a:cubicBezTo>
                      <a:pt x="460785" y="167309"/>
                      <a:pt x="449813" y="170052"/>
                      <a:pt x="438843" y="172795"/>
                    </a:cubicBezTo>
                    <a:lnTo>
                      <a:pt x="438843" y="112453"/>
                    </a:lnTo>
                    <a:lnTo>
                      <a:pt x="403187" y="112453"/>
                    </a:lnTo>
                    <a:lnTo>
                      <a:pt x="403187" y="183765"/>
                    </a:lnTo>
                    <a:cubicBezTo>
                      <a:pt x="389473" y="189250"/>
                      <a:pt x="378502" y="194736"/>
                      <a:pt x="367530" y="200222"/>
                    </a:cubicBezTo>
                    <a:lnTo>
                      <a:pt x="367530" y="90512"/>
                    </a:lnTo>
                    <a:lnTo>
                      <a:pt x="331874" y="90512"/>
                    </a:lnTo>
                    <a:lnTo>
                      <a:pt x="331874" y="224907"/>
                    </a:lnTo>
                    <a:cubicBezTo>
                      <a:pt x="318160" y="235878"/>
                      <a:pt x="307190" y="249592"/>
                      <a:pt x="296219" y="263305"/>
                    </a:cubicBezTo>
                    <a:lnTo>
                      <a:pt x="296219" y="126167"/>
                    </a:lnTo>
                    <a:lnTo>
                      <a:pt x="260563" y="126167"/>
                    </a:lnTo>
                    <a:lnTo>
                      <a:pt x="260563" y="326389"/>
                    </a:lnTo>
                    <a:cubicBezTo>
                      <a:pt x="244105" y="367530"/>
                      <a:pt x="238621" y="414157"/>
                      <a:pt x="244105" y="458042"/>
                    </a:cubicBezTo>
                    <a:lnTo>
                      <a:pt x="0" y="458042"/>
                    </a:lnTo>
                    <a:lnTo>
                      <a:pt x="0" y="493697"/>
                    </a:lnTo>
                    <a:lnTo>
                      <a:pt x="249591" y="493697"/>
                    </a:lnTo>
                    <a:cubicBezTo>
                      <a:pt x="290733" y="630835"/>
                      <a:pt x="433357" y="707633"/>
                      <a:pt x="570495" y="666492"/>
                    </a:cubicBezTo>
                    <a:cubicBezTo>
                      <a:pt x="597923" y="658263"/>
                      <a:pt x="622609" y="647292"/>
                      <a:pt x="644550" y="630835"/>
                    </a:cubicBezTo>
                    <a:lnTo>
                      <a:pt x="814602" y="800887"/>
                    </a:lnTo>
                    <a:cubicBezTo>
                      <a:pt x="822830" y="809115"/>
                      <a:pt x="833800" y="809115"/>
                      <a:pt x="842030" y="800887"/>
                    </a:cubicBezTo>
                    <a:lnTo>
                      <a:pt x="896885" y="746032"/>
                    </a:lnTo>
                    <a:cubicBezTo>
                      <a:pt x="905113" y="737803"/>
                      <a:pt x="905113" y="726832"/>
                      <a:pt x="896885" y="718604"/>
                    </a:cubicBezTo>
                    <a:lnTo>
                      <a:pt x="721348" y="543067"/>
                    </a:lnTo>
                    <a:cubicBezTo>
                      <a:pt x="721348" y="532096"/>
                      <a:pt x="726833" y="515640"/>
                      <a:pt x="732319" y="496440"/>
                    </a:cubicBezTo>
                    <a:close/>
                    <a:moveTo>
                      <a:pt x="263305" y="422385"/>
                    </a:moveTo>
                    <a:cubicBezTo>
                      <a:pt x="263305" y="298961"/>
                      <a:pt x="362046" y="200222"/>
                      <a:pt x="485470" y="200222"/>
                    </a:cubicBezTo>
                    <a:cubicBezTo>
                      <a:pt x="608895" y="200222"/>
                      <a:pt x="707634" y="298961"/>
                      <a:pt x="707634" y="422385"/>
                    </a:cubicBezTo>
                    <a:cubicBezTo>
                      <a:pt x="707634" y="545810"/>
                      <a:pt x="608895" y="644549"/>
                      <a:pt x="485470" y="644549"/>
                    </a:cubicBezTo>
                    <a:cubicBezTo>
                      <a:pt x="364788" y="644549"/>
                      <a:pt x="266049" y="545810"/>
                      <a:pt x="263305" y="422385"/>
                    </a:cubicBezTo>
                    <a:close/>
                    <a:moveTo>
                      <a:pt x="847514" y="737803"/>
                    </a:moveTo>
                    <a:lnTo>
                      <a:pt x="817344" y="767973"/>
                    </a:lnTo>
                    <a:lnTo>
                      <a:pt x="661006" y="611637"/>
                    </a:lnTo>
                    <a:cubicBezTo>
                      <a:pt x="671978" y="603408"/>
                      <a:pt x="680206" y="592437"/>
                      <a:pt x="688434" y="581466"/>
                    </a:cubicBezTo>
                    <a:lnTo>
                      <a:pt x="847514" y="737803"/>
                    </a:lnTo>
                    <a:close/>
                  </a:path>
                </a:pathLst>
              </a:custGeom>
              <a:grpFill/>
              <a:ln w="27426"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310230D2-D3A6-EF39-B307-D8961326BFB4}"/>
                  </a:ext>
                </a:extLst>
              </p:cNvPr>
              <p:cNvSpPr/>
              <p:nvPr/>
            </p:nvSpPr>
            <p:spPr>
              <a:xfrm>
                <a:off x="4230574" y="2825634"/>
                <a:ext cx="367529" cy="367529"/>
              </a:xfrm>
              <a:custGeom>
                <a:avLst/>
                <a:gdLst>
                  <a:gd name="connsiteX0" fmla="*/ 183766 w 367529"/>
                  <a:gd name="connsiteY0" fmla="*/ 0 h 367529"/>
                  <a:gd name="connsiteX1" fmla="*/ 0 w 367529"/>
                  <a:gd name="connsiteY1" fmla="*/ 183765 h 367529"/>
                  <a:gd name="connsiteX2" fmla="*/ 183766 w 367529"/>
                  <a:gd name="connsiteY2" fmla="*/ 367530 h 367529"/>
                  <a:gd name="connsiteX3" fmla="*/ 367530 w 367529"/>
                  <a:gd name="connsiteY3" fmla="*/ 183765 h 367529"/>
                  <a:gd name="connsiteX4" fmla="*/ 183766 w 367529"/>
                  <a:gd name="connsiteY4" fmla="*/ 0 h 367529"/>
                  <a:gd name="connsiteX5" fmla="*/ 93253 w 367529"/>
                  <a:gd name="connsiteY5" fmla="*/ 68569 h 367529"/>
                  <a:gd name="connsiteX6" fmla="*/ 93253 w 367529"/>
                  <a:gd name="connsiteY6" fmla="*/ 183765 h 367529"/>
                  <a:gd name="connsiteX7" fmla="*/ 128910 w 367529"/>
                  <a:gd name="connsiteY7" fmla="*/ 183765 h 367529"/>
                  <a:gd name="connsiteX8" fmla="*/ 128910 w 367529"/>
                  <a:gd name="connsiteY8" fmla="*/ 46626 h 367529"/>
                  <a:gd name="connsiteX9" fmla="*/ 164566 w 367529"/>
                  <a:gd name="connsiteY9" fmla="*/ 38399 h 367529"/>
                  <a:gd name="connsiteX10" fmla="*/ 164566 w 367529"/>
                  <a:gd name="connsiteY10" fmla="*/ 183765 h 367529"/>
                  <a:gd name="connsiteX11" fmla="*/ 200222 w 367529"/>
                  <a:gd name="connsiteY11" fmla="*/ 183765 h 367529"/>
                  <a:gd name="connsiteX12" fmla="*/ 200222 w 367529"/>
                  <a:gd name="connsiteY12" fmla="*/ 38399 h 367529"/>
                  <a:gd name="connsiteX13" fmla="*/ 235877 w 367529"/>
                  <a:gd name="connsiteY13" fmla="*/ 46626 h 367529"/>
                  <a:gd name="connsiteX14" fmla="*/ 235877 w 367529"/>
                  <a:gd name="connsiteY14" fmla="*/ 183765 h 367529"/>
                  <a:gd name="connsiteX15" fmla="*/ 271533 w 367529"/>
                  <a:gd name="connsiteY15" fmla="*/ 183765 h 367529"/>
                  <a:gd name="connsiteX16" fmla="*/ 271533 w 367529"/>
                  <a:gd name="connsiteY16" fmla="*/ 68569 h 367529"/>
                  <a:gd name="connsiteX17" fmla="*/ 320904 w 367529"/>
                  <a:gd name="connsiteY17" fmla="*/ 219421 h 367529"/>
                  <a:gd name="connsiteX18" fmla="*/ 35656 w 367529"/>
                  <a:gd name="connsiteY18" fmla="*/ 219421 h 367529"/>
                  <a:gd name="connsiteX19" fmla="*/ 93253 w 367529"/>
                  <a:gd name="connsiteY19" fmla="*/ 68569 h 367529"/>
                  <a:gd name="connsiteX20" fmla="*/ 183766 w 367529"/>
                  <a:gd name="connsiteY20" fmla="*/ 331874 h 367529"/>
                  <a:gd name="connsiteX21" fmla="*/ 54855 w 367529"/>
                  <a:gd name="connsiteY21" fmla="*/ 257819 h 367529"/>
                  <a:gd name="connsiteX22" fmla="*/ 309932 w 367529"/>
                  <a:gd name="connsiteY22" fmla="*/ 257819 h 367529"/>
                  <a:gd name="connsiteX23" fmla="*/ 183766 w 367529"/>
                  <a:gd name="connsiteY23" fmla="*/ 331874 h 36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7529" h="367529">
                    <a:moveTo>
                      <a:pt x="183766" y="0"/>
                    </a:moveTo>
                    <a:cubicBezTo>
                      <a:pt x="82283" y="0"/>
                      <a:pt x="0" y="82283"/>
                      <a:pt x="0" y="183765"/>
                    </a:cubicBezTo>
                    <a:cubicBezTo>
                      <a:pt x="0" y="285247"/>
                      <a:pt x="82283" y="367530"/>
                      <a:pt x="183766" y="367530"/>
                    </a:cubicBezTo>
                    <a:cubicBezTo>
                      <a:pt x="285247" y="367530"/>
                      <a:pt x="367530" y="285247"/>
                      <a:pt x="367530" y="183765"/>
                    </a:cubicBezTo>
                    <a:cubicBezTo>
                      <a:pt x="367530" y="82283"/>
                      <a:pt x="285247" y="0"/>
                      <a:pt x="183766" y="0"/>
                    </a:cubicBezTo>
                    <a:close/>
                    <a:moveTo>
                      <a:pt x="93253" y="68569"/>
                    </a:moveTo>
                    <a:lnTo>
                      <a:pt x="93253" y="183765"/>
                    </a:lnTo>
                    <a:lnTo>
                      <a:pt x="128910" y="183765"/>
                    </a:lnTo>
                    <a:lnTo>
                      <a:pt x="128910" y="46626"/>
                    </a:lnTo>
                    <a:cubicBezTo>
                      <a:pt x="139880" y="41141"/>
                      <a:pt x="153594" y="38399"/>
                      <a:pt x="164566" y="38399"/>
                    </a:cubicBezTo>
                    <a:lnTo>
                      <a:pt x="164566" y="183765"/>
                    </a:lnTo>
                    <a:lnTo>
                      <a:pt x="200222" y="183765"/>
                    </a:lnTo>
                    <a:lnTo>
                      <a:pt x="200222" y="38399"/>
                    </a:lnTo>
                    <a:cubicBezTo>
                      <a:pt x="213936" y="41141"/>
                      <a:pt x="224907" y="43884"/>
                      <a:pt x="235877" y="46626"/>
                    </a:cubicBezTo>
                    <a:lnTo>
                      <a:pt x="235877" y="183765"/>
                    </a:lnTo>
                    <a:lnTo>
                      <a:pt x="271533" y="183765"/>
                    </a:lnTo>
                    <a:lnTo>
                      <a:pt x="271533" y="68569"/>
                    </a:lnTo>
                    <a:cubicBezTo>
                      <a:pt x="318160" y="104225"/>
                      <a:pt x="337360" y="164566"/>
                      <a:pt x="320904" y="219421"/>
                    </a:cubicBezTo>
                    <a:lnTo>
                      <a:pt x="35656" y="219421"/>
                    </a:lnTo>
                    <a:cubicBezTo>
                      <a:pt x="27428" y="164566"/>
                      <a:pt x="46627" y="104225"/>
                      <a:pt x="93253" y="68569"/>
                    </a:cubicBezTo>
                    <a:close/>
                    <a:moveTo>
                      <a:pt x="183766" y="331874"/>
                    </a:moveTo>
                    <a:cubicBezTo>
                      <a:pt x="131653" y="331874"/>
                      <a:pt x="82283" y="304447"/>
                      <a:pt x="54855" y="257819"/>
                    </a:cubicBezTo>
                    <a:lnTo>
                      <a:pt x="309932" y="257819"/>
                    </a:lnTo>
                    <a:cubicBezTo>
                      <a:pt x="285247" y="304447"/>
                      <a:pt x="235877" y="331874"/>
                      <a:pt x="183766" y="331874"/>
                    </a:cubicBez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A3360FD1-0E62-D3A7-60A8-7545CE121632}"/>
                  </a:ext>
                </a:extLst>
              </p:cNvPr>
              <p:cNvSpPr/>
              <p:nvPr/>
            </p:nvSpPr>
            <p:spPr>
              <a:xfrm>
                <a:off x="3843843" y="2438905"/>
                <a:ext cx="921570" cy="773459"/>
              </a:xfrm>
              <a:custGeom>
                <a:avLst/>
                <a:gdLst>
                  <a:gd name="connsiteX0" fmla="*/ 0 w 921570"/>
                  <a:gd name="connsiteY0" fmla="*/ 90511 h 773459"/>
                  <a:gd name="connsiteX1" fmla="*/ 0 w 921570"/>
                  <a:gd name="connsiteY1" fmla="*/ 680205 h 773459"/>
                  <a:gd name="connsiteX2" fmla="*/ 93255 w 921570"/>
                  <a:gd name="connsiteY2" fmla="*/ 773459 h 773459"/>
                  <a:gd name="connsiteX3" fmla="*/ 331876 w 921570"/>
                  <a:gd name="connsiteY3" fmla="*/ 773459 h 773459"/>
                  <a:gd name="connsiteX4" fmla="*/ 331876 w 921570"/>
                  <a:gd name="connsiteY4" fmla="*/ 737803 h 773459"/>
                  <a:gd name="connsiteX5" fmla="*/ 93255 w 921570"/>
                  <a:gd name="connsiteY5" fmla="*/ 737803 h 773459"/>
                  <a:gd name="connsiteX6" fmla="*/ 38399 w 921570"/>
                  <a:gd name="connsiteY6" fmla="*/ 682948 h 773459"/>
                  <a:gd name="connsiteX7" fmla="*/ 38399 w 921570"/>
                  <a:gd name="connsiteY7" fmla="*/ 93254 h 773459"/>
                  <a:gd name="connsiteX8" fmla="*/ 93255 w 921570"/>
                  <a:gd name="connsiteY8" fmla="*/ 38399 h 773459"/>
                  <a:gd name="connsiteX9" fmla="*/ 831060 w 921570"/>
                  <a:gd name="connsiteY9" fmla="*/ 38399 h 773459"/>
                  <a:gd name="connsiteX10" fmla="*/ 885915 w 921570"/>
                  <a:gd name="connsiteY10" fmla="*/ 93254 h 773459"/>
                  <a:gd name="connsiteX11" fmla="*/ 885915 w 921570"/>
                  <a:gd name="connsiteY11" fmla="*/ 682948 h 773459"/>
                  <a:gd name="connsiteX12" fmla="*/ 872201 w 921570"/>
                  <a:gd name="connsiteY12" fmla="*/ 718604 h 773459"/>
                  <a:gd name="connsiteX13" fmla="*/ 899629 w 921570"/>
                  <a:gd name="connsiteY13" fmla="*/ 743289 h 773459"/>
                  <a:gd name="connsiteX14" fmla="*/ 921571 w 921570"/>
                  <a:gd name="connsiteY14" fmla="*/ 682948 h 773459"/>
                  <a:gd name="connsiteX15" fmla="*/ 921571 w 921570"/>
                  <a:gd name="connsiteY15" fmla="*/ 93254 h 773459"/>
                  <a:gd name="connsiteX16" fmla="*/ 828316 w 921570"/>
                  <a:gd name="connsiteY16" fmla="*/ 0 h 773459"/>
                  <a:gd name="connsiteX17" fmla="*/ 90513 w 921570"/>
                  <a:gd name="connsiteY17" fmla="*/ 0 h 773459"/>
                  <a:gd name="connsiteX18" fmla="*/ 0 w 921570"/>
                  <a:gd name="connsiteY18" fmla="*/ 90511 h 773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1570" h="773459">
                    <a:moveTo>
                      <a:pt x="0" y="90511"/>
                    </a:moveTo>
                    <a:lnTo>
                      <a:pt x="0" y="680205"/>
                    </a:lnTo>
                    <a:cubicBezTo>
                      <a:pt x="0" y="732318"/>
                      <a:pt x="41142" y="773459"/>
                      <a:pt x="93255" y="773459"/>
                    </a:cubicBezTo>
                    <a:lnTo>
                      <a:pt x="331876" y="773459"/>
                    </a:lnTo>
                    <a:lnTo>
                      <a:pt x="331876" y="737803"/>
                    </a:lnTo>
                    <a:lnTo>
                      <a:pt x="93255" y="737803"/>
                    </a:lnTo>
                    <a:cubicBezTo>
                      <a:pt x="63085" y="737803"/>
                      <a:pt x="38399" y="713118"/>
                      <a:pt x="38399" y="682948"/>
                    </a:cubicBezTo>
                    <a:lnTo>
                      <a:pt x="38399" y="93254"/>
                    </a:lnTo>
                    <a:cubicBezTo>
                      <a:pt x="38399" y="63083"/>
                      <a:pt x="63085" y="38399"/>
                      <a:pt x="93255" y="38399"/>
                    </a:cubicBezTo>
                    <a:lnTo>
                      <a:pt x="831060" y="38399"/>
                    </a:lnTo>
                    <a:cubicBezTo>
                      <a:pt x="861230" y="38399"/>
                      <a:pt x="885915" y="63083"/>
                      <a:pt x="885915" y="93254"/>
                    </a:cubicBezTo>
                    <a:lnTo>
                      <a:pt x="885915" y="682948"/>
                    </a:lnTo>
                    <a:cubicBezTo>
                      <a:pt x="885915" y="696661"/>
                      <a:pt x="880429" y="710375"/>
                      <a:pt x="872201" y="718604"/>
                    </a:cubicBezTo>
                    <a:lnTo>
                      <a:pt x="899629" y="743289"/>
                    </a:lnTo>
                    <a:cubicBezTo>
                      <a:pt x="913343" y="726832"/>
                      <a:pt x="921571" y="704890"/>
                      <a:pt x="921571" y="682948"/>
                    </a:cubicBezTo>
                    <a:lnTo>
                      <a:pt x="921571" y="93254"/>
                    </a:lnTo>
                    <a:cubicBezTo>
                      <a:pt x="921571" y="41141"/>
                      <a:pt x="880429" y="0"/>
                      <a:pt x="828316" y="0"/>
                    </a:cubicBezTo>
                    <a:lnTo>
                      <a:pt x="90513" y="0"/>
                    </a:lnTo>
                    <a:cubicBezTo>
                      <a:pt x="41142" y="0"/>
                      <a:pt x="0" y="41141"/>
                      <a:pt x="0" y="90511"/>
                    </a:cubicBez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2D5C1D05-6F99-252B-C73A-8A73149DF8D4}"/>
                  </a:ext>
                </a:extLst>
              </p:cNvPr>
              <p:cNvSpPr/>
              <p:nvPr/>
            </p:nvSpPr>
            <p:spPr>
              <a:xfrm>
                <a:off x="3917899" y="2512959"/>
                <a:ext cx="35655" cy="35655"/>
              </a:xfrm>
              <a:custGeom>
                <a:avLst/>
                <a:gdLst>
                  <a:gd name="connsiteX0" fmla="*/ 0 w 35655"/>
                  <a:gd name="connsiteY0" fmla="*/ 0 h 35655"/>
                  <a:gd name="connsiteX1" fmla="*/ 35655 w 35655"/>
                  <a:gd name="connsiteY1" fmla="*/ 0 h 35655"/>
                  <a:gd name="connsiteX2" fmla="*/ 35655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5" y="0"/>
                    </a:lnTo>
                    <a:lnTo>
                      <a:pt x="35655" y="35656"/>
                    </a:lnTo>
                    <a:lnTo>
                      <a:pt x="0" y="35656"/>
                    </a:lnTo>
                    <a:close/>
                  </a:path>
                </a:pathLst>
              </a:custGeom>
              <a:grpFill/>
              <a:ln w="27426" cap="flat">
                <a:no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5BE2349-04B4-9EE4-F65B-17150AABEDD8}"/>
                  </a:ext>
                </a:extLst>
              </p:cNvPr>
              <p:cNvSpPr/>
              <p:nvPr/>
            </p:nvSpPr>
            <p:spPr>
              <a:xfrm>
                <a:off x="3991953" y="2512959"/>
                <a:ext cx="35655" cy="35655"/>
              </a:xfrm>
              <a:custGeom>
                <a:avLst/>
                <a:gdLst>
                  <a:gd name="connsiteX0" fmla="*/ 0 w 35655"/>
                  <a:gd name="connsiteY0" fmla="*/ 0 h 35655"/>
                  <a:gd name="connsiteX1" fmla="*/ 35656 w 35655"/>
                  <a:gd name="connsiteY1" fmla="*/ 0 h 35655"/>
                  <a:gd name="connsiteX2" fmla="*/ 35656 w 35655"/>
                  <a:gd name="connsiteY2" fmla="*/ 35656 h 35655"/>
                  <a:gd name="connsiteX3" fmla="*/ 0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0" y="0"/>
                    </a:moveTo>
                    <a:lnTo>
                      <a:pt x="35656" y="0"/>
                    </a:lnTo>
                    <a:lnTo>
                      <a:pt x="35656" y="35656"/>
                    </a:lnTo>
                    <a:lnTo>
                      <a:pt x="0" y="35656"/>
                    </a:lnTo>
                    <a:close/>
                  </a:path>
                </a:pathLst>
              </a:custGeom>
              <a:grpFill/>
              <a:ln w="27426"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B2A69CB1-14BC-76DD-CFA7-4956773F8140}"/>
                  </a:ext>
                </a:extLst>
              </p:cNvPr>
              <p:cNvSpPr/>
              <p:nvPr/>
            </p:nvSpPr>
            <p:spPr>
              <a:xfrm>
                <a:off x="4063265" y="2512959"/>
                <a:ext cx="35655" cy="35655"/>
              </a:xfrm>
              <a:custGeom>
                <a:avLst/>
                <a:gdLst>
                  <a:gd name="connsiteX0" fmla="*/ -1 w 35655"/>
                  <a:gd name="connsiteY0" fmla="*/ 0 h 35655"/>
                  <a:gd name="connsiteX1" fmla="*/ 35655 w 35655"/>
                  <a:gd name="connsiteY1" fmla="*/ 0 h 35655"/>
                  <a:gd name="connsiteX2" fmla="*/ 35655 w 35655"/>
                  <a:gd name="connsiteY2" fmla="*/ 35656 h 35655"/>
                  <a:gd name="connsiteX3" fmla="*/ -1 w 35655"/>
                  <a:gd name="connsiteY3" fmla="*/ 35656 h 35655"/>
                </a:gdLst>
                <a:ahLst/>
                <a:cxnLst>
                  <a:cxn ang="0">
                    <a:pos x="connsiteX0" y="connsiteY0"/>
                  </a:cxn>
                  <a:cxn ang="0">
                    <a:pos x="connsiteX1" y="connsiteY1"/>
                  </a:cxn>
                  <a:cxn ang="0">
                    <a:pos x="connsiteX2" y="connsiteY2"/>
                  </a:cxn>
                  <a:cxn ang="0">
                    <a:pos x="connsiteX3" y="connsiteY3"/>
                  </a:cxn>
                </a:cxnLst>
                <a:rect l="l" t="t" r="r" b="b"/>
                <a:pathLst>
                  <a:path w="35655" h="35655">
                    <a:moveTo>
                      <a:pt x="-1" y="0"/>
                    </a:moveTo>
                    <a:lnTo>
                      <a:pt x="35655" y="0"/>
                    </a:lnTo>
                    <a:lnTo>
                      <a:pt x="35655" y="35656"/>
                    </a:lnTo>
                    <a:lnTo>
                      <a:pt x="-1" y="35656"/>
                    </a:lnTo>
                    <a:close/>
                  </a:path>
                </a:pathLst>
              </a:custGeom>
              <a:grpFill/>
              <a:ln w="27426"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D09A6DF1-7A1A-2ED8-7119-51FAA718968E}"/>
                  </a:ext>
                </a:extLst>
              </p:cNvPr>
              <p:cNvSpPr/>
              <p:nvPr/>
            </p:nvSpPr>
            <p:spPr>
              <a:xfrm>
                <a:off x="3953555" y="2899689"/>
                <a:ext cx="35655" cy="109710"/>
              </a:xfrm>
              <a:custGeom>
                <a:avLst/>
                <a:gdLst>
                  <a:gd name="connsiteX0" fmla="*/ -1 w 35655"/>
                  <a:gd name="connsiteY0" fmla="*/ 0 h 109710"/>
                  <a:gd name="connsiteX1" fmla="*/ 35655 w 35655"/>
                  <a:gd name="connsiteY1" fmla="*/ 0 h 109710"/>
                  <a:gd name="connsiteX2" fmla="*/ 35655 w 35655"/>
                  <a:gd name="connsiteY2" fmla="*/ 109710 h 109710"/>
                  <a:gd name="connsiteX3" fmla="*/ -1 w 35655"/>
                  <a:gd name="connsiteY3" fmla="*/ 109710 h 109710"/>
                </a:gdLst>
                <a:ahLst/>
                <a:cxnLst>
                  <a:cxn ang="0">
                    <a:pos x="connsiteX0" y="connsiteY0"/>
                  </a:cxn>
                  <a:cxn ang="0">
                    <a:pos x="connsiteX1" y="connsiteY1"/>
                  </a:cxn>
                  <a:cxn ang="0">
                    <a:pos x="connsiteX2" y="connsiteY2"/>
                  </a:cxn>
                  <a:cxn ang="0">
                    <a:pos x="connsiteX3" y="connsiteY3"/>
                  </a:cxn>
                </a:cxnLst>
                <a:rect l="l" t="t" r="r" b="b"/>
                <a:pathLst>
                  <a:path w="35655" h="109710">
                    <a:moveTo>
                      <a:pt x="-1" y="0"/>
                    </a:moveTo>
                    <a:lnTo>
                      <a:pt x="35655" y="0"/>
                    </a:lnTo>
                    <a:lnTo>
                      <a:pt x="35655" y="109710"/>
                    </a:lnTo>
                    <a:lnTo>
                      <a:pt x="-1" y="109710"/>
                    </a:lnTo>
                    <a:close/>
                  </a:path>
                </a:pathLst>
              </a:custGeom>
              <a:grp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94F089E5-8B62-952B-B25E-9E3907B70BA4}"/>
                  </a:ext>
                </a:extLst>
              </p:cNvPr>
              <p:cNvSpPr/>
              <p:nvPr/>
            </p:nvSpPr>
            <p:spPr>
              <a:xfrm>
                <a:off x="4027609" y="2789978"/>
                <a:ext cx="35655" cy="222163"/>
              </a:xfrm>
              <a:custGeom>
                <a:avLst/>
                <a:gdLst>
                  <a:gd name="connsiteX0" fmla="*/ 0 w 35655"/>
                  <a:gd name="connsiteY0" fmla="*/ 0 h 222163"/>
                  <a:gd name="connsiteX1" fmla="*/ 35655 w 35655"/>
                  <a:gd name="connsiteY1" fmla="*/ 0 h 222163"/>
                  <a:gd name="connsiteX2" fmla="*/ 35655 w 35655"/>
                  <a:gd name="connsiteY2" fmla="*/ 222164 h 222163"/>
                  <a:gd name="connsiteX3" fmla="*/ 0 w 35655"/>
                  <a:gd name="connsiteY3" fmla="*/ 222164 h 222163"/>
                </a:gdLst>
                <a:ahLst/>
                <a:cxnLst>
                  <a:cxn ang="0">
                    <a:pos x="connsiteX0" y="connsiteY0"/>
                  </a:cxn>
                  <a:cxn ang="0">
                    <a:pos x="connsiteX1" y="connsiteY1"/>
                  </a:cxn>
                  <a:cxn ang="0">
                    <a:pos x="connsiteX2" y="connsiteY2"/>
                  </a:cxn>
                  <a:cxn ang="0">
                    <a:pos x="connsiteX3" y="connsiteY3"/>
                  </a:cxn>
                </a:cxnLst>
                <a:rect l="l" t="t" r="r" b="b"/>
                <a:pathLst>
                  <a:path w="35655" h="222163">
                    <a:moveTo>
                      <a:pt x="0" y="0"/>
                    </a:moveTo>
                    <a:lnTo>
                      <a:pt x="35655" y="0"/>
                    </a:lnTo>
                    <a:lnTo>
                      <a:pt x="35655" y="222164"/>
                    </a:lnTo>
                    <a:lnTo>
                      <a:pt x="0" y="222164"/>
                    </a:lnTo>
                    <a:close/>
                  </a:path>
                </a:pathLst>
              </a:custGeom>
              <a:grpFill/>
              <a:ln w="27426"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D8FB75F2-2263-50FE-EA65-5DDC20F06B66}"/>
                  </a:ext>
                </a:extLst>
              </p:cNvPr>
              <p:cNvSpPr/>
              <p:nvPr/>
            </p:nvSpPr>
            <p:spPr>
              <a:xfrm>
                <a:off x="4101664" y="2844833"/>
                <a:ext cx="35655" cy="167308"/>
              </a:xfrm>
              <a:custGeom>
                <a:avLst/>
                <a:gdLst>
                  <a:gd name="connsiteX0" fmla="*/ 0 w 35655"/>
                  <a:gd name="connsiteY0" fmla="*/ 0 h 167308"/>
                  <a:gd name="connsiteX1" fmla="*/ 35656 w 35655"/>
                  <a:gd name="connsiteY1" fmla="*/ 0 h 167308"/>
                  <a:gd name="connsiteX2" fmla="*/ 35656 w 35655"/>
                  <a:gd name="connsiteY2" fmla="*/ 167308 h 167308"/>
                  <a:gd name="connsiteX3" fmla="*/ 0 w 35655"/>
                  <a:gd name="connsiteY3" fmla="*/ 167308 h 167308"/>
                </a:gdLst>
                <a:ahLst/>
                <a:cxnLst>
                  <a:cxn ang="0">
                    <a:pos x="connsiteX0" y="connsiteY0"/>
                  </a:cxn>
                  <a:cxn ang="0">
                    <a:pos x="connsiteX1" y="connsiteY1"/>
                  </a:cxn>
                  <a:cxn ang="0">
                    <a:pos x="connsiteX2" y="connsiteY2"/>
                  </a:cxn>
                  <a:cxn ang="0">
                    <a:pos x="connsiteX3" y="connsiteY3"/>
                  </a:cxn>
                </a:cxnLst>
                <a:rect l="l" t="t" r="r" b="b"/>
                <a:pathLst>
                  <a:path w="35655" h="167308">
                    <a:moveTo>
                      <a:pt x="0" y="0"/>
                    </a:moveTo>
                    <a:lnTo>
                      <a:pt x="35656" y="0"/>
                    </a:lnTo>
                    <a:lnTo>
                      <a:pt x="35656" y="167308"/>
                    </a:lnTo>
                    <a:lnTo>
                      <a:pt x="0" y="167308"/>
                    </a:lnTo>
                    <a:close/>
                  </a:path>
                </a:pathLst>
              </a:custGeom>
              <a:grpFill/>
              <a:ln w="27426"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A59437D2-7323-D88E-667F-B0399DD238A4}"/>
                </a:ext>
              </a:extLst>
            </p:cNvPr>
            <p:cNvGrpSpPr/>
            <p:nvPr/>
          </p:nvGrpSpPr>
          <p:grpSpPr>
            <a:xfrm>
              <a:off x="6160856" y="3493200"/>
              <a:ext cx="694251" cy="695591"/>
              <a:chOff x="7284496" y="2127428"/>
              <a:chExt cx="2245645" cy="2249982"/>
            </a:xfrm>
            <a:solidFill>
              <a:schemeClr val="bg1"/>
            </a:solidFill>
          </p:grpSpPr>
          <p:grpSp>
            <p:nvGrpSpPr>
              <p:cNvPr id="19" name="Graphic 3">
                <a:extLst>
                  <a:ext uri="{FF2B5EF4-FFF2-40B4-BE49-F238E27FC236}">
                    <a16:creationId xmlns:a16="http://schemas.microsoft.com/office/drawing/2014/main" id="{9D14CDF6-B37D-D856-59EE-C978BA717934}"/>
                  </a:ext>
                </a:extLst>
              </p:cNvPr>
              <p:cNvGrpSpPr/>
              <p:nvPr/>
            </p:nvGrpSpPr>
            <p:grpSpPr>
              <a:xfrm>
                <a:off x="7284496" y="2127428"/>
                <a:ext cx="2245645" cy="2249982"/>
                <a:chOff x="5098317" y="2100784"/>
                <a:chExt cx="2245645" cy="2249982"/>
              </a:xfrm>
              <a:grpFill/>
            </p:grpSpPr>
            <p:sp>
              <p:nvSpPr>
                <p:cNvPr id="21" name="Freeform 20">
                  <a:extLst>
                    <a:ext uri="{FF2B5EF4-FFF2-40B4-BE49-F238E27FC236}">
                      <a16:creationId xmlns:a16="http://schemas.microsoft.com/office/drawing/2014/main" id="{474FBAF8-5BB2-28B2-E910-997CC3EEEB0F}"/>
                    </a:ext>
                  </a:extLst>
                </p:cNvPr>
                <p:cNvSpPr/>
                <p:nvPr/>
              </p:nvSpPr>
              <p:spPr>
                <a:xfrm>
                  <a:off x="5098317" y="2100784"/>
                  <a:ext cx="2244434" cy="2249772"/>
                </a:xfrm>
                <a:custGeom>
                  <a:avLst/>
                  <a:gdLst>
                    <a:gd name="connsiteX0" fmla="*/ 1547886 w 2244435"/>
                    <a:gd name="connsiteY0" fmla="*/ 434488 h 2249773"/>
                    <a:gd name="connsiteX1" fmla="*/ 1537003 w 2244435"/>
                    <a:gd name="connsiteY1" fmla="*/ 302650 h 2249773"/>
                    <a:gd name="connsiteX2" fmla="*/ 1521282 w 2244435"/>
                    <a:gd name="connsiteY2" fmla="*/ 117593 h 2249773"/>
                    <a:gd name="connsiteX3" fmla="*/ 1631932 w 2244435"/>
                    <a:gd name="connsiteY3" fmla="*/ 269 h 2249773"/>
                    <a:gd name="connsiteX4" fmla="*/ 1704489 w 2244435"/>
                    <a:gd name="connsiteY4" fmla="*/ 269 h 2249773"/>
                    <a:gd name="connsiteX5" fmla="*/ 1809697 w 2244435"/>
                    <a:gd name="connsiteY5" fmla="*/ 113964 h 2249773"/>
                    <a:gd name="connsiteX6" fmla="*/ 1789744 w 2244435"/>
                    <a:gd name="connsiteY6" fmla="*/ 355869 h 2249773"/>
                    <a:gd name="connsiteX7" fmla="*/ 1783093 w 2244435"/>
                    <a:gd name="connsiteY7" fmla="*/ 435697 h 2249773"/>
                    <a:gd name="connsiteX8" fmla="*/ 1807883 w 2244435"/>
                    <a:gd name="connsiteY8" fmla="*/ 435697 h 2249773"/>
                    <a:gd name="connsiteX9" fmla="*/ 2127134 w 2244435"/>
                    <a:gd name="connsiteY9" fmla="*/ 435697 h 2249773"/>
                    <a:gd name="connsiteX10" fmla="*/ 2244435 w 2244435"/>
                    <a:gd name="connsiteY10" fmla="*/ 553021 h 2249773"/>
                    <a:gd name="connsiteX11" fmla="*/ 2244435 w 2244435"/>
                    <a:gd name="connsiteY11" fmla="*/ 1190440 h 2249773"/>
                    <a:gd name="connsiteX12" fmla="*/ 2128344 w 2244435"/>
                    <a:gd name="connsiteY12" fmla="*/ 1307159 h 2249773"/>
                    <a:gd name="connsiteX13" fmla="*/ 1843557 w 2244435"/>
                    <a:gd name="connsiteY13" fmla="*/ 1307764 h 2249773"/>
                    <a:gd name="connsiteX14" fmla="*/ 1812720 w 2244435"/>
                    <a:gd name="connsiteY14" fmla="*/ 1320464 h 2249773"/>
                    <a:gd name="connsiteX15" fmla="*/ 1711744 w 2244435"/>
                    <a:gd name="connsiteY15" fmla="*/ 1420855 h 2249773"/>
                    <a:gd name="connsiteX16" fmla="*/ 1610769 w 2244435"/>
                    <a:gd name="connsiteY16" fmla="*/ 1444440 h 2249773"/>
                    <a:gd name="connsiteX17" fmla="*/ 1556956 w 2244435"/>
                    <a:gd name="connsiteY17" fmla="*/ 1356145 h 2249773"/>
                    <a:gd name="connsiteX18" fmla="*/ 1556956 w 2244435"/>
                    <a:gd name="connsiteY18" fmla="*/ 1306554 h 2249773"/>
                    <a:gd name="connsiteX19" fmla="*/ 1530956 w 2244435"/>
                    <a:gd name="connsiteY19" fmla="*/ 1306554 h 2249773"/>
                    <a:gd name="connsiteX20" fmla="*/ 1205054 w 2244435"/>
                    <a:gd name="connsiteY20" fmla="*/ 1306554 h 2249773"/>
                    <a:gd name="connsiteX21" fmla="*/ 1086544 w 2244435"/>
                    <a:gd name="connsiteY21" fmla="*/ 1188021 h 2249773"/>
                    <a:gd name="connsiteX22" fmla="*/ 1086544 w 2244435"/>
                    <a:gd name="connsiteY22" fmla="*/ 1065859 h 2249773"/>
                    <a:gd name="connsiteX23" fmla="*/ 1017010 w 2244435"/>
                    <a:gd name="connsiteY23" fmla="*/ 1169878 h 2249773"/>
                    <a:gd name="connsiteX24" fmla="*/ 1013987 w 2244435"/>
                    <a:gd name="connsiteY24" fmla="*/ 1189231 h 2249773"/>
                    <a:gd name="connsiteX25" fmla="*/ 1012777 w 2244435"/>
                    <a:gd name="connsiteY25" fmla="*/ 1350097 h 2249773"/>
                    <a:gd name="connsiteX26" fmla="*/ 989801 w 2244435"/>
                    <a:gd name="connsiteY26" fmla="*/ 1469236 h 2249773"/>
                    <a:gd name="connsiteX27" fmla="*/ 992824 w 2244435"/>
                    <a:gd name="connsiteY27" fmla="*/ 1497659 h 2249773"/>
                    <a:gd name="connsiteX28" fmla="*/ 1012777 w 2244435"/>
                    <a:gd name="connsiteY28" fmla="*/ 1562974 h 2249773"/>
                    <a:gd name="connsiteX29" fmla="*/ 1013382 w 2244435"/>
                    <a:gd name="connsiteY29" fmla="*/ 1998402 h 2249773"/>
                    <a:gd name="connsiteX30" fmla="*/ 767292 w 2244435"/>
                    <a:gd name="connsiteY30" fmla="*/ 2248774 h 2249773"/>
                    <a:gd name="connsiteX31" fmla="*/ 11488 w 2244435"/>
                    <a:gd name="connsiteY31" fmla="*/ 2249379 h 2249773"/>
                    <a:gd name="connsiteX32" fmla="*/ 0 w 2244435"/>
                    <a:gd name="connsiteY32" fmla="*/ 2248169 h 2249773"/>
                    <a:gd name="connsiteX33" fmla="*/ 0 w 2244435"/>
                    <a:gd name="connsiteY33" fmla="*/ 2223978 h 2249773"/>
                    <a:gd name="connsiteX34" fmla="*/ 0 w 2244435"/>
                    <a:gd name="connsiteY34" fmla="*/ 1602888 h 2249773"/>
                    <a:gd name="connsiteX35" fmla="*/ 217672 w 2244435"/>
                    <a:gd name="connsiteY35" fmla="*/ 1378521 h 2249773"/>
                    <a:gd name="connsiteX36" fmla="*/ 238834 w 2244435"/>
                    <a:gd name="connsiteY36" fmla="*/ 1366426 h 2249773"/>
                    <a:gd name="connsiteX37" fmla="*/ 240043 w 2244435"/>
                    <a:gd name="connsiteY37" fmla="*/ 1364612 h 2249773"/>
                    <a:gd name="connsiteX38" fmla="*/ 233392 w 2244435"/>
                    <a:gd name="connsiteY38" fmla="*/ 1138431 h 2249773"/>
                    <a:gd name="connsiteX39" fmla="*/ 125766 w 2244435"/>
                    <a:gd name="connsiteY39" fmla="*/ 1002964 h 2249773"/>
                    <a:gd name="connsiteX40" fmla="*/ 71348 w 2244435"/>
                    <a:gd name="connsiteY40" fmla="*/ 887455 h 2249773"/>
                    <a:gd name="connsiteX41" fmla="*/ 113673 w 2244435"/>
                    <a:gd name="connsiteY41" fmla="*/ 618940 h 2249773"/>
                    <a:gd name="connsiteX42" fmla="*/ 594364 w 2244435"/>
                    <a:gd name="connsiteY42" fmla="*/ 289950 h 2249773"/>
                    <a:gd name="connsiteX43" fmla="*/ 779990 w 2244435"/>
                    <a:gd name="connsiteY43" fmla="*/ 289345 h 2249773"/>
                    <a:gd name="connsiteX44" fmla="*/ 803571 w 2244435"/>
                    <a:gd name="connsiteY44" fmla="*/ 281483 h 2249773"/>
                    <a:gd name="connsiteX45" fmla="*/ 974685 w 2244435"/>
                    <a:gd name="connsiteY45" fmla="*/ 218588 h 2249773"/>
                    <a:gd name="connsiteX46" fmla="*/ 1304820 w 2244435"/>
                    <a:gd name="connsiteY46" fmla="*/ 418764 h 2249773"/>
                    <a:gd name="connsiteX47" fmla="*/ 1335657 w 2244435"/>
                    <a:gd name="connsiteY47" fmla="*/ 435697 h 2249773"/>
                    <a:gd name="connsiteX48" fmla="*/ 1525514 w 2244435"/>
                    <a:gd name="connsiteY48" fmla="*/ 435093 h 2249773"/>
                    <a:gd name="connsiteX49" fmla="*/ 1547886 w 2244435"/>
                    <a:gd name="connsiteY49" fmla="*/ 434488 h 2249773"/>
                    <a:gd name="connsiteX50" fmla="*/ 1629513 w 2244435"/>
                    <a:gd name="connsiteY50" fmla="*/ 1233983 h 2249773"/>
                    <a:gd name="connsiteX51" fmla="*/ 1630118 w 2244435"/>
                    <a:gd name="connsiteY51" fmla="*/ 1344050 h 2249773"/>
                    <a:gd name="connsiteX52" fmla="*/ 1639187 w 2244435"/>
                    <a:gd name="connsiteY52" fmla="*/ 1376707 h 2249773"/>
                    <a:gd name="connsiteX53" fmla="*/ 1670024 w 2244435"/>
                    <a:gd name="connsiteY53" fmla="*/ 1359773 h 2249773"/>
                    <a:gd name="connsiteX54" fmla="*/ 1782488 w 2244435"/>
                    <a:gd name="connsiteY54" fmla="*/ 1248497 h 2249773"/>
                    <a:gd name="connsiteX55" fmla="*/ 1815139 w 2244435"/>
                    <a:gd name="connsiteY55" fmla="*/ 1235193 h 2249773"/>
                    <a:gd name="connsiteX56" fmla="*/ 2124716 w 2244435"/>
                    <a:gd name="connsiteY56" fmla="*/ 1234588 h 2249773"/>
                    <a:gd name="connsiteX57" fmla="*/ 2171878 w 2244435"/>
                    <a:gd name="connsiteY57" fmla="*/ 1186812 h 2249773"/>
                    <a:gd name="connsiteX58" fmla="*/ 2171878 w 2244435"/>
                    <a:gd name="connsiteY58" fmla="*/ 556650 h 2249773"/>
                    <a:gd name="connsiteX59" fmla="*/ 2124716 w 2244435"/>
                    <a:gd name="connsiteY59" fmla="*/ 508874 h 2249773"/>
                    <a:gd name="connsiteX60" fmla="*/ 1796999 w 2244435"/>
                    <a:gd name="connsiteY60" fmla="*/ 508874 h 2249773"/>
                    <a:gd name="connsiteX61" fmla="*/ 1779465 w 2244435"/>
                    <a:gd name="connsiteY61" fmla="*/ 509478 h 2249773"/>
                    <a:gd name="connsiteX62" fmla="*/ 1678489 w 2244435"/>
                    <a:gd name="connsiteY62" fmla="*/ 581445 h 2249773"/>
                    <a:gd name="connsiteX63" fmla="*/ 1624071 w 2244435"/>
                    <a:gd name="connsiteY63" fmla="*/ 581445 h 2249773"/>
                    <a:gd name="connsiteX64" fmla="*/ 1568444 w 2244435"/>
                    <a:gd name="connsiteY64" fmla="*/ 551812 h 2249773"/>
                    <a:gd name="connsiteX65" fmla="*/ 1549096 w 2244435"/>
                    <a:gd name="connsiteY65" fmla="*/ 508874 h 2249773"/>
                    <a:gd name="connsiteX66" fmla="*/ 1526119 w 2244435"/>
                    <a:gd name="connsiteY66" fmla="*/ 508874 h 2249773"/>
                    <a:gd name="connsiteX67" fmla="*/ 1350773 w 2244435"/>
                    <a:gd name="connsiteY67" fmla="*/ 508874 h 2249773"/>
                    <a:gd name="connsiteX68" fmla="*/ 1353191 w 2244435"/>
                    <a:gd name="connsiteY68" fmla="*/ 523388 h 2249773"/>
                    <a:gd name="connsiteX69" fmla="*/ 1374958 w 2244435"/>
                    <a:gd name="connsiteY69" fmla="*/ 675183 h 2249773"/>
                    <a:gd name="connsiteX70" fmla="*/ 1195379 w 2244435"/>
                    <a:gd name="connsiteY70" fmla="*/ 871731 h 2249773"/>
                    <a:gd name="connsiteX71" fmla="*/ 1180263 w 2244435"/>
                    <a:gd name="connsiteY71" fmla="*/ 877174 h 2249773"/>
                    <a:gd name="connsiteX72" fmla="*/ 1158496 w 2244435"/>
                    <a:gd name="connsiteY72" fmla="*/ 942488 h 2249773"/>
                    <a:gd name="connsiteX73" fmla="*/ 1157287 w 2244435"/>
                    <a:gd name="connsiteY73" fmla="*/ 1184997 h 2249773"/>
                    <a:gd name="connsiteX74" fmla="*/ 1207472 w 2244435"/>
                    <a:gd name="connsiteY74" fmla="*/ 1234588 h 2249773"/>
                    <a:gd name="connsiteX75" fmla="*/ 1601095 w 2244435"/>
                    <a:gd name="connsiteY75" fmla="*/ 1234588 h 2249773"/>
                    <a:gd name="connsiteX76" fmla="*/ 1629513 w 2244435"/>
                    <a:gd name="connsiteY76" fmla="*/ 1233983 h 2249773"/>
                    <a:gd name="connsiteX77" fmla="*/ 203765 w 2244435"/>
                    <a:gd name="connsiteY77" fmla="*/ 1786131 h 2249773"/>
                    <a:gd name="connsiteX78" fmla="*/ 374879 w 2244435"/>
                    <a:gd name="connsiteY78" fmla="*/ 1920388 h 2249773"/>
                    <a:gd name="connsiteX79" fmla="*/ 650596 w 2244435"/>
                    <a:gd name="connsiteY79" fmla="*/ 2136893 h 2249773"/>
                    <a:gd name="connsiteX80" fmla="*/ 839849 w 2244435"/>
                    <a:gd name="connsiteY80" fmla="*/ 2158664 h 2249773"/>
                    <a:gd name="connsiteX81" fmla="*/ 941429 w 2244435"/>
                    <a:gd name="connsiteY81" fmla="*/ 2004450 h 2249773"/>
                    <a:gd name="connsiteX82" fmla="*/ 942034 w 2244435"/>
                    <a:gd name="connsiteY82" fmla="*/ 1564788 h 2249773"/>
                    <a:gd name="connsiteX83" fmla="*/ 899104 w 2244435"/>
                    <a:gd name="connsiteY83" fmla="*/ 1524269 h 2249773"/>
                    <a:gd name="connsiteX84" fmla="*/ 740688 w 2244435"/>
                    <a:gd name="connsiteY84" fmla="*/ 1524269 h 2249773"/>
                    <a:gd name="connsiteX85" fmla="*/ 723758 w 2244435"/>
                    <a:gd name="connsiteY85" fmla="*/ 1526083 h 2249773"/>
                    <a:gd name="connsiteX86" fmla="*/ 723758 w 2244435"/>
                    <a:gd name="connsiteY86" fmla="*/ 1921597 h 2249773"/>
                    <a:gd name="connsiteX87" fmla="*/ 652410 w 2244435"/>
                    <a:gd name="connsiteY87" fmla="*/ 1921597 h 2249773"/>
                    <a:gd name="connsiteX88" fmla="*/ 651805 w 2244435"/>
                    <a:gd name="connsiteY88" fmla="*/ 1884707 h 2249773"/>
                    <a:gd name="connsiteX89" fmla="*/ 639108 w 2244435"/>
                    <a:gd name="connsiteY89" fmla="*/ 1850840 h 2249773"/>
                    <a:gd name="connsiteX90" fmla="*/ 322879 w 2244435"/>
                    <a:gd name="connsiteY90" fmla="*/ 1504916 h 2249773"/>
                    <a:gd name="connsiteX91" fmla="*/ 162044 w 2244435"/>
                    <a:gd name="connsiteY91" fmla="*/ 1460769 h 2249773"/>
                    <a:gd name="connsiteX92" fmla="*/ 73162 w 2244435"/>
                    <a:gd name="connsiteY92" fmla="*/ 1602283 h 2249773"/>
                    <a:gd name="connsiteX93" fmla="*/ 73162 w 2244435"/>
                    <a:gd name="connsiteY93" fmla="*/ 2153221 h 2249773"/>
                    <a:gd name="connsiteX94" fmla="*/ 74371 w 2244435"/>
                    <a:gd name="connsiteY94" fmla="*/ 2174993 h 2249773"/>
                    <a:gd name="connsiteX95" fmla="*/ 581667 w 2244435"/>
                    <a:gd name="connsiteY95" fmla="*/ 2174993 h 2249773"/>
                    <a:gd name="connsiteX96" fmla="*/ 160230 w 2244435"/>
                    <a:gd name="connsiteY96" fmla="*/ 1842978 h 2249773"/>
                    <a:gd name="connsiteX97" fmla="*/ 203765 w 2244435"/>
                    <a:gd name="connsiteY97" fmla="*/ 1786131 h 2249773"/>
                    <a:gd name="connsiteX98" fmla="*/ 333158 w 2244435"/>
                    <a:gd name="connsiteY98" fmla="*/ 1194069 h 2249773"/>
                    <a:gd name="connsiteX99" fmla="*/ 421436 w 2244435"/>
                    <a:gd name="connsiteY99" fmla="*/ 1030178 h 2249773"/>
                    <a:gd name="connsiteX100" fmla="*/ 428087 w 2244435"/>
                    <a:gd name="connsiteY100" fmla="*/ 987845 h 2249773"/>
                    <a:gd name="connsiteX101" fmla="*/ 402088 w 2244435"/>
                    <a:gd name="connsiteY101" fmla="*/ 852378 h 2249773"/>
                    <a:gd name="connsiteX102" fmla="*/ 561109 w 2244435"/>
                    <a:gd name="connsiteY102" fmla="*/ 692117 h 2249773"/>
                    <a:gd name="connsiteX103" fmla="*/ 658456 w 2244435"/>
                    <a:gd name="connsiteY103" fmla="*/ 742312 h 2249773"/>
                    <a:gd name="connsiteX104" fmla="*/ 715897 w 2244435"/>
                    <a:gd name="connsiteY104" fmla="*/ 684254 h 2249773"/>
                    <a:gd name="connsiteX105" fmla="*/ 1024870 w 2244435"/>
                    <a:gd name="connsiteY105" fmla="*/ 684859 h 2249773"/>
                    <a:gd name="connsiteX106" fmla="*/ 1105288 w 2244435"/>
                    <a:gd name="connsiteY106" fmla="*/ 764688 h 2249773"/>
                    <a:gd name="connsiteX107" fmla="*/ 1232867 w 2244435"/>
                    <a:gd name="connsiteY107" fmla="*/ 789483 h 2249773"/>
                    <a:gd name="connsiteX108" fmla="*/ 1304820 w 2244435"/>
                    <a:gd name="connsiteY108" fmla="*/ 681231 h 2249773"/>
                    <a:gd name="connsiteX109" fmla="*/ 1300587 w 2244435"/>
                    <a:gd name="connsiteY109" fmla="*/ 602007 h 2249773"/>
                    <a:gd name="connsiteX110" fmla="*/ 943848 w 2244435"/>
                    <a:gd name="connsiteY110" fmla="*/ 290554 h 2249773"/>
                    <a:gd name="connsiteX111" fmla="*/ 835012 w 2244435"/>
                    <a:gd name="connsiteY111" fmla="*/ 400016 h 2249773"/>
                    <a:gd name="connsiteX112" fmla="*/ 896081 w 2244435"/>
                    <a:gd name="connsiteY112" fmla="*/ 470774 h 2249773"/>
                    <a:gd name="connsiteX113" fmla="*/ 975289 w 2244435"/>
                    <a:gd name="connsiteY113" fmla="*/ 421183 h 2249773"/>
                    <a:gd name="connsiteX114" fmla="*/ 980731 w 2244435"/>
                    <a:gd name="connsiteY114" fmla="*/ 400016 h 2249773"/>
                    <a:gd name="connsiteX115" fmla="*/ 1050265 w 2244435"/>
                    <a:gd name="connsiteY115" fmla="*/ 400016 h 2249773"/>
                    <a:gd name="connsiteX116" fmla="*/ 900314 w 2244435"/>
                    <a:gd name="connsiteY116" fmla="*/ 543345 h 2249773"/>
                    <a:gd name="connsiteX117" fmla="*/ 763664 w 2244435"/>
                    <a:gd name="connsiteY117" fmla="*/ 361312 h 2249773"/>
                    <a:gd name="connsiteX118" fmla="*/ 598597 w 2244435"/>
                    <a:gd name="connsiteY118" fmla="*/ 361916 h 2249773"/>
                    <a:gd name="connsiteX119" fmla="*/ 181393 w 2244435"/>
                    <a:gd name="connsiteY119" fmla="*/ 646759 h 2249773"/>
                    <a:gd name="connsiteX120" fmla="*/ 145719 w 2244435"/>
                    <a:gd name="connsiteY120" fmla="*/ 895316 h 2249773"/>
                    <a:gd name="connsiteX121" fmla="*/ 168091 w 2244435"/>
                    <a:gd name="connsiteY121" fmla="*/ 941278 h 2249773"/>
                    <a:gd name="connsiteX122" fmla="*/ 316228 w 2244435"/>
                    <a:gd name="connsiteY122" fmla="*/ 1143269 h 2249773"/>
                    <a:gd name="connsiteX123" fmla="*/ 333158 w 2244435"/>
                    <a:gd name="connsiteY123" fmla="*/ 1194069 h 2249773"/>
                    <a:gd name="connsiteX124" fmla="*/ 1110125 w 2244435"/>
                    <a:gd name="connsiteY124" fmla="*/ 863264 h 2249773"/>
                    <a:gd name="connsiteX125" fmla="*/ 1021242 w 2244435"/>
                    <a:gd name="connsiteY125" fmla="*/ 784645 h 2249773"/>
                    <a:gd name="connsiteX126" fmla="*/ 965010 w 2244435"/>
                    <a:gd name="connsiteY126" fmla="*/ 729007 h 2249773"/>
                    <a:gd name="connsiteX127" fmla="*/ 773338 w 2244435"/>
                    <a:gd name="connsiteY127" fmla="*/ 729007 h 2249773"/>
                    <a:gd name="connsiteX128" fmla="*/ 680223 w 2244435"/>
                    <a:gd name="connsiteY128" fmla="*/ 822140 h 2249773"/>
                    <a:gd name="connsiteX129" fmla="*/ 643340 w 2244435"/>
                    <a:gd name="connsiteY129" fmla="*/ 862054 h 2249773"/>
                    <a:gd name="connsiteX130" fmla="*/ 617945 w 2244435"/>
                    <a:gd name="connsiteY130" fmla="*/ 813069 h 2249773"/>
                    <a:gd name="connsiteX131" fmla="*/ 553248 w 2244435"/>
                    <a:gd name="connsiteY131" fmla="*/ 764688 h 2249773"/>
                    <a:gd name="connsiteX132" fmla="*/ 473435 w 2244435"/>
                    <a:gd name="connsiteY132" fmla="*/ 843307 h 2249773"/>
                    <a:gd name="connsiteX133" fmla="*/ 504877 w 2244435"/>
                    <a:gd name="connsiteY133" fmla="*/ 1002964 h 2249773"/>
                    <a:gd name="connsiteX134" fmla="*/ 499435 w 2244435"/>
                    <a:gd name="connsiteY134" fmla="*/ 1039250 h 2249773"/>
                    <a:gd name="connsiteX135" fmla="*/ 386367 w 2244435"/>
                    <a:gd name="connsiteY135" fmla="*/ 1248497 h 2249773"/>
                    <a:gd name="connsiteX136" fmla="*/ 305345 w 2244435"/>
                    <a:gd name="connsiteY136" fmla="*/ 1397874 h 2249773"/>
                    <a:gd name="connsiteX137" fmla="*/ 366414 w 2244435"/>
                    <a:gd name="connsiteY137" fmla="*/ 1446255 h 2249773"/>
                    <a:gd name="connsiteX138" fmla="*/ 377902 w 2244435"/>
                    <a:gd name="connsiteY138" fmla="*/ 1452302 h 2249773"/>
                    <a:gd name="connsiteX139" fmla="*/ 492179 w 2244435"/>
                    <a:gd name="connsiteY139" fmla="*/ 1463793 h 2249773"/>
                    <a:gd name="connsiteX140" fmla="*/ 532691 w 2244435"/>
                    <a:gd name="connsiteY140" fmla="*/ 1361588 h 2249773"/>
                    <a:gd name="connsiteX141" fmla="*/ 482505 w 2244435"/>
                    <a:gd name="connsiteY141" fmla="*/ 1334978 h 2249773"/>
                    <a:gd name="connsiteX142" fmla="*/ 514551 w 2244435"/>
                    <a:gd name="connsiteY142" fmla="*/ 1270874 h 2249773"/>
                    <a:gd name="connsiteX143" fmla="*/ 579248 w 2244435"/>
                    <a:gd name="connsiteY143" fmla="*/ 1302321 h 2249773"/>
                    <a:gd name="connsiteX144" fmla="*/ 579248 w 2244435"/>
                    <a:gd name="connsiteY144" fmla="*/ 1197093 h 2249773"/>
                    <a:gd name="connsiteX145" fmla="*/ 634875 w 2244435"/>
                    <a:gd name="connsiteY145" fmla="*/ 1104564 h 2249773"/>
                    <a:gd name="connsiteX146" fmla="*/ 660875 w 2244435"/>
                    <a:gd name="connsiteY146" fmla="*/ 1071302 h 2249773"/>
                    <a:gd name="connsiteX147" fmla="*/ 816268 w 2244435"/>
                    <a:gd name="connsiteY147" fmla="*/ 944302 h 2249773"/>
                    <a:gd name="connsiteX148" fmla="*/ 991010 w 2244435"/>
                    <a:gd name="connsiteY148" fmla="*/ 1038645 h 2249773"/>
                    <a:gd name="connsiteX149" fmla="*/ 1004917 w 2244435"/>
                    <a:gd name="connsiteY149" fmla="*/ 1064650 h 2249773"/>
                    <a:gd name="connsiteX150" fmla="*/ 1110125 w 2244435"/>
                    <a:gd name="connsiteY150" fmla="*/ 863264 h 2249773"/>
                    <a:gd name="connsiteX151" fmla="*/ 724362 w 2244435"/>
                    <a:gd name="connsiteY151" fmla="*/ 1232773 h 2249773"/>
                    <a:gd name="connsiteX152" fmla="*/ 724362 w 2244435"/>
                    <a:gd name="connsiteY152" fmla="*/ 1204955 h 2249773"/>
                    <a:gd name="connsiteX153" fmla="*/ 688688 w 2244435"/>
                    <a:gd name="connsiteY153" fmla="*/ 1161412 h 2249773"/>
                    <a:gd name="connsiteX154" fmla="*/ 651805 w 2244435"/>
                    <a:gd name="connsiteY154" fmla="*/ 1203745 h 2249773"/>
                    <a:gd name="connsiteX155" fmla="*/ 651805 w 2244435"/>
                    <a:gd name="connsiteY155" fmla="*/ 1316836 h 2249773"/>
                    <a:gd name="connsiteX156" fmla="*/ 693526 w 2244435"/>
                    <a:gd name="connsiteY156" fmla="*/ 1436578 h 2249773"/>
                    <a:gd name="connsiteX157" fmla="*/ 720735 w 2244435"/>
                    <a:gd name="connsiteY157" fmla="*/ 1450488 h 2249773"/>
                    <a:gd name="connsiteX158" fmla="*/ 861012 w 2244435"/>
                    <a:gd name="connsiteY158" fmla="*/ 1451093 h 2249773"/>
                    <a:gd name="connsiteX159" fmla="*/ 940220 w 2244435"/>
                    <a:gd name="connsiteY159" fmla="*/ 1380336 h 2249773"/>
                    <a:gd name="connsiteX160" fmla="*/ 941429 w 2244435"/>
                    <a:gd name="connsiteY160" fmla="*/ 1359773 h 2249773"/>
                    <a:gd name="connsiteX161" fmla="*/ 940825 w 2244435"/>
                    <a:gd name="connsiteY161" fmla="*/ 1126336 h 2249773"/>
                    <a:gd name="connsiteX162" fmla="*/ 922685 w 2244435"/>
                    <a:gd name="connsiteY162" fmla="*/ 1064650 h 2249773"/>
                    <a:gd name="connsiteX163" fmla="*/ 811431 w 2244435"/>
                    <a:gd name="connsiteY163" fmla="*/ 1018083 h 2249773"/>
                    <a:gd name="connsiteX164" fmla="*/ 731618 w 2244435"/>
                    <a:gd name="connsiteY164" fmla="*/ 1096702 h 2249773"/>
                    <a:gd name="connsiteX165" fmla="*/ 793896 w 2244435"/>
                    <a:gd name="connsiteY165" fmla="*/ 1232169 h 2249773"/>
                    <a:gd name="connsiteX166" fmla="*/ 724362 w 2244435"/>
                    <a:gd name="connsiteY166" fmla="*/ 1232773 h 2249773"/>
                    <a:gd name="connsiteX167" fmla="*/ 1705093 w 2244435"/>
                    <a:gd name="connsiteY167" fmla="*/ 507664 h 2249773"/>
                    <a:gd name="connsiteX168" fmla="*/ 1712954 w 2244435"/>
                    <a:gd name="connsiteY168" fmla="*/ 409088 h 2249773"/>
                    <a:gd name="connsiteX169" fmla="*/ 1737744 w 2244435"/>
                    <a:gd name="connsiteY169" fmla="*/ 115778 h 2249773"/>
                    <a:gd name="connsiteX170" fmla="*/ 1698443 w 2244435"/>
                    <a:gd name="connsiteY170" fmla="*/ 72840 h 2249773"/>
                    <a:gd name="connsiteX171" fmla="*/ 1644025 w 2244435"/>
                    <a:gd name="connsiteY171" fmla="*/ 72840 h 2249773"/>
                    <a:gd name="connsiteX172" fmla="*/ 1594444 w 2244435"/>
                    <a:gd name="connsiteY172" fmla="*/ 127269 h 2249773"/>
                    <a:gd name="connsiteX173" fmla="*/ 1616211 w 2244435"/>
                    <a:gd name="connsiteY173" fmla="*/ 386712 h 2249773"/>
                    <a:gd name="connsiteX174" fmla="*/ 1627094 w 2244435"/>
                    <a:gd name="connsiteY174" fmla="*/ 507664 h 2249773"/>
                    <a:gd name="connsiteX175" fmla="*/ 1705093 w 2244435"/>
                    <a:gd name="connsiteY175" fmla="*/ 507664 h 2249773"/>
                    <a:gd name="connsiteX176" fmla="*/ 592550 w 2244435"/>
                    <a:gd name="connsiteY176" fmla="*/ 1409364 h 2249773"/>
                    <a:gd name="connsiteX177" fmla="*/ 558086 w 2244435"/>
                    <a:gd name="connsiteY177" fmla="*/ 1495240 h 2249773"/>
                    <a:gd name="connsiteX178" fmla="*/ 651805 w 2244435"/>
                    <a:gd name="connsiteY178" fmla="*/ 1595631 h 2249773"/>
                    <a:gd name="connsiteX179" fmla="*/ 651805 w 2244435"/>
                    <a:gd name="connsiteY179" fmla="*/ 1510964 h 2249773"/>
                    <a:gd name="connsiteX180" fmla="*/ 645759 w 2244435"/>
                    <a:gd name="connsiteY180" fmla="*/ 1494636 h 2249773"/>
                    <a:gd name="connsiteX181" fmla="*/ 592550 w 2244435"/>
                    <a:gd name="connsiteY181" fmla="*/ 1409364 h 2249773"/>
                    <a:gd name="connsiteX182" fmla="*/ 449854 w 2244435"/>
                    <a:gd name="connsiteY182" fmla="*/ 1536364 h 2249773"/>
                    <a:gd name="connsiteX183" fmla="*/ 648177 w 2244435"/>
                    <a:gd name="connsiteY183" fmla="*/ 1752869 h 2249773"/>
                    <a:gd name="connsiteX184" fmla="*/ 653619 w 2244435"/>
                    <a:gd name="connsiteY184" fmla="*/ 1749240 h 2249773"/>
                    <a:gd name="connsiteX185" fmla="*/ 559295 w 2244435"/>
                    <a:gd name="connsiteY185" fmla="*/ 1599259 h 2249773"/>
                    <a:gd name="connsiteX186" fmla="*/ 449854 w 2244435"/>
                    <a:gd name="connsiteY186" fmla="*/ 1536364 h 224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Lst>
                  <a:rect l="l" t="t" r="r" b="b"/>
                  <a:pathLst>
                    <a:path w="2244435" h="2249773">
                      <a:moveTo>
                        <a:pt x="1547886" y="434488"/>
                      </a:moveTo>
                      <a:cubicBezTo>
                        <a:pt x="1544259" y="389736"/>
                        <a:pt x="1540631" y="346193"/>
                        <a:pt x="1537003" y="302650"/>
                      </a:cubicBezTo>
                      <a:cubicBezTo>
                        <a:pt x="1531561" y="240964"/>
                        <a:pt x="1525514" y="179278"/>
                        <a:pt x="1521282" y="117593"/>
                      </a:cubicBezTo>
                      <a:cubicBezTo>
                        <a:pt x="1516445" y="49254"/>
                        <a:pt x="1563002" y="269"/>
                        <a:pt x="1631932" y="269"/>
                      </a:cubicBezTo>
                      <a:cubicBezTo>
                        <a:pt x="1656118" y="269"/>
                        <a:pt x="1680303" y="-336"/>
                        <a:pt x="1704489" y="269"/>
                      </a:cubicBezTo>
                      <a:cubicBezTo>
                        <a:pt x="1767372" y="1478"/>
                        <a:pt x="1813929" y="50464"/>
                        <a:pt x="1809697" y="113964"/>
                      </a:cubicBezTo>
                      <a:cubicBezTo>
                        <a:pt x="1804255" y="194397"/>
                        <a:pt x="1796394" y="274831"/>
                        <a:pt x="1789744" y="355869"/>
                      </a:cubicBezTo>
                      <a:cubicBezTo>
                        <a:pt x="1787325" y="381269"/>
                        <a:pt x="1785511" y="407274"/>
                        <a:pt x="1783093" y="435697"/>
                      </a:cubicBezTo>
                      <a:cubicBezTo>
                        <a:pt x="1792162" y="435697"/>
                        <a:pt x="1800023" y="435697"/>
                        <a:pt x="1807883" y="435697"/>
                      </a:cubicBezTo>
                      <a:cubicBezTo>
                        <a:pt x="1914300" y="435697"/>
                        <a:pt x="2020717" y="435697"/>
                        <a:pt x="2127134" y="435697"/>
                      </a:cubicBezTo>
                      <a:cubicBezTo>
                        <a:pt x="2199691" y="435697"/>
                        <a:pt x="2244435" y="480450"/>
                        <a:pt x="2244435" y="553021"/>
                      </a:cubicBezTo>
                      <a:cubicBezTo>
                        <a:pt x="2244435" y="765293"/>
                        <a:pt x="2244435" y="977564"/>
                        <a:pt x="2244435" y="1190440"/>
                      </a:cubicBezTo>
                      <a:cubicBezTo>
                        <a:pt x="2244435" y="1261197"/>
                        <a:pt x="2199087" y="1306554"/>
                        <a:pt x="2128344" y="1307159"/>
                      </a:cubicBezTo>
                      <a:cubicBezTo>
                        <a:pt x="2033415" y="1307159"/>
                        <a:pt x="1938486" y="1306554"/>
                        <a:pt x="1843557" y="1307764"/>
                      </a:cubicBezTo>
                      <a:cubicBezTo>
                        <a:pt x="1833278" y="1307764"/>
                        <a:pt x="1820580" y="1313207"/>
                        <a:pt x="1812720" y="1320464"/>
                      </a:cubicBezTo>
                      <a:cubicBezTo>
                        <a:pt x="1778255" y="1353121"/>
                        <a:pt x="1745000" y="1386988"/>
                        <a:pt x="1711744" y="1420855"/>
                      </a:cubicBezTo>
                      <a:cubicBezTo>
                        <a:pt x="1682722" y="1449883"/>
                        <a:pt x="1649466" y="1461374"/>
                        <a:pt x="1610769" y="1444440"/>
                      </a:cubicBezTo>
                      <a:cubicBezTo>
                        <a:pt x="1572677" y="1428112"/>
                        <a:pt x="1555747" y="1397269"/>
                        <a:pt x="1556956" y="1356145"/>
                      </a:cubicBezTo>
                      <a:cubicBezTo>
                        <a:pt x="1557560" y="1340421"/>
                        <a:pt x="1556956" y="1324697"/>
                        <a:pt x="1556956" y="1306554"/>
                      </a:cubicBezTo>
                      <a:cubicBezTo>
                        <a:pt x="1546677" y="1306554"/>
                        <a:pt x="1538817" y="1306554"/>
                        <a:pt x="1530956" y="1306554"/>
                      </a:cubicBezTo>
                      <a:cubicBezTo>
                        <a:pt x="1422121" y="1306554"/>
                        <a:pt x="1313889" y="1306554"/>
                        <a:pt x="1205054" y="1306554"/>
                      </a:cubicBezTo>
                      <a:cubicBezTo>
                        <a:pt x="1131287" y="1306554"/>
                        <a:pt x="1086544" y="1261802"/>
                        <a:pt x="1086544" y="1188021"/>
                      </a:cubicBezTo>
                      <a:cubicBezTo>
                        <a:pt x="1086544" y="1149316"/>
                        <a:pt x="1086544" y="1110007"/>
                        <a:pt x="1086544" y="1065859"/>
                      </a:cubicBezTo>
                      <a:cubicBezTo>
                        <a:pt x="1061149" y="1103959"/>
                        <a:pt x="1038777" y="1136617"/>
                        <a:pt x="1017010" y="1169878"/>
                      </a:cubicBezTo>
                      <a:cubicBezTo>
                        <a:pt x="1013987" y="1174716"/>
                        <a:pt x="1013987" y="1182578"/>
                        <a:pt x="1013987" y="1189231"/>
                      </a:cubicBezTo>
                      <a:cubicBezTo>
                        <a:pt x="1013987" y="1243054"/>
                        <a:pt x="1017010" y="1296878"/>
                        <a:pt x="1012777" y="1350097"/>
                      </a:cubicBezTo>
                      <a:cubicBezTo>
                        <a:pt x="1009754" y="1390012"/>
                        <a:pt x="999475" y="1429926"/>
                        <a:pt x="989801" y="1469236"/>
                      </a:cubicBezTo>
                      <a:cubicBezTo>
                        <a:pt x="987382" y="1480121"/>
                        <a:pt x="987382" y="1487378"/>
                        <a:pt x="992824" y="1497659"/>
                      </a:cubicBezTo>
                      <a:cubicBezTo>
                        <a:pt x="1002498" y="1518221"/>
                        <a:pt x="1012777" y="1541202"/>
                        <a:pt x="1012777" y="1562974"/>
                      </a:cubicBezTo>
                      <a:cubicBezTo>
                        <a:pt x="1014591" y="1708117"/>
                        <a:pt x="1014591" y="1853259"/>
                        <a:pt x="1013382" y="1998402"/>
                      </a:cubicBezTo>
                      <a:cubicBezTo>
                        <a:pt x="1012172" y="2136893"/>
                        <a:pt x="903941" y="2248169"/>
                        <a:pt x="767292" y="2248774"/>
                      </a:cubicBezTo>
                      <a:cubicBezTo>
                        <a:pt x="515156" y="2250588"/>
                        <a:pt x="263624" y="2249379"/>
                        <a:pt x="11488" y="2249379"/>
                      </a:cubicBezTo>
                      <a:cubicBezTo>
                        <a:pt x="8465" y="2249379"/>
                        <a:pt x="5442" y="2248774"/>
                        <a:pt x="0" y="2248169"/>
                      </a:cubicBezTo>
                      <a:cubicBezTo>
                        <a:pt x="0" y="2239702"/>
                        <a:pt x="0" y="2231840"/>
                        <a:pt x="0" y="2223978"/>
                      </a:cubicBezTo>
                      <a:cubicBezTo>
                        <a:pt x="0" y="2017150"/>
                        <a:pt x="0" y="1809716"/>
                        <a:pt x="0" y="1602888"/>
                      </a:cubicBezTo>
                      <a:cubicBezTo>
                        <a:pt x="0" y="1471050"/>
                        <a:pt x="86464" y="1382755"/>
                        <a:pt x="217672" y="1378521"/>
                      </a:cubicBezTo>
                      <a:cubicBezTo>
                        <a:pt x="224927" y="1378521"/>
                        <a:pt x="231578" y="1370659"/>
                        <a:pt x="238834" y="1366426"/>
                      </a:cubicBezTo>
                      <a:cubicBezTo>
                        <a:pt x="239439" y="1365821"/>
                        <a:pt x="239439" y="1365216"/>
                        <a:pt x="240043" y="1364612"/>
                      </a:cubicBezTo>
                      <a:cubicBezTo>
                        <a:pt x="306554" y="1287202"/>
                        <a:pt x="265438" y="1212212"/>
                        <a:pt x="233392" y="1138431"/>
                      </a:cubicBezTo>
                      <a:cubicBezTo>
                        <a:pt x="210416" y="1084607"/>
                        <a:pt x="172928" y="1038645"/>
                        <a:pt x="125766" y="1002964"/>
                      </a:cubicBezTo>
                      <a:cubicBezTo>
                        <a:pt x="87069" y="973331"/>
                        <a:pt x="71952" y="936440"/>
                        <a:pt x="71348" y="887455"/>
                      </a:cubicBezTo>
                      <a:cubicBezTo>
                        <a:pt x="70743" y="795531"/>
                        <a:pt x="74976" y="704212"/>
                        <a:pt x="113673" y="618940"/>
                      </a:cubicBezTo>
                      <a:cubicBezTo>
                        <a:pt x="207393" y="412112"/>
                        <a:pt x="366414" y="299626"/>
                        <a:pt x="594364" y="289950"/>
                      </a:cubicBezTo>
                      <a:cubicBezTo>
                        <a:pt x="656038" y="287531"/>
                        <a:pt x="718316" y="289950"/>
                        <a:pt x="779990" y="289345"/>
                      </a:cubicBezTo>
                      <a:cubicBezTo>
                        <a:pt x="787850" y="289345"/>
                        <a:pt x="798734" y="286926"/>
                        <a:pt x="803571" y="281483"/>
                      </a:cubicBezTo>
                      <a:cubicBezTo>
                        <a:pt x="849524" y="229474"/>
                        <a:pt x="907569" y="211935"/>
                        <a:pt x="974685" y="218588"/>
                      </a:cubicBezTo>
                      <a:cubicBezTo>
                        <a:pt x="1116171" y="232497"/>
                        <a:pt x="1226821" y="299626"/>
                        <a:pt x="1304820" y="418764"/>
                      </a:cubicBezTo>
                      <a:cubicBezTo>
                        <a:pt x="1312680" y="430859"/>
                        <a:pt x="1320540" y="435697"/>
                        <a:pt x="1335657" y="435697"/>
                      </a:cubicBezTo>
                      <a:cubicBezTo>
                        <a:pt x="1399144" y="435093"/>
                        <a:pt x="1462632" y="435093"/>
                        <a:pt x="1525514" y="435093"/>
                      </a:cubicBezTo>
                      <a:cubicBezTo>
                        <a:pt x="1532770" y="435697"/>
                        <a:pt x="1539421" y="435093"/>
                        <a:pt x="1547886" y="434488"/>
                      </a:cubicBezTo>
                      <a:close/>
                      <a:moveTo>
                        <a:pt x="1629513" y="1233983"/>
                      </a:moveTo>
                      <a:cubicBezTo>
                        <a:pt x="1629513" y="1272688"/>
                        <a:pt x="1628909" y="1308369"/>
                        <a:pt x="1630118" y="1344050"/>
                      </a:cubicBezTo>
                      <a:cubicBezTo>
                        <a:pt x="1630722" y="1354935"/>
                        <a:pt x="1636164" y="1365821"/>
                        <a:pt x="1639187" y="1376707"/>
                      </a:cubicBezTo>
                      <a:cubicBezTo>
                        <a:pt x="1649466" y="1371264"/>
                        <a:pt x="1661559" y="1367636"/>
                        <a:pt x="1670024" y="1359773"/>
                      </a:cubicBezTo>
                      <a:cubicBezTo>
                        <a:pt x="1708117" y="1322883"/>
                        <a:pt x="1744395" y="1284783"/>
                        <a:pt x="1782488" y="1248497"/>
                      </a:cubicBezTo>
                      <a:cubicBezTo>
                        <a:pt x="1790348" y="1240636"/>
                        <a:pt x="1804255" y="1235193"/>
                        <a:pt x="1815139" y="1235193"/>
                      </a:cubicBezTo>
                      <a:cubicBezTo>
                        <a:pt x="1918532" y="1233983"/>
                        <a:pt x="2021927" y="1234588"/>
                        <a:pt x="2124716" y="1234588"/>
                      </a:cubicBezTo>
                      <a:cubicBezTo>
                        <a:pt x="2159785" y="1234588"/>
                        <a:pt x="2171878" y="1222493"/>
                        <a:pt x="2171878" y="1186812"/>
                      </a:cubicBezTo>
                      <a:cubicBezTo>
                        <a:pt x="2171878" y="976959"/>
                        <a:pt x="2171878" y="766502"/>
                        <a:pt x="2171878" y="556650"/>
                      </a:cubicBezTo>
                      <a:cubicBezTo>
                        <a:pt x="2171878" y="520969"/>
                        <a:pt x="2159785" y="508874"/>
                        <a:pt x="2124716" y="508874"/>
                      </a:cubicBezTo>
                      <a:cubicBezTo>
                        <a:pt x="2015275" y="508874"/>
                        <a:pt x="1905835" y="508874"/>
                        <a:pt x="1796999" y="508874"/>
                      </a:cubicBezTo>
                      <a:cubicBezTo>
                        <a:pt x="1790953" y="508874"/>
                        <a:pt x="1784906" y="509478"/>
                        <a:pt x="1779465" y="509478"/>
                      </a:cubicBezTo>
                      <a:cubicBezTo>
                        <a:pt x="1758907" y="571164"/>
                        <a:pt x="1744395" y="581445"/>
                        <a:pt x="1678489" y="581445"/>
                      </a:cubicBezTo>
                      <a:cubicBezTo>
                        <a:pt x="1660350" y="581445"/>
                        <a:pt x="1642210" y="582050"/>
                        <a:pt x="1624071" y="581445"/>
                      </a:cubicBezTo>
                      <a:cubicBezTo>
                        <a:pt x="1601095" y="580840"/>
                        <a:pt x="1581142" y="571164"/>
                        <a:pt x="1568444" y="551812"/>
                      </a:cubicBezTo>
                      <a:cubicBezTo>
                        <a:pt x="1560584" y="539716"/>
                        <a:pt x="1556351" y="524597"/>
                        <a:pt x="1549096" y="508874"/>
                      </a:cubicBezTo>
                      <a:cubicBezTo>
                        <a:pt x="1542444" y="508874"/>
                        <a:pt x="1534584" y="508874"/>
                        <a:pt x="1526119" y="508874"/>
                      </a:cubicBezTo>
                      <a:cubicBezTo>
                        <a:pt x="1468073" y="508874"/>
                        <a:pt x="1410028" y="508874"/>
                        <a:pt x="1350773" y="508874"/>
                      </a:cubicBezTo>
                      <a:cubicBezTo>
                        <a:pt x="1351982" y="514921"/>
                        <a:pt x="1351982" y="519155"/>
                        <a:pt x="1353191" y="523388"/>
                      </a:cubicBezTo>
                      <a:cubicBezTo>
                        <a:pt x="1369517" y="572978"/>
                        <a:pt x="1374958" y="623174"/>
                        <a:pt x="1374958" y="675183"/>
                      </a:cubicBezTo>
                      <a:cubicBezTo>
                        <a:pt x="1373749" y="782831"/>
                        <a:pt x="1302401" y="861450"/>
                        <a:pt x="1195379" y="871731"/>
                      </a:cubicBezTo>
                      <a:cubicBezTo>
                        <a:pt x="1189938" y="872335"/>
                        <a:pt x="1181473" y="874150"/>
                        <a:pt x="1180263" y="877174"/>
                      </a:cubicBezTo>
                      <a:cubicBezTo>
                        <a:pt x="1171798" y="898340"/>
                        <a:pt x="1159101" y="920716"/>
                        <a:pt x="1158496" y="942488"/>
                      </a:cubicBezTo>
                      <a:cubicBezTo>
                        <a:pt x="1156078" y="1023526"/>
                        <a:pt x="1157287" y="1103959"/>
                        <a:pt x="1157287" y="1184997"/>
                      </a:cubicBezTo>
                      <a:cubicBezTo>
                        <a:pt x="1157287" y="1223097"/>
                        <a:pt x="1168775" y="1234588"/>
                        <a:pt x="1207472" y="1234588"/>
                      </a:cubicBezTo>
                      <a:cubicBezTo>
                        <a:pt x="1338680" y="1234588"/>
                        <a:pt x="1469887" y="1234588"/>
                        <a:pt x="1601095" y="1234588"/>
                      </a:cubicBezTo>
                      <a:cubicBezTo>
                        <a:pt x="1611374" y="1233983"/>
                        <a:pt x="1619234" y="1233983"/>
                        <a:pt x="1629513" y="1233983"/>
                      </a:cubicBezTo>
                      <a:close/>
                      <a:moveTo>
                        <a:pt x="203765" y="1786131"/>
                      </a:moveTo>
                      <a:cubicBezTo>
                        <a:pt x="262415" y="1832093"/>
                        <a:pt x="318647" y="1876240"/>
                        <a:pt x="374879" y="1920388"/>
                      </a:cubicBezTo>
                      <a:cubicBezTo>
                        <a:pt x="466785" y="1992959"/>
                        <a:pt x="558086" y="2065531"/>
                        <a:pt x="650596" y="2136893"/>
                      </a:cubicBezTo>
                      <a:cubicBezTo>
                        <a:pt x="708642" y="2181645"/>
                        <a:pt x="772734" y="2190717"/>
                        <a:pt x="839849" y="2158664"/>
                      </a:cubicBezTo>
                      <a:cubicBezTo>
                        <a:pt x="903941" y="2127821"/>
                        <a:pt x="940220" y="2075207"/>
                        <a:pt x="941429" y="2004450"/>
                      </a:cubicBezTo>
                      <a:cubicBezTo>
                        <a:pt x="943848" y="1858097"/>
                        <a:pt x="942639" y="1711140"/>
                        <a:pt x="942034" y="1564788"/>
                      </a:cubicBezTo>
                      <a:cubicBezTo>
                        <a:pt x="942034" y="1536969"/>
                        <a:pt x="928127" y="1524269"/>
                        <a:pt x="899104" y="1524269"/>
                      </a:cubicBezTo>
                      <a:cubicBezTo>
                        <a:pt x="846500" y="1524269"/>
                        <a:pt x="793292" y="1524269"/>
                        <a:pt x="740688" y="1524269"/>
                      </a:cubicBezTo>
                      <a:cubicBezTo>
                        <a:pt x="735851" y="1524269"/>
                        <a:pt x="731013" y="1525478"/>
                        <a:pt x="723758" y="1526083"/>
                      </a:cubicBezTo>
                      <a:cubicBezTo>
                        <a:pt x="723758" y="1659131"/>
                        <a:pt x="723758" y="1790969"/>
                        <a:pt x="723758" y="1921597"/>
                      </a:cubicBezTo>
                      <a:cubicBezTo>
                        <a:pt x="698967" y="1921597"/>
                        <a:pt x="676596" y="1921597"/>
                        <a:pt x="652410" y="1921597"/>
                      </a:cubicBezTo>
                      <a:cubicBezTo>
                        <a:pt x="652410" y="1908293"/>
                        <a:pt x="654224" y="1896197"/>
                        <a:pt x="651805" y="1884707"/>
                      </a:cubicBezTo>
                      <a:cubicBezTo>
                        <a:pt x="649387" y="1873216"/>
                        <a:pt x="646968" y="1859307"/>
                        <a:pt x="639108" y="1850840"/>
                      </a:cubicBezTo>
                      <a:cubicBezTo>
                        <a:pt x="534504" y="1734726"/>
                        <a:pt x="428692" y="1619821"/>
                        <a:pt x="322879" y="1504916"/>
                      </a:cubicBezTo>
                      <a:cubicBezTo>
                        <a:pt x="276322" y="1454117"/>
                        <a:pt x="218881" y="1438997"/>
                        <a:pt x="162044" y="1460769"/>
                      </a:cubicBezTo>
                      <a:cubicBezTo>
                        <a:pt x="105208" y="1483145"/>
                        <a:pt x="73162" y="1533945"/>
                        <a:pt x="73162" y="1602283"/>
                      </a:cubicBezTo>
                      <a:cubicBezTo>
                        <a:pt x="73162" y="1786131"/>
                        <a:pt x="73162" y="1969374"/>
                        <a:pt x="73162" y="2153221"/>
                      </a:cubicBezTo>
                      <a:cubicBezTo>
                        <a:pt x="73162" y="2160478"/>
                        <a:pt x="73767" y="2167736"/>
                        <a:pt x="74371" y="2174993"/>
                      </a:cubicBezTo>
                      <a:cubicBezTo>
                        <a:pt x="243067" y="2174993"/>
                        <a:pt x="410553" y="2174993"/>
                        <a:pt x="581667" y="2174993"/>
                      </a:cubicBezTo>
                      <a:cubicBezTo>
                        <a:pt x="438971" y="2062507"/>
                        <a:pt x="299903" y="1953045"/>
                        <a:pt x="160230" y="1842978"/>
                      </a:cubicBezTo>
                      <a:cubicBezTo>
                        <a:pt x="174742" y="1823626"/>
                        <a:pt x="188649" y="1806088"/>
                        <a:pt x="203765" y="1786131"/>
                      </a:cubicBezTo>
                      <a:close/>
                      <a:moveTo>
                        <a:pt x="333158" y="1194069"/>
                      </a:moveTo>
                      <a:cubicBezTo>
                        <a:pt x="363995" y="1137826"/>
                        <a:pt x="393623" y="1084607"/>
                        <a:pt x="421436" y="1030178"/>
                      </a:cubicBezTo>
                      <a:cubicBezTo>
                        <a:pt x="427483" y="1018083"/>
                        <a:pt x="429901" y="1001150"/>
                        <a:pt x="428087" y="987845"/>
                      </a:cubicBezTo>
                      <a:cubicBezTo>
                        <a:pt x="420832" y="942488"/>
                        <a:pt x="410553" y="897736"/>
                        <a:pt x="402088" y="852378"/>
                      </a:cubicBezTo>
                      <a:cubicBezTo>
                        <a:pt x="383948" y="755617"/>
                        <a:pt x="464366" y="675183"/>
                        <a:pt x="561109" y="692117"/>
                      </a:cubicBezTo>
                      <a:cubicBezTo>
                        <a:pt x="598597" y="698769"/>
                        <a:pt x="630038" y="716307"/>
                        <a:pt x="658456" y="742312"/>
                      </a:cubicBezTo>
                      <a:cubicBezTo>
                        <a:pt x="678410" y="721750"/>
                        <a:pt x="697153" y="703002"/>
                        <a:pt x="715897" y="684254"/>
                      </a:cubicBezTo>
                      <a:cubicBezTo>
                        <a:pt x="806594" y="594750"/>
                        <a:pt x="933569" y="594750"/>
                        <a:pt x="1024870" y="684859"/>
                      </a:cubicBezTo>
                      <a:cubicBezTo>
                        <a:pt x="1051474" y="711469"/>
                        <a:pt x="1077474" y="738683"/>
                        <a:pt x="1105288" y="764688"/>
                      </a:cubicBezTo>
                      <a:cubicBezTo>
                        <a:pt x="1142171" y="799764"/>
                        <a:pt x="1185705" y="809440"/>
                        <a:pt x="1232867" y="789483"/>
                      </a:cubicBezTo>
                      <a:cubicBezTo>
                        <a:pt x="1279425" y="769526"/>
                        <a:pt x="1304215" y="732031"/>
                        <a:pt x="1304820" y="681231"/>
                      </a:cubicBezTo>
                      <a:cubicBezTo>
                        <a:pt x="1305424" y="654621"/>
                        <a:pt x="1303611" y="628617"/>
                        <a:pt x="1300587" y="602007"/>
                      </a:cubicBezTo>
                      <a:cubicBezTo>
                        <a:pt x="1278215" y="428440"/>
                        <a:pt x="1117985" y="288740"/>
                        <a:pt x="943848" y="290554"/>
                      </a:cubicBezTo>
                      <a:cubicBezTo>
                        <a:pt x="882779" y="291159"/>
                        <a:pt x="833803" y="340750"/>
                        <a:pt x="835012" y="400016"/>
                      </a:cubicBezTo>
                      <a:cubicBezTo>
                        <a:pt x="835617" y="435093"/>
                        <a:pt x="861616" y="465331"/>
                        <a:pt x="896081" y="470774"/>
                      </a:cubicBezTo>
                      <a:cubicBezTo>
                        <a:pt x="930546" y="476216"/>
                        <a:pt x="964406" y="455050"/>
                        <a:pt x="975289" y="421183"/>
                      </a:cubicBezTo>
                      <a:cubicBezTo>
                        <a:pt x="977708" y="413926"/>
                        <a:pt x="978917" y="407274"/>
                        <a:pt x="980731" y="400016"/>
                      </a:cubicBezTo>
                      <a:cubicBezTo>
                        <a:pt x="1004917" y="400016"/>
                        <a:pt x="1027893" y="400016"/>
                        <a:pt x="1050265" y="400016"/>
                      </a:cubicBezTo>
                      <a:cubicBezTo>
                        <a:pt x="1050265" y="481659"/>
                        <a:pt x="981940" y="546369"/>
                        <a:pt x="900314" y="543345"/>
                      </a:cubicBezTo>
                      <a:cubicBezTo>
                        <a:pt x="811431" y="540321"/>
                        <a:pt x="755804" y="467145"/>
                        <a:pt x="763664" y="361312"/>
                      </a:cubicBezTo>
                      <a:cubicBezTo>
                        <a:pt x="708642" y="361312"/>
                        <a:pt x="653619" y="359497"/>
                        <a:pt x="598597" y="361916"/>
                      </a:cubicBezTo>
                      <a:cubicBezTo>
                        <a:pt x="400274" y="369778"/>
                        <a:pt x="262415" y="467145"/>
                        <a:pt x="181393" y="646759"/>
                      </a:cubicBezTo>
                      <a:cubicBezTo>
                        <a:pt x="145114" y="725983"/>
                        <a:pt x="143905" y="810650"/>
                        <a:pt x="145719" y="895316"/>
                      </a:cubicBezTo>
                      <a:cubicBezTo>
                        <a:pt x="146324" y="915274"/>
                        <a:pt x="152370" y="929183"/>
                        <a:pt x="168091" y="941278"/>
                      </a:cubicBezTo>
                      <a:cubicBezTo>
                        <a:pt x="236415" y="994497"/>
                        <a:pt x="285392" y="1062231"/>
                        <a:pt x="316228" y="1143269"/>
                      </a:cubicBezTo>
                      <a:cubicBezTo>
                        <a:pt x="321670" y="1159597"/>
                        <a:pt x="326507" y="1175321"/>
                        <a:pt x="333158" y="1194069"/>
                      </a:cubicBezTo>
                      <a:close/>
                      <a:moveTo>
                        <a:pt x="1110125" y="863264"/>
                      </a:moveTo>
                      <a:cubicBezTo>
                        <a:pt x="1077474" y="834236"/>
                        <a:pt x="1049056" y="810045"/>
                        <a:pt x="1021242" y="784645"/>
                      </a:cubicBezTo>
                      <a:cubicBezTo>
                        <a:pt x="1001894" y="766502"/>
                        <a:pt x="984359" y="747150"/>
                        <a:pt x="965010" y="729007"/>
                      </a:cubicBezTo>
                      <a:cubicBezTo>
                        <a:pt x="909383" y="676997"/>
                        <a:pt x="828361" y="676393"/>
                        <a:pt x="773338" y="729007"/>
                      </a:cubicBezTo>
                      <a:cubicBezTo>
                        <a:pt x="741897" y="759245"/>
                        <a:pt x="711060" y="790693"/>
                        <a:pt x="680223" y="822140"/>
                      </a:cubicBezTo>
                      <a:cubicBezTo>
                        <a:pt x="668131" y="834236"/>
                        <a:pt x="657247" y="847540"/>
                        <a:pt x="643340" y="862054"/>
                      </a:cubicBezTo>
                      <a:cubicBezTo>
                        <a:pt x="633061" y="842097"/>
                        <a:pt x="625806" y="827583"/>
                        <a:pt x="617945" y="813069"/>
                      </a:cubicBezTo>
                      <a:cubicBezTo>
                        <a:pt x="603434" y="787064"/>
                        <a:pt x="581667" y="770736"/>
                        <a:pt x="553248" y="764688"/>
                      </a:cubicBezTo>
                      <a:cubicBezTo>
                        <a:pt x="502458" y="753802"/>
                        <a:pt x="463157" y="791902"/>
                        <a:pt x="473435" y="843307"/>
                      </a:cubicBezTo>
                      <a:cubicBezTo>
                        <a:pt x="483714" y="896526"/>
                        <a:pt x="495203" y="949745"/>
                        <a:pt x="504877" y="1002964"/>
                      </a:cubicBezTo>
                      <a:cubicBezTo>
                        <a:pt x="506691" y="1014455"/>
                        <a:pt x="504877" y="1028969"/>
                        <a:pt x="499435" y="1039250"/>
                      </a:cubicBezTo>
                      <a:cubicBezTo>
                        <a:pt x="462552" y="1109402"/>
                        <a:pt x="423855" y="1178345"/>
                        <a:pt x="386367" y="1248497"/>
                      </a:cubicBezTo>
                      <a:cubicBezTo>
                        <a:pt x="359158" y="1298693"/>
                        <a:pt x="331949" y="1348888"/>
                        <a:pt x="305345" y="1397874"/>
                      </a:cubicBezTo>
                      <a:cubicBezTo>
                        <a:pt x="326507" y="1414807"/>
                        <a:pt x="346460" y="1430531"/>
                        <a:pt x="366414" y="1446255"/>
                      </a:cubicBezTo>
                      <a:cubicBezTo>
                        <a:pt x="370042" y="1448674"/>
                        <a:pt x="373669" y="1451697"/>
                        <a:pt x="377902" y="1452302"/>
                      </a:cubicBezTo>
                      <a:cubicBezTo>
                        <a:pt x="415390" y="1456535"/>
                        <a:pt x="452273" y="1460164"/>
                        <a:pt x="492179" y="1463793"/>
                      </a:cubicBezTo>
                      <a:cubicBezTo>
                        <a:pt x="504877" y="1432345"/>
                        <a:pt x="518784" y="1397269"/>
                        <a:pt x="532691" y="1361588"/>
                      </a:cubicBezTo>
                      <a:cubicBezTo>
                        <a:pt x="515156" y="1352517"/>
                        <a:pt x="499435" y="1344050"/>
                        <a:pt x="482505" y="1334978"/>
                      </a:cubicBezTo>
                      <a:cubicBezTo>
                        <a:pt x="493389" y="1313207"/>
                        <a:pt x="503668" y="1292645"/>
                        <a:pt x="514551" y="1270874"/>
                      </a:cubicBezTo>
                      <a:cubicBezTo>
                        <a:pt x="536923" y="1281759"/>
                        <a:pt x="556876" y="1291435"/>
                        <a:pt x="579248" y="1302321"/>
                      </a:cubicBezTo>
                      <a:cubicBezTo>
                        <a:pt x="579248" y="1264826"/>
                        <a:pt x="578644" y="1230959"/>
                        <a:pt x="579248" y="1197093"/>
                      </a:cubicBezTo>
                      <a:cubicBezTo>
                        <a:pt x="580457" y="1155969"/>
                        <a:pt x="599201" y="1123916"/>
                        <a:pt x="634875" y="1104564"/>
                      </a:cubicBezTo>
                      <a:cubicBezTo>
                        <a:pt x="649991" y="1096702"/>
                        <a:pt x="656038" y="1087026"/>
                        <a:pt x="660875" y="1071302"/>
                      </a:cubicBezTo>
                      <a:cubicBezTo>
                        <a:pt x="682037" y="1001150"/>
                        <a:pt x="743711" y="950955"/>
                        <a:pt x="816268" y="944302"/>
                      </a:cubicBezTo>
                      <a:cubicBezTo>
                        <a:pt x="887011" y="937650"/>
                        <a:pt x="956545" y="975145"/>
                        <a:pt x="991010" y="1038645"/>
                      </a:cubicBezTo>
                      <a:cubicBezTo>
                        <a:pt x="994638" y="1045297"/>
                        <a:pt x="998266" y="1051950"/>
                        <a:pt x="1004917" y="1064650"/>
                      </a:cubicBezTo>
                      <a:cubicBezTo>
                        <a:pt x="1043009" y="992683"/>
                        <a:pt x="1078079" y="925554"/>
                        <a:pt x="1110125" y="863264"/>
                      </a:cubicBezTo>
                      <a:close/>
                      <a:moveTo>
                        <a:pt x="724362" y="1232773"/>
                      </a:moveTo>
                      <a:cubicBezTo>
                        <a:pt x="724362" y="1222493"/>
                        <a:pt x="724362" y="1214026"/>
                        <a:pt x="724362" y="1204955"/>
                      </a:cubicBezTo>
                      <a:cubicBezTo>
                        <a:pt x="723758" y="1178345"/>
                        <a:pt x="710456" y="1162017"/>
                        <a:pt x="688688" y="1161412"/>
                      </a:cubicBezTo>
                      <a:cubicBezTo>
                        <a:pt x="666921" y="1160807"/>
                        <a:pt x="652410" y="1177136"/>
                        <a:pt x="651805" y="1203745"/>
                      </a:cubicBezTo>
                      <a:cubicBezTo>
                        <a:pt x="651805" y="1241240"/>
                        <a:pt x="651201" y="1279340"/>
                        <a:pt x="651805" y="1316836"/>
                      </a:cubicBezTo>
                      <a:cubicBezTo>
                        <a:pt x="652410" y="1360983"/>
                        <a:pt x="666317" y="1401502"/>
                        <a:pt x="693526" y="1436578"/>
                      </a:cubicBezTo>
                      <a:cubicBezTo>
                        <a:pt x="698967" y="1443836"/>
                        <a:pt x="711665" y="1449883"/>
                        <a:pt x="720735" y="1450488"/>
                      </a:cubicBezTo>
                      <a:cubicBezTo>
                        <a:pt x="767292" y="1451697"/>
                        <a:pt x="814454" y="1451093"/>
                        <a:pt x="861012" y="1451093"/>
                      </a:cubicBezTo>
                      <a:cubicBezTo>
                        <a:pt x="928127" y="1451093"/>
                        <a:pt x="931150" y="1448069"/>
                        <a:pt x="940220" y="1380336"/>
                      </a:cubicBezTo>
                      <a:cubicBezTo>
                        <a:pt x="940825" y="1373683"/>
                        <a:pt x="941429" y="1367031"/>
                        <a:pt x="941429" y="1359773"/>
                      </a:cubicBezTo>
                      <a:cubicBezTo>
                        <a:pt x="941429" y="1281759"/>
                        <a:pt x="942639" y="1204350"/>
                        <a:pt x="940825" y="1126336"/>
                      </a:cubicBezTo>
                      <a:cubicBezTo>
                        <a:pt x="940220" y="1105774"/>
                        <a:pt x="932964" y="1082793"/>
                        <a:pt x="922685" y="1064650"/>
                      </a:cubicBezTo>
                      <a:cubicBezTo>
                        <a:pt x="900314" y="1026550"/>
                        <a:pt x="853151" y="1008407"/>
                        <a:pt x="811431" y="1018083"/>
                      </a:cubicBezTo>
                      <a:cubicBezTo>
                        <a:pt x="769106" y="1027759"/>
                        <a:pt x="737665" y="1058602"/>
                        <a:pt x="731618" y="1096702"/>
                      </a:cubicBezTo>
                      <a:cubicBezTo>
                        <a:pt x="786641" y="1129964"/>
                        <a:pt x="807803" y="1177136"/>
                        <a:pt x="793896" y="1232169"/>
                      </a:cubicBezTo>
                      <a:cubicBezTo>
                        <a:pt x="771525" y="1232773"/>
                        <a:pt x="749153" y="1232773"/>
                        <a:pt x="724362" y="1232773"/>
                      </a:cubicBezTo>
                      <a:close/>
                      <a:moveTo>
                        <a:pt x="1705093" y="507664"/>
                      </a:moveTo>
                      <a:cubicBezTo>
                        <a:pt x="1708117" y="473193"/>
                        <a:pt x="1710535" y="441140"/>
                        <a:pt x="1712954" y="409088"/>
                      </a:cubicBezTo>
                      <a:cubicBezTo>
                        <a:pt x="1721419" y="311116"/>
                        <a:pt x="1729884" y="213750"/>
                        <a:pt x="1737744" y="115778"/>
                      </a:cubicBezTo>
                      <a:cubicBezTo>
                        <a:pt x="1740163" y="86750"/>
                        <a:pt x="1727465" y="73445"/>
                        <a:pt x="1698443" y="72840"/>
                      </a:cubicBezTo>
                      <a:cubicBezTo>
                        <a:pt x="1680303" y="72236"/>
                        <a:pt x="1662164" y="72840"/>
                        <a:pt x="1644025" y="72840"/>
                      </a:cubicBezTo>
                      <a:cubicBezTo>
                        <a:pt x="1600490" y="72840"/>
                        <a:pt x="1590816" y="84331"/>
                        <a:pt x="1594444" y="127269"/>
                      </a:cubicBezTo>
                      <a:cubicBezTo>
                        <a:pt x="1602304" y="213750"/>
                        <a:pt x="1608955" y="300231"/>
                        <a:pt x="1616211" y="386712"/>
                      </a:cubicBezTo>
                      <a:cubicBezTo>
                        <a:pt x="1619839" y="427231"/>
                        <a:pt x="1623467" y="467145"/>
                        <a:pt x="1627094" y="507664"/>
                      </a:cubicBezTo>
                      <a:cubicBezTo>
                        <a:pt x="1653699" y="507664"/>
                        <a:pt x="1677885" y="507664"/>
                        <a:pt x="1705093" y="507664"/>
                      </a:cubicBezTo>
                      <a:close/>
                      <a:moveTo>
                        <a:pt x="592550" y="1409364"/>
                      </a:moveTo>
                      <a:cubicBezTo>
                        <a:pt x="581062" y="1438997"/>
                        <a:pt x="568365" y="1469236"/>
                        <a:pt x="558086" y="1495240"/>
                      </a:cubicBezTo>
                      <a:cubicBezTo>
                        <a:pt x="591341" y="1530316"/>
                        <a:pt x="621573" y="1562974"/>
                        <a:pt x="651805" y="1595631"/>
                      </a:cubicBezTo>
                      <a:cubicBezTo>
                        <a:pt x="651805" y="1567812"/>
                        <a:pt x="652410" y="1539388"/>
                        <a:pt x="651805" y="1510964"/>
                      </a:cubicBezTo>
                      <a:cubicBezTo>
                        <a:pt x="651805" y="1505521"/>
                        <a:pt x="648782" y="1499474"/>
                        <a:pt x="645759" y="1494636"/>
                      </a:cubicBezTo>
                      <a:cubicBezTo>
                        <a:pt x="628829" y="1466816"/>
                        <a:pt x="610690" y="1438997"/>
                        <a:pt x="592550" y="1409364"/>
                      </a:cubicBezTo>
                      <a:close/>
                      <a:moveTo>
                        <a:pt x="449854" y="1536364"/>
                      </a:moveTo>
                      <a:cubicBezTo>
                        <a:pt x="515760" y="1608331"/>
                        <a:pt x="582271" y="1680902"/>
                        <a:pt x="648177" y="1752869"/>
                      </a:cubicBezTo>
                      <a:cubicBezTo>
                        <a:pt x="649991" y="1751659"/>
                        <a:pt x="651805" y="1750450"/>
                        <a:pt x="653619" y="1749240"/>
                      </a:cubicBezTo>
                      <a:cubicBezTo>
                        <a:pt x="622782" y="1699045"/>
                        <a:pt x="593760" y="1647035"/>
                        <a:pt x="559295" y="1599259"/>
                      </a:cubicBezTo>
                      <a:cubicBezTo>
                        <a:pt x="533295" y="1564183"/>
                        <a:pt x="495203" y="1543621"/>
                        <a:pt x="449854" y="1536364"/>
                      </a:cubicBezTo>
                      <a:close/>
                    </a:path>
                  </a:pathLst>
                </a:custGeom>
                <a:grpFill/>
                <a:ln w="6040"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4226EC98-E607-82CA-F329-C992DE1F3A60}"/>
                    </a:ext>
                  </a:extLst>
                </p:cNvPr>
                <p:cNvSpPr/>
                <p:nvPr/>
              </p:nvSpPr>
              <p:spPr>
                <a:xfrm>
                  <a:off x="6184862" y="3625052"/>
                  <a:ext cx="1159100" cy="725714"/>
                </a:xfrm>
                <a:custGeom>
                  <a:avLst/>
                  <a:gdLst>
                    <a:gd name="connsiteX0" fmla="*/ 581667 w 1159100"/>
                    <a:gd name="connsiteY0" fmla="*/ 0 h 725714"/>
                    <a:gd name="connsiteX1" fmla="*/ 1075055 w 1159100"/>
                    <a:gd name="connsiteY1" fmla="*/ 0 h 725714"/>
                    <a:gd name="connsiteX2" fmla="*/ 1159101 w 1159100"/>
                    <a:gd name="connsiteY2" fmla="*/ 83457 h 725714"/>
                    <a:gd name="connsiteX3" fmla="*/ 1159101 w 1159100"/>
                    <a:gd name="connsiteY3" fmla="*/ 643467 h 725714"/>
                    <a:gd name="connsiteX4" fmla="*/ 1076265 w 1159100"/>
                    <a:gd name="connsiteY4" fmla="*/ 725714 h 725714"/>
                    <a:gd name="connsiteX5" fmla="*/ 82836 w 1159100"/>
                    <a:gd name="connsiteY5" fmla="*/ 725714 h 725714"/>
                    <a:gd name="connsiteX6" fmla="*/ 0 w 1159100"/>
                    <a:gd name="connsiteY6" fmla="*/ 643467 h 725714"/>
                    <a:gd name="connsiteX7" fmla="*/ 0 w 1159100"/>
                    <a:gd name="connsiteY7" fmla="*/ 81038 h 725714"/>
                    <a:gd name="connsiteX8" fmla="*/ 81627 w 1159100"/>
                    <a:gd name="connsiteY8" fmla="*/ 0 h 725714"/>
                    <a:gd name="connsiteX9" fmla="*/ 581667 w 1159100"/>
                    <a:gd name="connsiteY9" fmla="*/ 0 h 725714"/>
                    <a:gd name="connsiteX10" fmla="*/ 867663 w 1159100"/>
                    <a:gd name="connsiteY10" fmla="*/ 507395 h 725714"/>
                    <a:gd name="connsiteX11" fmla="*/ 867663 w 1159100"/>
                    <a:gd name="connsiteY11" fmla="*/ 74386 h 725714"/>
                    <a:gd name="connsiteX12" fmla="*/ 218881 w 1159100"/>
                    <a:gd name="connsiteY12" fmla="*/ 74386 h 725714"/>
                    <a:gd name="connsiteX13" fmla="*/ 218881 w 1159100"/>
                    <a:gd name="connsiteY13" fmla="*/ 507395 h 725714"/>
                    <a:gd name="connsiteX14" fmla="*/ 867663 w 1159100"/>
                    <a:gd name="connsiteY14" fmla="*/ 507395 h 725714"/>
                    <a:gd name="connsiteX15" fmla="*/ 73766 w 1159100"/>
                    <a:gd name="connsiteY15" fmla="*/ 651933 h 725714"/>
                    <a:gd name="connsiteX16" fmla="*/ 1084729 w 1159100"/>
                    <a:gd name="connsiteY16" fmla="*/ 651933 h 725714"/>
                    <a:gd name="connsiteX17" fmla="*/ 1084729 w 1159100"/>
                    <a:gd name="connsiteY17" fmla="*/ 581781 h 725714"/>
                    <a:gd name="connsiteX18" fmla="*/ 73766 w 1159100"/>
                    <a:gd name="connsiteY18" fmla="*/ 581781 h 725714"/>
                    <a:gd name="connsiteX19" fmla="*/ 73766 w 1159100"/>
                    <a:gd name="connsiteY19" fmla="*/ 651933 h 725714"/>
                    <a:gd name="connsiteX20" fmla="*/ 1084729 w 1159100"/>
                    <a:gd name="connsiteY20" fmla="*/ 507395 h 725714"/>
                    <a:gd name="connsiteX21" fmla="*/ 1084729 w 1159100"/>
                    <a:gd name="connsiteY21" fmla="*/ 74991 h 725714"/>
                    <a:gd name="connsiteX22" fmla="*/ 942638 w 1159100"/>
                    <a:gd name="connsiteY22" fmla="*/ 74991 h 725714"/>
                    <a:gd name="connsiteX23" fmla="*/ 942638 w 1159100"/>
                    <a:gd name="connsiteY23" fmla="*/ 507395 h 725714"/>
                    <a:gd name="connsiteX24" fmla="*/ 1084729 w 1159100"/>
                    <a:gd name="connsiteY24" fmla="*/ 507395 h 725714"/>
                    <a:gd name="connsiteX25" fmla="*/ 143300 w 1159100"/>
                    <a:gd name="connsiteY25" fmla="*/ 506790 h 725714"/>
                    <a:gd name="connsiteX26" fmla="*/ 143300 w 1159100"/>
                    <a:gd name="connsiteY26" fmla="*/ 74386 h 725714"/>
                    <a:gd name="connsiteX27" fmla="*/ 73766 w 1159100"/>
                    <a:gd name="connsiteY27" fmla="*/ 74386 h 725714"/>
                    <a:gd name="connsiteX28" fmla="*/ 73766 w 1159100"/>
                    <a:gd name="connsiteY28" fmla="*/ 506790 h 725714"/>
                    <a:gd name="connsiteX29" fmla="*/ 143300 w 1159100"/>
                    <a:gd name="connsiteY29" fmla="*/ 506790 h 72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59100" h="725714">
                      <a:moveTo>
                        <a:pt x="581667" y="0"/>
                      </a:moveTo>
                      <a:cubicBezTo>
                        <a:pt x="746129" y="0"/>
                        <a:pt x="910592" y="0"/>
                        <a:pt x="1075055" y="0"/>
                      </a:cubicBezTo>
                      <a:cubicBezTo>
                        <a:pt x="1130683" y="0"/>
                        <a:pt x="1158496" y="27819"/>
                        <a:pt x="1159101" y="83457"/>
                      </a:cubicBezTo>
                      <a:cubicBezTo>
                        <a:pt x="1159101" y="270329"/>
                        <a:pt x="1159101" y="456595"/>
                        <a:pt x="1159101" y="643467"/>
                      </a:cubicBezTo>
                      <a:cubicBezTo>
                        <a:pt x="1159101" y="697290"/>
                        <a:pt x="1130683" y="725714"/>
                        <a:pt x="1076265" y="725714"/>
                      </a:cubicBezTo>
                      <a:cubicBezTo>
                        <a:pt x="744920" y="725714"/>
                        <a:pt x="414181" y="725714"/>
                        <a:pt x="82836" y="725714"/>
                      </a:cubicBezTo>
                      <a:cubicBezTo>
                        <a:pt x="28418" y="725714"/>
                        <a:pt x="0" y="697290"/>
                        <a:pt x="0" y="643467"/>
                      </a:cubicBezTo>
                      <a:cubicBezTo>
                        <a:pt x="0" y="455991"/>
                        <a:pt x="0" y="268514"/>
                        <a:pt x="0" y="81038"/>
                      </a:cubicBezTo>
                      <a:cubicBezTo>
                        <a:pt x="0" y="29028"/>
                        <a:pt x="29023" y="0"/>
                        <a:pt x="81627" y="0"/>
                      </a:cubicBezTo>
                      <a:cubicBezTo>
                        <a:pt x="248508" y="0"/>
                        <a:pt x="414785" y="0"/>
                        <a:pt x="581667" y="0"/>
                      </a:cubicBezTo>
                      <a:close/>
                      <a:moveTo>
                        <a:pt x="867663" y="507395"/>
                      </a:moveTo>
                      <a:cubicBezTo>
                        <a:pt x="867663" y="361648"/>
                        <a:pt x="867663" y="218319"/>
                        <a:pt x="867663" y="74386"/>
                      </a:cubicBezTo>
                      <a:cubicBezTo>
                        <a:pt x="650596" y="74386"/>
                        <a:pt x="434738" y="74386"/>
                        <a:pt x="218881" y="74386"/>
                      </a:cubicBezTo>
                      <a:cubicBezTo>
                        <a:pt x="218881" y="219529"/>
                        <a:pt x="218881" y="363462"/>
                        <a:pt x="218881" y="507395"/>
                      </a:cubicBezTo>
                      <a:cubicBezTo>
                        <a:pt x="435948" y="507395"/>
                        <a:pt x="651201" y="507395"/>
                        <a:pt x="867663" y="507395"/>
                      </a:cubicBezTo>
                      <a:close/>
                      <a:moveTo>
                        <a:pt x="73766" y="651933"/>
                      </a:moveTo>
                      <a:cubicBezTo>
                        <a:pt x="411762" y="651933"/>
                        <a:pt x="748548" y="651933"/>
                        <a:pt x="1084729" y="651933"/>
                      </a:cubicBezTo>
                      <a:cubicBezTo>
                        <a:pt x="1084729" y="627743"/>
                        <a:pt x="1084729" y="604762"/>
                        <a:pt x="1084729" y="581781"/>
                      </a:cubicBezTo>
                      <a:cubicBezTo>
                        <a:pt x="746734" y="581781"/>
                        <a:pt x="411157" y="581781"/>
                        <a:pt x="73766" y="581781"/>
                      </a:cubicBezTo>
                      <a:cubicBezTo>
                        <a:pt x="73766" y="605367"/>
                        <a:pt x="73766" y="627743"/>
                        <a:pt x="73766" y="651933"/>
                      </a:cubicBezTo>
                      <a:close/>
                      <a:moveTo>
                        <a:pt x="1084729" y="507395"/>
                      </a:moveTo>
                      <a:cubicBezTo>
                        <a:pt x="1084729" y="361648"/>
                        <a:pt x="1084729" y="218319"/>
                        <a:pt x="1084729" y="74991"/>
                      </a:cubicBezTo>
                      <a:cubicBezTo>
                        <a:pt x="1036358" y="74991"/>
                        <a:pt x="989196" y="74991"/>
                        <a:pt x="942638" y="74991"/>
                      </a:cubicBezTo>
                      <a:cubicBezTo>
                        <a:pt x="942638" y="220133"/>
                        <a:pt x="942638" y="363462"/>
                        <a:pt x="942638" y="507395"/>
                      </a:cubicBezTo>
                      <a:cubicBezTo>
                        <a:pt x="990405" y="507395"/>
                        <a:pt x="1036963" y="507395"/>
                        <a:pt x="1084729" y="507395"/>
                      </a:cubicBezTo>
                      <a:close/>
                      <a:moveTo>
                        <a:pt x="143300" y="506790"/>
                      </a:moveTo>
                      <a:cubicBezTo>
                        <a:pt x="143300" y="361043"/>
                        <a:pt x="143300" y="217714"/>
                        <a:pt x="143300" y="74386"/>
                      </a:cubicBezTo>
                      <a:cubicBezTo>
                        <a:pt x="119115" y="74386"/>
                        <a:pt x="96138" y="74386"/>
                        <a:pt x="73766" y="74386"/>
                      </a:cubicBezTo>
                      <a:cubicBezTo>
                        <a:pt x="73766" y="219529"/>
                        <a:pt x="73766" y="362857"/>
                        <a:pt x="73766" y="506790"/>
                      </a:cubicBezTo>
                      <a:cubicBezTo>
                        <a:pt x="97347" y="506790"/>
                        <a:pt x="119115" y="506790"/>
                        <a:pt x="143300" y="506790"/>
                      </a:cubicBezTo>
                      <a:close/>
                    </a:path>
                  </a:pathLst>
                </a:custGeom>
                <a:grpFill/>
                <a:ln w="604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C6174F4-024D-1947-3B84-4BAD5C02732D}"/>
                    </a:ext>
                  </a:extLst>
                </p:cNvPr>
                <p:cNvSpPr/>
                <p:nvPr/>
              </p:nvSpPr>
              <p:spPr>
                <a:xfrm>
                  <a:off x="6302163" y="3016662"/>
                  <a:ext cx="272089" cy="273352"/>
                </a:xfrm>
                <a:custGeom>
                  <a:avLst/>
                  <a:gdLst>
                    <a:gd name="connsiteX0" fmla="*/ 272089 w 272089"/>
                    <a:gd name="connsiteY0" fmla="*/ 216505 h 273352"/>
                    <a:gd name="connsiteX1" fmla="*/ 219485 w 272089"/>
                    <a:gd name="connsiteY1" fmla="*/ 270329 h 273352"/>
                    <a:gd name="connsiteX2" fmla="*/ 139673 w 272089"/>
                    <a:gd name="connsiteY2" fmla="*/ 186267 h 273352"/>
                    <a:gd name="connsiteX3" fmla="*/ 58046 w 272089"/>
                    <a:gd name="connsiteY3" fmla="*/ 273352 h 273352"/>
                    <a:gd name="connsiteX4" fmla="*/ 3023 w 272089"/>
                    <a:gd name="connsiteY4" fmla="*/ 217109 h 273352"/>
                    <a:gd name="connsiteX5" fmla="*/ 88882 w 272089"/>
                    <a:gd name="connsiteY5" fmla="*/ 137281 h 273352"/>
                    <a:gd name="connsiteX6" fmla="*/ 0 w 272089"/>
                    <a:gd name="connsiteY6" fmla="*/ 56243 h 273352"/>
                    <a:gd name="connsiteX7" fmla="*/ 54418 w 272089"/>
                    <a:gd name="connsiteY7" fmla="*/ 4838 h 273352"/>
                    <a:gd name="connsiteX8" fmla="*/ 136649 w 272089"/>
                    <a:gd name="connsiteY8" fmla="*/ 89505 h 273352"/>
                    <a:gd name="connsiteX9" fmla="*/ 217067 w 272089"/>
                    <a:gd name="connsiteY9" fmla="*/ 0 h 273352"/>
                    <a:gd name="connsiteX10" fmla="*/ 270880 w 272089"/>
                    <a:gd name="connsiteY10" fmla="*/ 54429 h 273352"/>
                    <a:gd name="connsiteX11" fmla="*/ 185021 w 272089"/>
                    <a:gd name="connsiteY11" fmla="*/ 135467 h 273352"/>
                    <a:gd name="connsiteX12" fmla="*/ 272089 w 272089"/>
                    <a:gd name="connsiteY12" fmla="*/ 216505 h 27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352">
                      <a:moveTo>
                        <a:pt x="272089" y="216505"/>
                      </a:moveTo>
                      <a:cubicBezTo>
                        <a:pt x="252136" y="237067"/>
                        <a:pt x="236415" y="252790"/>
                        <a:pt x="219485" y="270329"/>
                      </a:cubicBezTo>
                      <a:cubicBezTo>
                        <a:pt x="192881" y="242509"/>
                        <a:pt x="166882" y="215295"/>
                        <a:pt x="139673" y="186267"/>
                      </a:cubicBezTo>
                      <a:cubicBezTo>
                        <a:pt x="110650" y="217109"/>
                        <a:pt x="84650" y="244929"/>
                        <a:pt x="58046" y="273352"/>
                      </a:cubicBezTo>
                      <a:cubicBezTo>
                        <a:pt x="37488" y="252790"/>
                        <a:pt x="21767" y="236462"/>
                        <a:pt x="3023" y="217109"/>
                      </a:cubicBezTo>
                      <a:cubicBezTo>
                        <a:pt x="30837" y="191709"/>
                        <a:pt x="58046" y="166310"/>
                        <a:pt x="88882" y="137281"/>
                      </a:cubicBezTo>
                      <a:cubicBezTo>
                        <a:pt x="57441" y="108857"/>
                        <a:pt x="29023" y="82852"/>
                        <a:pt x="0" y="56243"/>
                      </a:cubicBezTo>
                      <a:cubicBezTo>
                        <a:pt x="20558" y="36286"/>
                        <a:pt x="36883" y="21167"/>
                        <a:pt x="54418" y="4838"/>
                      </a:cubicBezTo>
                      <a:cubicBezTo>
                        <a:pt x="79813" y="30843"/>
                        <a:pt x="106417" y="58057"/>
                        <a:pt x="136649" y="89505"/>
                      </a:cubicBezTo>
                      <a:cubicBezTo>
                        <a:pt x="165672" y="57452"/>
                        <a:pt x="191067" y="29028"/>
                        <a:pt x="217067" y="0"/>
                      </a:cubicBezTo>
                      <a:cubicBezTo>
                        <a:pt x="237020" y="19957"/>
                        <a:pt x="252741" y="36286"/>
                        <a:pt x="270880" y="54429"/>
                      </a:cubicBezTo>
                      <a:cubicBezTo>
                        <a:pt x="243066" y="81038"/>
                        <a:pt x="215253" y="107043"/>
                        <a:pt x="185021" y="135467"/>
                      </a:cubicBezTo>
                      <a:cubicBezTo>
                        <a:pt x="215857" y="164495"/>
                        <a:pt x="243066" y="189895"/>
                        <a:pt x="272089" y="216505"/>
                      </a:cubicBezTo>
                      <a:close/>
                    </a:path>
                  </a:pathLst>
                </a:custGeom>
                <a:grpFill/>
                <a:ln w="604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E04405D6-772B-D07F-E118-B7539207A800}"/>
                    </a:ext>
                  </a:extLst>
                </p:cNvPr>
                <p:cNvSpPr/>
                <p:nvPr/>
              </p:nvSpPr>
              <p:spPr>
                <a:xfrm>
                  <a:off x="6628065" y="3016057"/>
                  <a:ext cx="272089" cy="273957"/>
                </a:xfrm>
                <a:custGeom>
                  <a:avLst/>
                  <a:gdLst>
                    <a:gd name="connsiteX0" fmla="*/ 58046 w 272089"/>
                    <a:gd name="connsiteY0" fmla="*/ 4838 h 273957"/>
                    <a:gd name="connsiteX1" fmla="*/ 136045 w 272089"/>
                    <a:gd name="connsiteY1" fmla="*/ 89505 h 273957"/>
                    <a:gd name="connsiteX2" fmla="*/ 215858 w 272089"/>
                    <a:gd name="connsiteY2" fmla="*/ 0 h 273957"/>
                    <a:gd name="connsiteX3" fmla="*/ 269066 w 272089"/>
                    <a:gd name="connsiteY3" fmla="*/ 55033 h 273957"/>
                    <a:gd name="connsiteX4" fmla="*/ 183812 w 272089"/>
                    <a:gd name="connsiteY4" fmla="*/ 135467 h 273957"/>
                    <a:gd name="connsiteX5" fmla="*/ 272089 w 272089"/>
                    <a:gd name="connsiteY5" fmla="*/ 216505 h 273957"/>
                    <a:gd name="connsiteX6" fmla="*/ 217067 w 272089"/>
                    <a:gd name="connsiteY6" fmla="*/ 266095 h 273957"/>
                    <a:gd name="connsiteX7" fmla="*/ 140882 w 272089"/>
                    <a:gd name="connsiteY7" fmla="*/ 187476 h 273957"/>
                    <a:gd name="connsiteX8" fmla="*/ 58046 w 272089"/>
                    <a:gd name="connsiteY8" fmla="*/ 273957 h 273957"/>
                    <a:gd name="connsiteX9" fmla="*/ 5442 w 272089"/>
                    <a:gd name="connsiteY9" fmla="*/ 216505 h 273957"/>
                    <a:gd name="connsiteX10" fmla="*/ 88278 w 272089"/>
                    <a:gd name="connsiteY10" fmla="*/ 139095 h 273957"/>
                    <a:gd name="connsiteX11" fmla="*/ 0 w 272089"/>
                    <a:gd name="connsiteY11" fmla="*/ 57452 h 273957"/>
                    <a:gd name="connsiteX12" fmla="*/ 58046 w 272089"/>
                    <a:gd name="connsiteY12" fmla="*/ 4838 h 27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2089" h="273957">
                      <a:moveTo>
                        <a:pt x="58046" y="4838"/>
                      </a:moveTo>
                      <a:cubicBezTo>
                        <a:pt x="81627" y="30843"/>
                        <a:pt x="107022" y="58057"/>
                        <a:pt x="136045" y="89505"/>
                      </a:cubicBezTo>
                      <a:cubicBezTo>
                        <a:pt x="164463" y="58057"/>
                        <a:pt x="189858" y="29633"/>
                        <a:pt x="215858" y="0"/>
                      </a:cubicBezTo>
                      <a:cubicBezTo>
                        <a:pt x="235811" y="20562"/>
                        <a:pt x="251531" y="36891"/>
                        <a:pt x="269066" y="55033"/>
                      </a:cubicBezTo>
                      <a:cubicBezTo>
                        <a:pt x="241857" y="80433"/>
                        <a:pt x="214044" y="106438"/>
                        <a:pt x="183812" y="135467"/>
                      </a:cubicBezTo>
                      <a:cubicBezTo>
                        <a:pt x="215858" y="164495"/>
                        <a:pt x="243067" y="189895"/>
                        <a:pt x="272089" y="216505"/>
                      </a:cubicBezTo>
                      <a:cubicBezTo>
                        <a:pt x="250927" y="235252"/>
                        <a:pt x="233997" y="250976"/>
                        <a:pt x="217067" y="266095"/>
                      </a:cubicBezTo>
                      <a:cubicBezTo>
                        <a:pt x="194090" y="242510"/>
                        <a:pt x="168091" y="215295"/>
                        <a:pt x="140882" y="187476"/>
                      </a:cubicBezTo>
                      <a:cubicBezTo>
                        <a:pt x="111254" y="218319"/>
                        <a:pt x="85255" y="245533"/>
                        <a:pt x="58046" y="273957"/>
                      </a:cubicBezTo>
                      <a:cubicBezTo>
                        <a:pt x="38092" y="252186"/>
                        <a:pt x="22372" y="235252"/>
                        <a:pt x="5442" y="216505"/>
                      </a:cubicBezTo>
                      <a:cubicBezTo>
                        <a:pt x="30837" y="192919"/>
                        <a:pt x="58046" y="166914"/>
                        <a:pt x="88278" y="139095"/>
                      </a:cubicBezTo>
                      <a:cubicBezTo>
                        <a:pt x="56837" y="110067"/>
                        <a:pt x="29023" y="84667"/>
                        <a:pt x="0" y="57452"/>
                      </a:cubicBezTo>
                      <a:cubicBezTo>
                        <a:pt x="20558" y="38705"/>
                        <a:pt x="37488" y="23586"/>
                        <a:pt x="58046" y="4838"/>
                      </a:cubicBezTo>
                      <a:close/>
                    </a:path>
                  </a:pathLst>
                </a:custGeom>
                <a:grpFill/>
                <a:ln w="604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80550716-1FD1-A81A-B047-FB1CC1B928E2}"/>
                    </a:ext>
                  </a:extLst>
                </p:cNvPr>
                <p:cNvSpPr/>
                <p:nvPr/>
              </p:nvSpPr>
              <p:spPr>
                <a:xfrm>
                  <a:off x="6956991" y="3016662"/>
                  <a:ext cx="270275" cy="271537"/>
                </a:xfrm>
                <a:custGeom>
                  <a:avLst/>
                  <a:gdLst>
                    <a:gd name="connsiteX0" fmla="*/ 58650 w 270275"/>
                    <a:gd name="connsiteY0" fmla="*/ 6048 h 271537"/>
                    <a:gd name="connsiteX1" fmla="*/ 91301 w 270275"/>
                    <a:gd name="connsiteY1" fmla="*/ 42938 h 271537"/>
                    <a:gd name="connsiteX2" fmla="*/ 131207 w 270275"/>
                    <a:gd name="connsiteY2" fmla="*/ 85876 h 271537"/>
                    <a:gd name="connsiteX3" fmla="*/ 214043 w 270275"/>
                    <a:gd name="connsiteY3" fmla="*/ 0 h 271537"/>
                    <a:gd name="connsiteX4" fmla="*/ 264229 w 270275"/>
                    <a:gd name="connsiteY4" fmla="*/ 54429 h 271537"/>
                    <a:gd name="connsiteX5" fmla="*/ 178974 w 270275"/>
                    <a:gd name="connsiteY5" fmla="*/ 134862 h 271537"/>
                    <a:gd name="connsiteX6" fmla="*/ 270275 w 270275"/>
                    <a:gd name="connsiteY6" fmla="*/ 216505 h 271537"/>
                    <a:gd name="connsiteX7" fmla="*/ 215253 w 270275"/>
                    <a:gd name="connsiteY7" fmla="*/ 269724 h 271537"/>
                    <a:gd name="connsiteX8" fmla="*/ 136045 w 270275"/>
                    <a:gd name="connsiteY8" fmla="*/ 185057 h 271537"/>
                    <a:gd name="connsiteX9" fmla="*/ 53813 w 270275"/>
                    <a:gd name="connsiteY9" fmla="*/ 271538 h 271537"/>
                    <a:gd name="connsiteX10" fmla="*/ 4232 w 270275"/>
                    <a:gd name="connsiteY10" fmla="*/ 217109 h 271537"/>
                    <a:gd name="connsiteX11" fmla="*/ 81627 w 270275"/>
                    <a:gd name="connsiteY11" fmla="*/ 142119 h 271537"/>
                    <a:gd name="connsiteX12" fmla="*/ 0 w 270275"/>
                    <a:gd name="connsiteY12" fmla="*/ 62895 h 271537"/>
                    <a:gd name="connsiteX13" fmla="*/ 58650 w 270275"/>
                    <a:gd name="connsiteY13" fmla="*/ 6048 h 27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0275" h="271537">
                      <a:moveTo>
                        <a:pt x="58650" y="6048"/>
                      </a:moveTo>
                      <a:cubicBezTo>
                        <a:pt x="66511" y="15119"/>
                        <a:pt x="79208" y="29028"/>
                        <a:pt x="91301" y="42938"/>
                      </a:cubicBezTo>
                      <a:cubicBezTo>
                        <a:pt x="103998" y="56848"/>
                        <a:pt x="116696" y="70757"/>
                        <a:pt x="131207" y="85876"/>
                      </a:cubicBezTo>
                      <a:cubicBezTo>
                        <a:pt x="160230" y="55638"/>
                        <a:pt x="186230" y="28424"/>
                        <a:pt x="214043" y="0"/>
                      </a:cubicBezTo>
                      <a:cubicBezTo>
                        <a:pt x="232788" y="19957"/>
                        <a:pt x="247904" y="36286"/>
                        <a:pt x="264229" y="54429"/>
                      </a:cubicBezTo>
                      <a:cubicBezTo>
                        <a:pt x="238229" y="79224"/>
                        <a:pt x="210416" y="105229"/>
                        <a:pt x="178974" y="134862"/>
                      </a:cubicBezTo>
                      <a:cubicBezTo>
                        <a:pt x="212230" y="165100"/>
                        <a:pt x="240648" y="190500"/>
                        <a:pt x="270275" y="216505"/>
                      </a:cubicBezTo>
                      <a:cubicBezTo>
                        <a:pt x="249718" y="236462"/>
                        <a:pt x="233392" y="252186"/>
                        <a:pt x="215253" y="269724"/>
                      </a:cubicBezTo>
                      <a:cubicBezTo>
                        <a:pt x="189858" y="242509"/>
                        <a:pt x="163858" y="214690"/>
                        <a:pt x="136045" y="185057"/>
                      </a:cubicBezTo>
                      <a:cubicBezTo>
                        <a:pt x="106417" y="215900"/>
                        <a:pt x="80417" y="243114"/>
                        <a:pt x="53813" y="271538"/>
                      </a:cubicBezTo>
                      <a:cubicBezTo>
                        <a:pt x="35674" y="251581"/>
                        <a:pt x="20558" y="234648"/>
                        <a:pt x="4232" y="217109"/>
                      </a:cubicBezTo>
                      <a:cubicBezTo>
                        <a:pt x="28418" y="193524"/>
                        <a:pt x="55022" y="167519"/>
                        <a:pt x="81627" y="142119"/>
                      </a:cubicBezTo>
                      <a:cubicBezTo>
                        <a:pt x="51999" y="113090"/>
                        <a:pt x="24790" y="87086"/>
                        <a:pt x="0" y="62895"/>
                      </a:cubicBezTo>
                      <a:cubicBezTo>
                        <a:pt x="21163" y="42333"/>
                        <a:pt x="38092" y="26005"/>
                        <a:pt x="58650" y="6048"/>
                      </a:cubicBezTo>
                      <a:close/>
                    </a:path>
                  </a:pathLst>
                </a:custGeom>
                <a:grpFill/>
                <a:ln w="6040"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46241B5A-3BDA-9031-9112-CDC8C560019C}"/>
                    </a:ext>
                  </a:extLst>
                </p:cNvPr>
                <p:cNvSpPr/>
                <p:nvPr/>
              </p:nvSpPr>
              <p:spPr>
                <a:xfrm>
                  <a:off x="6655879" y="2754800"/>
                  <a:ext cx="217067" cy="217714"/>
                </a:xfrm>
                <a:custGeom>
                  <a:avLst/>
                  <a:gdLst>
                    <a:gd name="connsiteX0" fmla="*/ 217067 w 217067"/>
                    <a:gd name="connsiteY0" fmla="*/ 108252 h 217714"/>
                    <a:gd name="connsiteX1" fmla="*/ 107627 w 217067"/>
                    <a:gd name="connsiteY1" fmla="*/ 217714 h 217714"/>
                    <a:gd name="connsiteX2" fmla="*/ 0 w 217067"/>
                    <a:gd name="connsiteY2" fmla="*/ 109462 h 217714"/>
                    <a:gd name="connsiteX3" fmla="*/ 109441 w 217067"/>
                    <a:gd name="connsiteY3" fmla="*/ 0 h 217714"/>
                    <a:gd name="connsiteX4" fmla="*/ 217067 w 217067"/>
                    <a:gd name="connsiteY4" fmla="*/ 108252 h 217714"/>
                    <a:gd name="connsiteX5" fmla="*/ 108231 w 217067"/>
                    <a:gd name="connsiteY5" fmla="*/ 144538 h 217714"/>
                    <a:gd name="connsiteX6" fmla="*/ 144510 w 217067"/>
                    <a:gd name="connsiteY6" fmla="*/ 108857 h 217714"/>
                    <a:gd name="connsiteX7" fmla="*/ 108836 w 217067"/>
                    <a:gd name="connsiteY7" fmla="*/ 72571 h 217714"/>
                    <a:gd name="connsiteX8" fmla="*/ 72557 w 217067"/>
                    <a:gd name="connsiteY8" fmla="*/ 108252 h 217714"/>
                    <a:gd name="connsiteX9" fmla="*/ 108231 w 217067"/>
                    <a:gd name="connsiteY9" fmla="*/ 144538 h 21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067" h="217714">
                      <a:moveTo>
                        <a:pt x="217067" y="108252"/>
                      </a:moveTo>
                      <a:cubicBezTo>
                        <a:pt x="217067" y="168124"/>
                        <a:pt x="168091" y="217714"/>
                        <a:pt x="107627" y="217714"/>
                      </a:cubicBezTo>
                      <a:cubicBezTo>
                        <a:pt x="48371" y="217109"/>
                        <a:pt x="0" y="168729"/>
                        <a:pt x="0" y="109462"/>
                      </a:cubicBezTo>
                      <a:cubicBezTo>
                        <a:pt x="0" y="48986"/>
                        <a:pt x="48976" y="0"/>
                        <a:pt x="109441" y="0"/>
                      </a:cubicBezTo>
                      <a:cubicBezTo>
                        <a:pt x="168091" y="0"/>
                        <a:pt x="217067" y="48986"/>
                        <a:pt x="217067" y="108252"/>
                      </a:cubicBezTo>
                      <a:close/>
                      <a:moveTo>
                        <a:pt x="108231" y="144538"/>
                      </a:moveTo>
                      <a:cubicBezTo>
                        <a:pt x="127580" y="144538"/>
                        <a:pt x="144510" y="128210"/>
                        <a:pt x="144510" y="108857"/>
                      </a:cubicBezTo>
                      <a:cubicBezTo>
                        <a:pt x="144510" y="89505"/>
                        <a:pt x="128184" y="72571"/>
                        <a:pt x="108836" y="72571"/>
                      </a:cubicBezTo>
                      <a:cubicBezTo>
                        <a:pt x="89487" y="72571"/>
                        <a:pt x="72557" y="88900"/>
                        <a:pt x="72557" y="108252"/>
                      </a:cubicBezTo>
                      <a:cubicBezTo>
                        <a:pt x="72557" y="127605"/>
                        <a:pt x="88278" y="144538"/>
                        <a:pt x="108231" y="144538"/>
                      </a:cubicBezTo>
                      <a:close/>
                    </a:path>
                  </a:pathLst>
                </a:custGeom>
                <a:grpFill/>
                <a:ln w="6040" cap="flat">
                  <a:noFill/>
                  <a:prstDash val="solid"/>
                  <a:miter/>
                </a:ln>
              </p:spPr>
              <p:txBody>
                <a:bodyPr rtlCol="0" anchor="ctr"/>
                <a:lstStyle/>
                <a:p>
                  <a:endParaRPr lang="en-US"/>
                </a:p>
              </p:txBody>
            </p:sp>
          </p:grpSp>
          <p:sp>
            <p:nvSpPr>
              <p:cNvPr id="20" name="Freeform 19">
                <a:extLst>
                  <a:ext uri="{FF2B5EF4-FFF2-40B4-BE49-F238E27FC236}">
                    <a16:creationId xmlns:a16="http://schemas.microsoft.com/office/drawing/2014/main" id="{52F10267-F585-72F9-8ED2-9E2FF97AD697}"/>
                  </a:ext>
                </a:extLst>
              </p:cNvPr>
              <p:cNvSpPr/>
              <p:nvPr/>
            </p:nvSpPr>
            <p:spPr>
              <a:xfrm>
                <a:off x="8914614" y="2853999"/>
                <a:ext cx="71952" cy="71983"/>
              </a:xfrm>
              <a:custGeom>
                <a:avLst/>
                <a:gdLst>
                  <a:gd name="connsiteX0" fmla="*/ 35674 w 71952"/>
                  <a:gd name="connsiteY0" fmla="*/ 71983 h 71982"/>
                  <a:gd name="connsiteX1" fmla="*/ 0 w 71952"/>
                  <a:gd name="connsiteY1" fmla="*/ 35697 h 71982"/>
                  <a:gd name="connsiteX2" fmla="*/ 36279 w 71952"/>
                  <a:gd name="connsiteY2" fmla="*/ 16 h 71982"/>
                  <a:gd name="connsiteX3" fmla="*/ 71953 w 71952"/>
                  <a:gd name="connsiteY3" fmla="*/ 36302 h 71982"/>
                  <a:gd name="connsiteX4" fmla="*/ 35674 w 71952"/>
                  <a:gd name="connsiteY4" fmla="*/ 71983 h 719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952" h="71982">
                    <a:moveTo>
                      <a:pt x="35674" y="71983"/>
                    </a:moveTo>
                    <a:cubicBezTo>
                      <a:pt x="16325" y="71983"/>
                      <a:pt x="0" y="55050"/>
                      <a:pt x="0" y="35697"/>
                    </a:cubicBezTo>
                    <a:cubicBezTo>
                      <a:pt x="0" y="15740"/>
                      <a:pt x="16930" y="-589"/>
                      <a:pt x="36279" y="16"/>
                    </a:cubicBezTo>
                    <a:cubicBezTo>
                      <a:pt x="55627" y="16"/>
                      <a:pt x="71953" y="16950"/>
                      <a:pt x="71953" y="36302"/>
                    </a:cubicBezTo>
                    <a:cubicBezTo>
                      <a:pt x="71953" y="55654"/>
                      <a:pt x="55023" y="71983"/>
                      <a:pt x="35674" y="71983"/>
                    </a:cubicBezTo>
                    <a:close/>
                  </a:path>
                </a:pathLst>
              </a:custGeom>
              <a:grpFill/>
              <a:ln w="6040" cap="flat">
                <a:noFill/>
                <a:prstDash val="solid"/>
                <a:miter/>
              </a:ln>
            </p:spPr>
            <p:txBody>
              <a:bodyPr rtlCol="0" anchor="ctr"/>
              <a:lstStyle/>
              <a:p>
                <a:endParaRPr lang="en-US"/>
              </a:p>
            </p:txBody>
          </p:sp>
        </p:grpSp>
        <p:grpSp>
          <p:nvGrpSpPr>
            <p:cNvPr id="14" name="Graphic 2">
              <a:extLst>
                <a:ext uri="{FF2B5EF4-FFF2-40B4-BE49-F238E27FC236}">
                  <a16:creationId xmlns:a16="http://schemas.microsoft.com/office/drawing/2014/main" id="{C6E56F48-86FB-0274-BC62-AF8A7B233F75}"/>
                </a:ext>
              </a:extLst>
            </p:cNvPr>
            <p:cNvGrpSpPr/>
            <p:nvPr userDrawn="1"/>
          </p:nvGrpSpPr>
          <p:grpSpPr>
            <a:xfrm>
              <a:off x="7658458" y="4365384"/>
              <a:ext cx="723380" cy="839526"/>
              <a:chOff x="2403525" y="3625384"/>
              <a:chExt cx="853935" cy="991043"/>
            </a:xfrm>
            <a:solidFill>
              <a:schemeClr val="bg1"/>
            </a:solidFill>
          </p:grpSpPr>
          <p:sp>
            <p:nvSpPr>
              <p:cNvPr id="15" name="Freeform 14">
                <a:extLst>
                  <a:ext uri="{FF2B5EF4-FFF2-40B4-BE49-F238E27FC236}">
                    <a16:creationId xmlns:a16="http://schemas.microsoft.com/office/drawing/2014/main" id="{36FF73A2-1671-9119-E9A8-125CBB34BC99}"/>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308DD0D3-F005-180C-F330-E679D53B4950}"/>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9E893CC6-91C6-C1B8-6D84-26CA15417C8E}"/>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D8A9940-38DB-23D0-4F9C-83F4B56DF574}"/>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66" name="Freeform 65">
            <a:extLst>
              <a:ext uri="{FF2B5EF4-FFF2-40B4-BE49-F238E27FC236}">
                <a16:creationId xmlns:a16="http://schemas.microsoft.com/office/drawing/2014/main" id="{EB7B3610-CE5E-0E1F-7C60-C9E133E61D84}"/>
              </a:ext>
            </a:extLst>
          </p:cNvPr>
          <p:cNvSpPr/>
          <p:nvPr/>
        </p:nvSpPr>
        <p:spPr>
          <a:xfrm rot="5851682">
            <a:off x="9416359" y="5871417"/>
            <a:ext cx="634727" cy="1066726"/>
          </a:xfrm>
          <a:custGeom>
            <a:avLst/>
            <a:gdLst>
              <a:gd name="connsiteX0" fmla="*/ 325831 w 377841"/>
              <a:gd name="connsiteY0" fmla="*/ 353485 h 635002"/>
              <a:gd name="connsiteX1" fmla="*/ 215990 w 377841"/>
              <a:gd name="connsiteY1" fmla="*/ 310102 h 635002"/>
              <a:gd name="connsiteX2" fmla="*/ 16615 w 377841"/>
              <a:gd name="connsiteY2" fmla="*/ 7346 h 635002"/>
              <a:gd name="connsiteX3" fmla="*/ 0 w 377841"/>
              <a:gd name="connsiteY3" fmla="*/ 11038 h 635002"/>
              <a:gd name="connsiteX4" fmla="*/ 101534 w 377841"/>
              <a:gd name="connsiteY4" fmla="*/ 356254 h 635002"/>
              <a:gd name="connsiteX5" fmla="*/ 95995 w 377841"/>
              <a:gd name="connsiteY5" fmla="*/ 361792 h 635002"/>
              <a:gd name="connsiteX6" fmla="*/ 104303 w 377841"/>
              <a:gd name="connsiteY6" fmla="*/ 591629 h 635002"/>
              <a:gd name="connsiteX7" fmla="*/ 334138 w 377841"/>
              <a:gd name="connsiteY7" fmla="*/ 583321 h 635002"/>
              <a:gd name="connsiteX8" fmla="*/ 325831 w 377841"/>
              <a:gd name="connsiteY8" fmla="*/ 353485 h 635002"/>
              <a:gd name="connsiteX9" fmla="*/ 163377 w 377841"/>
              <a:gd name="connsiteY9" fmla="*/ 527939 h 635002"/>
              <a:gd name="connsiteX10" fmla="*/ 159685 w 377841"/>
              <a:gd name="connsiteY10" fmla="*/ 419944 h 635002"/>
              <a:gd name="connsiteX11" fmla="*/ 267680 w 377841"/>
              <a:gd name="connsiteY11" fmla="*/ 416252 h 635002"/>
              <a:gd name="connsiteX12" fmla="*/ 271372 w 377841"/>
              <a:gd name="connsiteY12" fmla="*/ 524247 h 635002"/>
              <a:gd name="connsiteX13" fmla="*/ 163377 w 377841"/>
              <a:gd name="connsiteY13" fmla="*/ 527939 h 63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7841" h="635002">
                <a:moveTo>
                  <a:pt x="325831" y="353485"/>
                </a:moveTo>
                <a:cubicBezTo>
                  <a:pt x="294448" y="324871"/>
                  <a:pt x="255680" y="310102"/>
                  <a:pt x="215990" y="310102"/>
                </a:cubicBezTo>
                <a:cubicBezTo>
                  <a:pt x="183684" y="260258"/>
                  <a:pt x="22153" y="12884"/>
                  <a:pt x="16615" y="7346"/>
                </a:cubicBezTo>
                <a:cubicBezTo>
                  <a:pt x="0" y="-11115"/>
                  <a:pt x="0" y="11038"/>
                  <a:pt x="0" y="11038"/>
                </a:cubicBezTo>
                <a:lnTo>
                  <a:pt x="101534" y="356254"/>
                </a:lnTo>
                <a:cubicBezTo>
                  <a:pt x="99688" y="358100"/>
                  <a:pt x="97841" y="359946"/>
                  <a:pt x="95995" y="361792"/>
                </a:cubicBezTo>
                <a:cubicBezTo>
                  <a:pt x="35075" y="427328"/>
                  <a:pt x="38767" y="529785"/>
                  <a:pt x="104303" y="591629"/>
                </a:cubicBezTo>
                <a:cubicBezTo>
                  <a:pt x="169838" y="652549"/>
                  <a:pt x="272295" y="648857"/>
                  <a:pt x="334138" y="583321"/>
                </a:cubicBezTo>
                <a:cubicBezTo>
                  <a:pt x="395058" y="516863"/>
                  <a:pt x="392289" y="414405"/>
                  <a:pt x="325831" y="353485"/>
                </a:cubicBezTo>
                <a:close/>
                <a:moveTo>
                  <a:pt x="163377" y="527939"/>
                </a:moveTo>
                <a:cubicBezTo>
                  <a:pt x="131994" y="499325"/>
                  <a:pt x="131071" y="450404"/>
                  <a:pt x="159685" y="419944"/>
                </a:cubicBezTo>
                <a:cubicBezTo>
                  <a:pt x="188299" y="389483"/>
                  <a:pt x="237220" y="387637"/>
                  <a:pt x="267680" y="416252"/>
                </a:cubicBezTo>
                <a:cubicBezTo>
                  <a:pt x="299063" y="444866"/>
                  <a:pt x="299986" y="493787"/>
                  <a:pt x="271372" y="524247"/>
                </a:cubicBezTo>
                <a:cubicBezTo>
                  <a:pt x="242758" y="554707"/>
                  <a:pt x="193837" y="557476"/>
                  <a:pt x="163377" y="527939"/>
                </a:cubicBezTo>
                <a:close/>
              </a:path>
            </a:pathLst>
          </a:custGeom>
          <a:solidFill>
            <a:srgbClr val="245473"/>
          </a:solidFill>
          <a:ln w="9220" cap="flat">
            <a:noFill/>
            <a:prstDash val="solid"/>
            <a:miter/>
          </a:ln>
        </p:spPr>
        <p:txBody>
          <a:bodyPr rtlCol="0" anchor="ctr"/>
          <a:lstStyle/>
          <a:p>
            <a:endParaRPr lang="en-US"/>
          </a:p>
        </p:txBody>
      </p:sp>
      <p:grpSp>
        <p:nvGrpSpPr>
          <p:cNvPr id="47" name="Group 46">
            <a:extLst>
              <a:ext uri="{FF2B5EF4-FFF2-40B4-BE49-F238E27FC236}">
                <a16:creationId xmlns:a16="http://schemas.microsoft.com/office/drawing/2014/main" id="{3B09A200-5ACA-5C9E-86ED-3672D4D3F9C2}"/>
              </a:ext>
            </a:extLst>
          </p:cNvPr>
          <p:cNvGrpSpPr/>
          <p:nvPr/>
        </p:nvGrpSpPr>
        <p:grpSpPr>
          <a:xfrm>
            <a:off x="492230" y="1865708"/>
            <a:ext cx="936321" cy="1086657"/>
            <a:chOff x="8360213" y="3458151"/>
            <a:chExt cx="853935" cy="991043"/>
          </a:xfrm>
          <a:solidFill>
            <a:srgbClr val="595959"/>
          </a:solidFill>
        </p:grpSpPr>
        <p:grpSp>
          <p:nvGrpSpPr>
            <p:cNvPr id="48" name="Graphic 2">
              <a:extLst>
                <a:ext uri="{FF2B5EF4-FFF2-40B4-BE49-F238E27FC236}">
                  <a16:creationId xmlns:a16="http://schemas.microsoft.com/office/drawing/2014/main" id="{6FC34111-DD80-D16E-E0DB-1ED06B7E4A82}"/>
                </a:ext>
              </a:extLst>
            </p:cNvPr>
            <p:cNvGrpSpPr/>
            <p:nvPr userDrawn="1"/>
          </p:nvGrpSpPr>
          <p:grpSpPr>
            <a:xfrm>
              <a:off x="8599192" y="3595917"/>
              <a:ext cx="375982" cy="204367"/>
              <a:chOff x="2642504" y="3763150"/>
              <a:chExt cx="375982" cy="204367"/>
            </a:xfrm>
            <a:grpFill/>
          </p:grpSpPr>
          <p:sp>
            <p:nvSpPr>
              <p:cNvPr id="54" name="Freeform 53">
                <a:extLst>
                  <a:ext uri="{FF2B5EF4-FFF2-40B4-BE49-F238E27FC236}">
                    <a16:creationId xmlns:a16="http://schemas.microsoft.com/office/drawing/2014/main" id="{A6274AE0-0312-5AB5-E3C8-8DD532DD93E5}"/>
                  </a:ext>
                </a:extLst>
              </p:cNvPr>
              <p:cNvSpPr/>
              <p:nvPr/>
            </p:nvSpPr>
            <p:spPr>
              <a:xfrm>
                <a:off x="2813454" y="3763150"/>
                <a:ext cx="205031" cy="204367"/>
              </a:xfrm>
              <a:custGeom>
                <a:avLst/>
                <a:gdLst>
                  <a:gd name="connsiteX0" fmla="*/ 204168 w 205031"/>
                  <a:gd name="connsiteY0" fmla="*/ 204367 h 204367"/>
                  <a:gd name="connsiteX1" fmla="*/ 384 w 205031"/>
                  <a:gd name="connsiteY1" fmla="*/ 204367 h 204367"/>
                  <a:gd name="connsiteX2" fmla="*/ 0 w 205031"/>
                  <a:gd name="connsiteY2" fmla="*/ 193999 h 204367"/>
                  <a:gd name="connsiteX3" fmla="*/ 0 w 205031"/>
                  <a:gd name="connsiteY3" fmla="*/ 90707 h 204367"/>
                  <a:gd name="connsiteX4" fmla="*/ 90187 w 205031"/>
                  <a:gd name="connsiteY4" fmla="*/ 85 h 204367"/>
                  <a:gd name="connsiteX5" fmla="*/ 138159 w 205031"/>
                  <a:gd name="connsiteY5" fmla="*/ 2389 h 204367"/>
                  <a:gd name="connsiteX6" fmla="*/ 204552 w 205031"/>
                  <a:gd name="connsiteY6" fmla="*/ 82259 h 204367"/>
                  <a:gd name="connsiteX7" fmla="*/ 204936 w 205031"/>
                  <a:gd name="connsiteY7" fmla="*/ 199375 h 204367"/>
                  <a:gd name="connsiteX8" fmla="*/ 204168 w 205031"/>
                  <a:gd name="connsiteY8" fmla="*/ 204367 h 204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5031" h="204367">
                    <a:moveTo>
                      <a:pt x="204168" y="204367"/>
                    </a:moveTo>
                    <a:cubicBezTo>
                      <a:pt x="135856" y="204367"/>
                      <a:pt x="68696" y="204367"/>
                      <a:pt x="384" y="204367"/>
                    </a:cubicBezTo>
                    <a:cubicBezTo>
                      <a:pt x="384" y="200527"/>
                      <a:pt x="0" y="197071"/>
                      <a:pt x="0" y="193999"/>
                    </a:cubicBezTo>
                    <a:cubicBezTo>
                      <a:pt x="0" y="159440"/>
                      <a:pt x="0" y="124882"/>
                      <a:pt x="0" y="90707"/>
                    </a:cubicBezTo>
                    <a:cubicBezTo>
                      <a:pt x="0" y="36564"/>
                      <a:pt x="36075" y="85"/>
                      <a:pt x="90187" y="85"/>
                    </a:cubicBezTo>
                    <a:cubicBezTo>
                      <a:pt x="106306" y="85"/>
                      <a:pt x="122808" y="-683"/>
                      <a:pt x="138159" y="2389"/>
                    </a:cubicBezTo>
                    <a:cubicBezTo>
                      <a:pt x="176153" y="9301"/>
                      <a:pt x="204168" y="43476"/>
                      <a:pt x="204552" y="82259"/>
                    </a:cubicBezTo>
                    <a:cubicBezTo>
                      <a:pt x="205320" y="121426"/>
                      <a:pt x="204936" y="160208"/>
                      <a:pt x="204936" y="199375"/>
                    </a:cubicBezTo>
                    <a:cubicBezTo>
                      <a:pt x="204936" y="200527"/>
                      <a:pt x="204552" y="202063"/>
                      <a:pt x="204168" y="204367"/>
                    </a:cubicBezTo>
                    <a:close/>
                  </a:path>
                </a:pathLst>
              </a:custGeom>
              <a:solidFill>
                <a:srgbClr val="F16924"/>
              </a:solidFill>
              <a:ln w="3834" cap="flat">
                <a:noFill/>
                <a:prstDash val="solid"/>
                <a:miter/>
              </a:ln>
            </p:spPr>
            <p:txBody>
              <a:bodyPr rtlCol="0" anchor="ctr"/>
              <a:lstStyle/>
              <a:p>
                <a:endParaRPr lang="en-US"/>
              </a:p>
            </p:txBody>
          </p:sp>
          <p:sp>
            <p:nvSpPr>
              <p:cNvPr id="55" name="Freeform 54">
                <a:extLst>
                  <a:ext uri="{FF2B5EF4-FFF2-40B4-BE49-F238E27FC236}">
                    <a16:creationId xmlns:a16="http://schemas.microsoft.com/office/drawing/2014/main" id="{F5094BC4-0309-65C2-F73B-72BC907BDAE4}"/>
                  </a:ext>
                </a:extLst>
              </p:cNvPr>
              <p:cNvSpPr/>
              <p:nvPr/>
            </p:nvSpPr>
            <p:spPr>
              <a:xfrm>
                <a:off x="2642504" y="3763235"/>
                <a:ext cx="161142" cy="204281"/>
              </a:xfrm>
              <a:custGeom>
                <a:avLst/>
                <a:gdLst>
                  <a:gd name="connsiteX0" fmla="*/ 137178 w 161142"/>
                  <a:gd name="connsiteY0" fmla="*/ 204282 h 204281"/>
                  <a:gd name="connsiteX1" fmla="*/ 938 w 161142"/>
                  <a:gd name="connsiteY1" fmla="*/ 204282 h 204281"/>
                  <a:gd name="connsiteX2" fmla="*/ 171 w 161142"/>
                  <a:gd name="connsiteY2" fmla="*/ 196602 h 204281"/>
                  <a:gd name="connsiteX3" fmla="*/ 171 w 161142"/>
                  <a:gd name="connsiteY3" fmla="*/ 86397 h 204281"/>
                  <a:gd name="connsiteX4" fmla="*/ 85753 w 161142"/>
                  <a:gd name="connsiteY4" fmla="*/ 0 h 204281"/>
                  <a:gd name="connsiteX5" fmla="*/ 137946 w 161142"/>
                  <a:gd name="connsiteY5" fmla="*/ 2304 h 204281"/>
                  <a:gd name="connsiteX6" fmla="*/ 160972 w 161142"/>
                  <a:gd name="connsiteY6" fmla="*/ 9984 h 204281"/>
                  <a:gd name="connsiteX7" fmla="*/ 160972 w 161142"/>
                  <a:gd name="connsiteY7" fmla="*/ 13440 h 204281"/>
                  <a:gd name="connsiteX8" fmla="*/ 137178 w 161142"/>
                  <a:gd name="connsiteY8" fmla="*/ 99069 h 204281"/>
                  <a:gd name="connsiteX9" fmla="*/ 137562 w 161142"/>
                  <a:gd name="connsiteY9" fmla="*/ 193146 h 204281"/>
                  <a:gd name="connsiteX10" fmla="*/ 137178 w 161142"/>
                  <a:gd name="connsiteY10" fmla="*/ 204282 h 204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142" h="204281">
                    <a:moveTo>
                      <a:pt x="137178" y="204282"/>
                    </a:moveTo>
                    <a:cubicBezTo>
                      <a:pt x="91125" y="204282"/>
                      <a:pt x="46224" y="204282"/>
                      <a:pt x="938" y="204282"/>
                    </a:cubicBezTo>
                    <a:cubicBezTo>
                      <a:pt x="554" y="201210"/>
                      <a:pt x="171" y="198906"/>
                      <a:pt x="171" y="196602"/>
                    </a:cubicBezTo>
                    <a:cubicBezTo>
                      <a:pt x="171" y="159739"/>
                      <a:pt x="-213" y="122876"/>
                      <a:pt x="171" y="86397"/>
                    </a:cubicBezTo>
                    <a:cubicBezTo>
                      <a:pt x="554" y="37631"/>
                      <a:pt x="37013" y="768"/>
                      <a:pt x="85753" y="0"/>
                    </a:cubicBezTo>
                    <a:cubicBezTo>
                      <a:pt x="103022" y="0"/>
                      <a:pt x="120676" y="384"/>
                      <a:pt x="137946" y="2304"/>
                    </a:cubicBezTo>
                    <a:cubicBezTo>
                      <a:pt x="146005" y="3072"/>
                      <a:pt x="153681" y="7296"/>
                      <a:pt x="160972" y="9984"/>
                    </a:cubicBezTo>
                    <a:cubicBezTo>
                      <a:pt x="160972" y="12288"/>
                      <a:pt x="161356" y="13056"/>
                      <a:pt x="160972" y="13440"/>
                    </a:cubicBezTo>
                    <a:cubicBezTo>
                      <a:pt x="142167" y="39167"/>
                      <a:pt x="136027" y="67966"/>
                      <a:pt x="137178" y="99069"/>
                    </a:cubicBezTo>
                    <a:cubicBezTo>
                      <a:pt x="137946" y="130172"/>
                      <a:pt x="137562" y="161659"/>
                      <a:pt x="137562" y="193146"/>
                    </a:cubicBezTo>
                    <a:cubicBezTo>
                      <a:pt x="137178" y="195834"/>
                      <a:pt x="137178" y="199674"/>
                      <a:pt x="137178" y="204282"/>
                    </a:cubicBezTo>
                    <a:close/>
                  </a:path>
                </a:pathLst>
              </a:custGeom>
              <a:solidFill>
                <a:srgbClr val="F16924"/>
              </a:solidFill>
              <a:ln w="3834" cap="flat">
                <a:noFill/>
                <a:prstDash val="solid"/>
                <a:miter/>
              </a:ln>
            </p:spPr>
            <p:txBody>
              <a:bodyPr rtlCol="0" anchor="ctr"/>
              <a:lstStyle/>
              <a:p>
                <a:endParaRPr lang="en-US"/>
              </a:p>
            </p:txBody>
          </p:sp>
        </p:grpSp>
        <p:grpSp>
          <p:nvGrpSpPr>
            <p:cNvPr id="49" name="Graphic 2">
              <a:extLst>
                <a:ext uri="{FF2B5EF4-FFF2-40B4-BE49-F238E27FC236}">
                  <a16:creationId xmlns:a16="http://schemas.microsoft.com/office/drawing/2014/main" id="{C29A601B-D5CC-BA82-C8E1-30BBF61646D0}"/>
                </a:ext>
              </a:extLst>
            </p:cNvPr>
            <p:cNvGrpSpPr/>
            <p:nvPr userDrawn="1"/>
          </p:nvGrpSpPr>
          <p:grpSpPr>
            <a:xfrm>
              <a:off x="8360213" y="3458151"/>
              <a:ext cx="853935" cy="991043"/>
              <a:chOff x="2403525" y="3625384"/>
              <a:chExt cx="853935" cy="991043"/>
            </a:xfrm>
            <a:grpFill/>
          </p:grpSpPr>
          <p:sp>
            <p:nvSpPr>
              <p:cNvPr id="50" name="Freeform 49">
                <a:extLst>
                  <a:ext uri="{FF2B5EF4-FFF2-40B4-BE49-F238E27FC236}">
                    <a16:creationId xmlns:a16="http://schemas.microsoft.com/office/drawing/2014/main" id="{E296E4D0-B97A-466C-47AD-CC6216B07545}"/>
                  </a:ext>
                </a:extLst>
              </p:cNvPr>
              <p:cNvSpPr/>
              <p:nvPr/>
            </p:nvSpPr>
            <p:spPr>
              <a:xfrm>
                <a:off x="2403525" y="3625384"/>
                <a:ext cx="853935" cy="991043"/>
              </a:xfrm>
              <a:custGeom>
                <a:avLst/>
                <a:gdLst>
                  <a:gd name="connsiteX0" fmla="*/ 521608 w 853935"/>
                  <a:gd name="connsiteY0" fmla="*/ 0 h 991043"/>
                  <a:gd name="connsiteX1" fmla="*/ 526980 w 853935"/>
                  <a:gd name="connsiteY1" fmla="*/ 1920 h 991043"/>
                  <a:gd name="connsiteX2" fmla="*/ 571498 w 853935"/>
                  <a:gd name="connsiteY2" fmla="*/ 102909 h 991043"/>
                  <a:gd name="connsiteX3" fmla="*/ 568044 w 853935"/>
                  <a:gd name="connsiteY3" fmla="*/ 108669 h 991043"/>
                  <a:gd name="connsiteX4" fmla="*/ 573801 w 853935"/>
                  <a:gd name="connsiteY4" fmla="*/ 111741 h 991043"/>
                  <a:gd name="connsiteX5" fmla="*/ 649021 w 853935"/>
                  <a:gd name="connsiteY5" fmla="*/ 223481 h 991043"/>
                  <a:gd name="connsiteX6" fmla="*/ 649021 w 853935"/>
                  <a:gd name="connsiteY6" fmla="*/ 289143 h 991043"/>
                  <a:gd name="connsiteX7" fmla="*/ 711192 w 853935"/>
                  <a:gd name="connsiteY7" fmla="*/ 304119 h 991043"/>
                  <a:gd name="connsiteX8" fmla="*/ 761851 w 853935"/>
                  <a:gd name="connsiteY8" fmla="*/ 324854 h 991043"/>
                  <a:gd name="connsiteX9" fmla="*/ 785645 w 853935"/>
                  <a:gd name="connsiteY9" fmla="*/ 366709 h 991043"/>
                  <a:gd name="connsiteX10" fmla="*/ 785645 w 853935"/>
                  <a:gd name="connsiteY10" fmla="*/ 455794 h 991043"/>
                  <a:gd name="connsiteX11" fmla="*/ 790634 w 853935"/>
                  <a:gd name="connsiteY11" fmla="*/ 465010 h 991043"/>
                  <a:gd name="connsiteX12" fmla="*/ 851654 w 853935"/>
                  <a:gd name="connsiteY12" fmla="*/ 542575 h 991043"/>
                  <a:gd name="connsiteX13" fmla="*/ 827476 w 853935"/>
                  <a:gd name="connsiteY13" fmla="*/ 637804 h 991043"/>
                  <a:gd name="connsiteX14" fmla="*/ 790250 w 853935"/>
                  <a:gd name="connsiteY14" fmla="*/ 662764 h 991043"/>
                  <a:gd name="connsiteX15" fmla="*/ 782575 w 853935"/>
                  <a:gd name="connsiteY15" fmla="*/ 673131 h 991043"/>
                  <a:gd name="connsiteX16" fmla="*/ 499349 w 853935"/>
                  <a:gd name="connsiteY16" fmla="*/ 983778 h 991043"/>
                  <a:gd name="connsiteX17" fmla="*/ 77196 w 853935"/>
                  <a:gd name="connsiteY17" fmla="*/ 711530 h 991043"/>
                  <a:gd name="connsiteX18" fmla="*/ 70288 w 853935"/>
                  <a:gd name="connsiteY18" fmla="*/ 671596 h 991043"/>
                  <a:gd name="connsiteX19" fmla="*/ 64915 w 853935"/>
                  <a:gd name="connsiteY19" fmla="*/ 664300 h 991043"/>
                  <a:gd name="connsiteX20" fmla="*/ 57 w 853935"/>
                  <a:gd name="connsiteY20" fmla="*/ 562159 h 991043"/>
                  <a:gd name="connsiteX21" fmla="*/ 41505 w 853935"/>
                  <a:gd name="connsiteY21" fmla="*/ 476529 h 991043"/>
                  <a:gd name="connsiteX22" fmla="*/ 60310 w 853935"/>
                  <a:gd name="connsiteY22" fmla="*/ 466930 h 991043"/>
                  <a:gd name="connsiteX23" fmla="*/ 68369 w 853935"/>
                  <a:gd name="connsiteY23" fmla="*/ 454258 h 991043"/>
                  <a:gd name="connsiteX24" fmla="*/ 67985 w 853935"/>
                  <a:gd name="connsiteY24" fmla="*/ 364405 h 991043"/>
                  <a:gd name="connsiteX25" fmla="*/ 87942 w 853935"/>
                  <a:gd name="connsiteY25" fmla="*/ 327542 h 991043"/>
                  <a:gd name="connsiteX26" fmla="*/ 163162 w 853935"/>
                  <a:gd name="connsiteY26" fmla="*/ 298743 h 991043"/>
                  <a:gd name="connsiteX27" fmla="*/ 204226 w 853935"/>
                  <a:gd name="connsiteY27" fmla="*/ 290295 h 991043"/>
                  <a:gd name="connsiteX28" fmla="*/ 204226 w 853935"/>
                  <a:gd name="connsiteY28" fmla="*/ 278391 h 991043"/>
                  <a:gd name="connsiteX29" fmla="*/ 206528 w 853935"/>
                  <a:gd name="connsiteY29" fmla="*/ 203130 h 991043"/>
                  <a:gd name="connsiteX30" fmla="*/ 278294 w 853935"/>
                  <a:gd name="connsiteY30" fmla="*/ 112893 h 991043"/>
                  <a:gd name="connsiteX31" fmla="*/ 282899 w 853935"/>
                  <a:gd name="connsiteY31" fmla="*/ 110973 h 991043"/>
                  <a:gd name="connsiteX32" fmla="*/ 272921 w 853935"/>
                  <a:gd name="connsiteY32" fmla="*/ 73726 h 991043"/>
                  <a:gd name="connsiteX33" fmla="*/ 323580 w 853935"/>
                  <a:gd name="connsiteY33" fmla="*/ 3072 h 991043"/>
                  <a:gd name="connsiteX34" fmla="*/ 328952 w 853935"/>
                  <a:gd name="connsiteY34" fmla="*/ 1152 h 991043"/>
                  <a:gd name="connsiteX35" fmla="*/ 352363 w 853935"/>
                  <a:gd name="connsiteY35" fmla="*/ 1152 h 991043"/>
                  <a:gd name="connsiteX36" fmla="*/ 357736 w 853935"/>
                  <a:gd name="connsiteY36" fmla="*/ 3072 h 991043"/>
                  <a:gd name="connsiteX37" fmla="*/ 408394 w 853935"/>
                  <a:gd name="connsiteY37" fmla="*/ 72574 h 991043"/>
                  <a:gd name="connsiteX38" fmla="*/ 398800 w 853935"/>
                  <a:gd name="connsiteY38" fmla="*/ 110589 h 991043"/>
                  <a:gd name="connsiteX39" fmla="*/ 422977 w 853935"/>
                  <a:gd name="connsiteY39" fmla="*/ 122876 h 991043"/>
                  <a:gd name="connsiteX40" fmla="*/ 429885 w 853935"/>
                  <a:gd name="connsiteY40" fmla="*/ 122876 h 991043"/>
                  <a:gd name="connsiteX41" fmla="*/ 455982 w 853935"/>
                  <a:gd name="connsiteY41" fmla="*/ 109437 h 991043"/>
                  <a:gd name="connsiteX42" fmla="*/ 451760 w 853935"/>
                  <a:gd name="connsiteY42" fmla="*/ 101373 h 991043"/>
                  <a:gd name="connsiteX43" fmla="*/ 481311 w 853935"/>
                  <a:gd name="connsiteY43" fmla="*/ 9216 h 991043"/>
                  <a:gd name="connsiteX44" fmla="*/ 503954 w 853935"/>
                  <a:gd name="connsiteY44" fmla="*/ 1152 h 991043"/>
                  <a:gd name="connsiteX45" fmla="*/ 521608 w 853935"/>
                  <a:gd name="connsiteY45" fmla="*/ 0 h 991043"/>
                  <a:gd name="connsiteX46" fmla="*/ 751489 w 853935"/>
                  <a:gd name="connsiteY46" fmla="*/ 401268 h 991043"/>
                  <a:gd name="connsiteX47" fmla="*/ 748035 w 853935"/>
                  <a:gd name="connsiteY47" fmla="*/ 401652 h 991043"/>
                  <a:gd name="connsiteX48" fmla="*/ 637891 w 853935"/>
                  <a:gd name="connsiteY48" fmla="*/ 430067 h 991043"/>
                  <a:gd name="connsiteX49" fmla="*/ 383065 w 853935"/>
                  <a:gd name="connsiteY49" fmla="*/ 443890 h 991043"/>
                  <a:gd name="connsiteX50" fmla="*/ 165080 w 853935"/>
                  <a:gd name="connsiteY50" fmla="*/ 420467 h 991043"/>
                  <a:gd name="connsiteX51" fmla="*/ 102909 w 853935"/>
                  <a:gd name="connsiteY51" fmla="*/ 402420 h 991043"/>
                  <a:gd name="connsiteX52" fmla="*/ 102525 w 853935"/>
                  <a:gd name="connsiteY52" fmla="*/ 410099 h 991043"/>
                  <a:gd name="connsiteX53" fmla="*/ 102909 w 853935"/>
                  <a:gd name="connsiteY53" fmla="*/ 629741 h 991043"/>
                  <a:gd name="connsiteX54" fmla="*/ 111736 w 853935"/>
                  <a:gd name="connsiteY54" fmla="*/ 708458 h 991043"/>
                  <a:gd name="connsiteX55" fmla="*/ 496662 w 853935"/>
                  <a:gd name="connsiteY55" fmla="*/ 949987 h 991043"/>
                  <a:gd name="connsiteX56" fmla="*/ 751873 w 853935"/>
                  <a:gd name="connsiteY56" fmla="*/ 628973 h 991043"/>
                  <a:gd name="connsiteX57" fmla="*/ 751873 w 853935"/>
                  <a:gd name="connsiteY57" fmla="*/ 411251 h 991043"/>
                  <a:gd name="connsiteX58" fmla="*/ 751489 w 853935"/>
                  <a:gd name="connsiteY58" fmla="*/ 401268 h 991043"/>
                  <a:gd name="connsiteX59" fmla="*/ 614097 w 853935"/>
                  <a:gd name="connsiteY59" fmla="*/ 342134 h 991043"/>
                  <a:gd name="connsiteX60" fmla="*/ 614865 w 853935"/>
                  <a:gd name="connsiteY60" fmla="*/ 336758 h 991043"/>
                  <a:gd name="connsiteX61" fmla="*/ 614481 w 853935"/>
                  <a:gd name="connsiteY61" fmla="*/ 219641 h 991043"/>
                  <a:gd name="connsiteX62" fmla="*/ 548088 w 853935"/>
                  <a:gd name="connsiteY62" fmla="*/ 139772 h 991043"/>
                  <a:gd name="connsiteX63" fmla="*/ 500116 w 853935"/>
                  <a:gd name="connsiteY63" fmla="*/ 137468 h 991043"/>
                  <a:gd name="connsiteX64" fmla="*/ 409929 w 853935"/>
                  <a:gd name="connsiteY64" fmla="*/ 228089 h 991043"/>
                  <a:gd name="connsiteX65" fmla="*/ 409929 w 853935"/>
                  <a:gd name="connsiteY65" fmla="*/ 331382 h 991043"/>
                  <a:gd name="connsiteX66" fmla="*/ 410313 w 853935"/>
                  <a:gd name="connsiteY66" fmla="*/ 341750 h 991043"/>
                  <a:gd name="connsiteX67" fmla="*/ 614097 w 853935"/>
                  <a:gd name="connsiteY67" fmla="*/ 342134 h 991043"/>
                  <a:gd name="connsiteX68" fmla="*/ 376157 w 853935"/>
                  <a:gd name="connsiteY68" fmla="*/ 342134 h 991043"/>
                  <a:gd name="connsiteX69" fmla="*/ 376157 w 853935"/>
                  <a:gd name="connsiteY69" fmla="*/ 330614 h 991043"/>
                  <a:gd name="connsiteX70" fmla="*/ 375773 w 853935"/>
                  <a:gd name="connsiteY70" fmla="*/ 236537 h 991043"/>
                  <a:gd name="connsiteX71" fmla="*/ 399567 w 853935"/>
                  <a:gd name="connsiteY71" fmla="*/ 150907 h 991043"/>
                  <a:gd name="connsiteX72" fmla="*/ 399567 w 853935"/>
                  <a:gd name="connsiteY72" fmla="*/ 147452 h 991043"/>
                  <a:gd name="connsiteX73" fmla="*/ 376541 w 853935"/>
                  <a:gd name="connsiteY73" fmla="*/ 139772 h 991043"/>
                  <a:gd name="connsiteX74" fmla="*/ 324347 w 853935"/>
                  <a:gd name="connsiteY74" fmla="*/ 137468 h 991043"/>
                  <a:gd name="connsiteX75" fmla="*/ 238765 w 853935"/>
                  <a:gd name="connsiteY75" fmla="*/ 223865 h 991043"/>
                  <a:gd name="connsiteX76" fmla="*/ 238765 w 853935"/>
                  <a:gd name="connsiteY76" fmla="*/ 334070 h 991043"/>
                  <a:gd name="connsiteX77" fmla="*/ 239533 w 853935"/>
                  <a:gd name="connsiteY77" fmla="*/ 341750 h 991043"/>
                  <a:gd name="connsiteX78" fmla="*/ 376157 w 853935"/>
                  <a:gd name="connsiteY78" fmla="*/ 342134 h 991043"/>
                  <a:gd name="connsiteX79" fmla="*/ 204993 w 853935"/>
                  <a:gd name="connsiteY79" fmla="*/ 325238 h 991043"/>
                  <a:gd name="connsiteX80" fmla="*/ 190793 w 853935"/>
                  <a:gd name="connsiteY80" fmla="*/ 327926 h 991043"/>
                  <a:gd name="connsiteX81" fmla="*/ 118644 w 853935"/>
                  <a:gd name="connsiteY81" fmla="*/ 349429 h 991043"/>
                  <a:gd name="connsiteX82" fmla="*/ 99839 w 853935"/>
                  <a:gd name="connsiteY82" fmla="*/ 360949 h 991043"/>
                  <a:gd name="connsiteX83" fmla="*/ 119795 w 853935"/>
                  <a:gd name="connsiteY83" fmla="*/ 372085 h 991043"/>
                  <a:gd name="connsiteX84" fmla="*/ 189642 w 853935"/>
                  <a:gd name="connsiteY84" fmla="*/ 391284 h 991043"/>
                  <a:gd name="connsiteX85" fmla="*/ 371168 w 853935"/>
                  <a:gd name="connsiteY85" fmla="*/ 409715 h 991043"/>
                  <a:gd name="connsiteX86" fmla="*/ 653626 w 853935"/>
                  <a:gd name="connsiteY86" fmla="*/ 392820 h 991043"/>
                  <a:gd name="connsiteX87" fmla="*/ 732684 w 853935"/>
                  <a:gd name="connsiteY87" fmla="*/ 371317 h 991043"/>
                  <a:gd name="connsiteX88" fmla="*/ 752256 w 853935"/>
                  <a:gd name="connsiteY88" fmla="*/ 359797 h 991043"/>
                  <a:gd name="connsiteX89" fmla="*/ 649021 w 853935"/>
                  <a:gd name="connsiteY89" fmla="*/ 325622 h 991043"/>
                  <a:gd name="connsiteX90" fmla="*/ 649021 w 853935"/>
                  <a:gd name="connsiteY90" fmla="*/ 356341 h 991043"/>
                  <a:gd name="connsiteX91" fmla="*/ 629448 w 853935"/>
                  <a:gd name="connsiteY91" fmla="*/ 375925 h 991043"/>
                  <a:gd name="connsiteX92" fmla="*/ 224950 w 853935"/>
                  <a:gd name="connsiteY92" fmla="*/ 375925 h 991043"/>
                  <a:gd name="connsiteX93" fmla="*/ 204993 w 853935"/>
                  <a:gd name="connsiteY93" fmla="*/ 355573 h 991043"/>
                  <a:gd name="connsiteX94" fmla="*/ 204993 w 853935"/>
                  <a:gd name="connsiteY94" fmla="*/ 325238 h 991043"/>
                  <a:gd name="connsiteX95" fmla="*/ 341233 w 853935"/>
                  <a:gd name="connsiteY95" fmla="*/ 102909 h 991043"/>
                  <a:gd name="connsiteX96" fmla="*/ 375773 w 853935"/>
                  <a:gd name="connsiteY96" fmla="*/ 68734 h 991043"/>
                  <a:gd name="connsiteX97" fmla="*/ 342001 w 853935"/>
                  <a:gd name="connsiteY97" fmla="*/ 34943 h 991043"/>
                  <a:gd name="connsiteX98" fmla="*/ 307461 w 853935"/>
                  <a:gd name="connsiteY98" fmla="*/ 69118 h 991043"/>
                  <a:gd name="connsiteX99" fmla="*/ 341233 w 853935"/>
                  <a:gd name="connsiteY99" fmla="*/ 102909 h 991043"/>
                  <a:gd name="connsiteX100" fmla="*/ 512013 w 853935"/>
                  <a:gd name="connsiteY100" fmla="*/ 102909 h 991043"/>
                  <a:gd name="connsiteX101" fmla="*/ 546553 w 853935"/>
                  <a:gd name="connsiteY101" fmla="*/ 68734 h 991043"/>
                  <a:gd name="connsiteX102" fmla="*/ 512781 w 853935"/>
                  <a:gd name="connsiteY102" fmla="*/ 34943 h 991043"/>
                  <a:gd name="connsiteX103" fmla="*/ 478241 w 853935"/>
                  <a:gd name="connsiteY103" fmla="*/ 69118 h 991043"/>
                  <a:gd name="connsiteX104" fmla="*/ 512013 w 853935"/>
                  <a:gd name="connsiteY104" fmla="*/ 102909 h 991043"/>
                  <a:gd name="connsiteX105" fmla="*/ 786412 w 853935"/>
                  <a:gd name="connsiteY105" fmla="*/ 500721 h 991043"/>
                  <a:gd name="connsiteX106" fmla="*/ 786412 w 853935"/>
                  <a:gd name="connsiteY106" fmla="*/ 627053 h 991043"/>
                  <a:gd name="connsiteX107" fmla="*/ 820184 w 853935"/>
                  <a:gd name="connsiteY107" fmla="*/ 571375 h 991043"/>
                  <a:gd name="connsiteX108" fmla="*/ 786412 w 853935"/>
                  <a:gd name="connsiteY108" fmla="*/ 500721 h 991043"/>
                  <a:gd name="connsiteX109" fmla="*/ 68753 w 853935"/>
                  <a:gd name="connsiteY109" fmla="*/ 499953 h 991043"/>
                  <a:gd name="connsiteX110" fmla="*/ 34597 w 853935"/>
                  <a:gd name="connsiteY110" fmla="*/ 571759 h 991043"/>
                  <a:gd name="connsiteX111" fmla="*/ 68753 w 853935"/>
                  <a:gd name="connsiteY111" fmla="*/ 628205 h 991043"/>
                  <a:gd name="connsiteX112" fmla="*/ 68753 w 853935"/>
                  <a:gd name="connsiteY112" fmla="*/ 618989 h 991043"/>
                  <a:gd name="connsiteX113" fmla="*/ 68753 w 853935"/>
                  <a:gd name="connsiteY113" fmla="*/ 499953 h 99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853935" h="991043">
                    <a:moveTo>
                      <a:pt x="521608" y="0"/>
                    </a:moveTo>
                    <a:cubicBezTo>
                      <a:pt x="523526" y="768"/>
                      <a:pt x="525061" y="1536"/>
                      <a:pt x="526980" y="1920"/>
                    </a:cubicBezTo>
                    <a:cubicBezTo>
                      <a:pt x="572650" y="12672"/>
                      <a:pt x="594525" y="62206"/>
                      <a:pt x="571498" y="102909"/>
                    </a:cubicBezTo>
                    <a:cubicBezTo>
                      <a:pt x="570731" y="104445"/>
                      <a:pt x="569579" y="106365"/>
                      <a:pt x="568044" y="108669"/>
                    </a:cubicBezTo>
                    <a:cubicBezTo>
                      <a:pt x="570347" y="109821"/>
                      <a:pt x="571882" y="110973"/>
                      <a:pt x="573801" y="111741"/>
                    </a:cubicBezTo>
                    <a:cubicBezTo>
                      <a:pt x="622540" y="133244"/>
                      <a:pt x="647102" y="170875"/>
                      <a:pt x="649021" y="223481"/>
                    </a:cubicBezTo>
                    <a:cubicBezTo>
                      <a:pt x="649788" y="245369"/>
                      <a:pt x="649021" y="267256"/>
                      <a:pt x="649021" y="289143"/>
                    </a:cubicBezTo>
                    <a:cubicBezTo>
                      <a:pt x="670129" y="294135"/>
                      <a:pt x="691236" y="297975"/>
                      <a:pt x="711192" y="304119"/>
                    </a:cubicBezTo>
                    <a:cubicBezTo>
                      <a:pt x="728462" y="309495"/>
                      <a:pt x="745732" y="316790"/>
                      <a:pt x="761851" y="324854"/>
                    </a:cubicBezTo>
                    <a:cubicBezTo>
                      <a:pt x="778353" y="333302"/>
                      <a:pt x="786412" y="347125"/>
                      <a:pt x="785645" y="366709"/>
                    </a:cubicBezTo>
                    <a:cubicBezTo>
                      <a:pt x="784493" y="396276"/>
                      <a:pt x="785261" y="426227"/>
                      <a:pt x="785645" y="455794"/>
                    </a:cubicBezTo>
                    <a:cubicBezTo>
                      <a:pt x="785645" y="458866"/>
                      <a:pt x="788331" y="463858"/>
                      <a:pt x="790634" y="465010"/>
                    </a:cubicBezTo>
                    <a:cubicBezTo>
                      <a:pt x="826325" y="478833"/>
                      <a:pt x="844746" y="506481"/>
                      <a:pt x="851654" y="542575"/>
                    </a:cubicBezTo>
                    <a:cubicBezTo>
                      <a:pt x="858178" y="577518"/>
                      <a:pt x="850886" y="609773"/>
                      <a:pt x="827476" y="637804"/>
                    </a:cubicBezTo>
                    <a:cubicBezTo>
                      <a:pt x="817498" y="649708"/>
                      <a:pt x="805217" y="658540"/>
                      <a:pt x="790250" y="662764"/>
                    </a:cubicBezTo>
                    <a:cubicBezTo>
                      <a:pt x="784493" y="664300"/>
                      <a:pt x="782958" y="667756"/>
                      <a:pt x="782575" y="673131"/>
                    </a:cubicBezTo>
                    <a:cubicBezTo>
                      <a:pt x="767224" y="824807"/>
                      <a:pt x="650172" y="953059"/>
                      <a:pt x="499349" y="983778"/>
                    </a:cubicBezTo>
                    <a:cubicBezTo>
                      <a:pt x="307077" y="1022561"/>
                      <a:pt x="120563" y="902372"/>
                      <a:pt x="77196" y="711530"/>
                    </a:cubicBezTo>
                    <a:cubicBezTo>
                      <a:pt x="74126" y="698475"/>
                      <a:pt x="72974" y="684651"/>
                      <a:pt x="70288" y="671596"/>
                    </a:cubicBezTo>
                    <a:cubicBezTo>
                      <a:pt x="69904" y="668908"/>
                      <a:pt x="67218" y="664684"/>
                      <a:pt x="64915" y="664300"/>
                    </a:cubicBezTo>
                    <a:cubicBezTo>
                      <a:pt x="28073" y="653548"/>
                      <a:pt x="-1478" y="612461"/>
                      <a:pt x="57" y="562159"/>
                    </a:cubicBezTo>
                    <a:cubicBezTo>
                      <a:pt x="825" y="527600"/>
                      <a:pt x="13106" y="498033"/>
                      <a:pt x="41505" y="476529"/>
                    </a:cubicBezTo>
                    <a:cubicBezTo>
                      <a:pt x="47261" y="472306"/>
                      <a:pt x="53402" y="468466"/>
                      <a:pt x="60310" y="466930"/>
                    </a:cubicBezTo>
                    <a:cubicBezTo>
                      <a:pt x="67602" y="465010"/>
                      <a:pt x="68369" y="460786"/>
                      <a:pt x="68369" y="454258"/>
                    </a:cubicBezTo>
                    <a:cubicBezTo>
                      <a:pt x="67985" y="424307"/>
                      <a:pt x="68753" y="394356"/>
                      <a:pt x="67985" y="364405"/>
                    </a:cubicBezTo>
                    <a:cubicBezTo>
                      <a:pt x="67602" y="347509"/>
                      <a:pt x="74893" y="335990"/>
                      <a:pt x="87942" y="327542"/>
                    </a:cubicBezTo>
                    <a:cubicBezTo>
                      <a:pt x="110968" y="312182"/>
                      <a:pt x="137065" y="305271"/>
                      <a:pt x="163162" y="298743"/>
                    </a:cubicBezTo>
                    <a:cubicBezTo>
                      <a:pt x="176210" y="295671"/>
                      <a:pt x="189642" y="293367"/>
                      <a:pt x="204226" y="290295"/>
                    </a:cubicBezTo>
                    <a:cubicBezTo>
                      <a:pt x="204226" y="286455"/>
                      <a:pt x="204226" y="282231"/>
                      <a:pt x="204226" y="278391"/>
                    </a:cubicBezTo>
                    <a:cubicBezTo>
                      <a:pt x="204609" y="253432"/>
                      <a:pt x="202690" y="227705"/>
                      <a:pt x="206528" y="203130"/>
                    </a:cubicBezTo>
                    <a:cubicBezTo>
                      <a:pt x="213052" y="160123"/>
                      <a:pt x="238382" y="130172"/>
                      <a:pt x="278294" y="112893"/>
                    </a:cubicBezTo>
                    <a:cubicBezTo>
                      <a:pt x="280213" y="112125"/>
                      <a:pt x="282516" y="110973"/>
                      <a:pt x="282899" y="110973"/>
                    </a:cubicBezTo>
                    <a:cubicBezTo>
                      <a:pt x="279445" y="98301"/>
                      <a:pt x="274073" y="86013"/>
                      <a:pt x="272921" y="73726"/>
                    </a:cubicBezTo>
                    <a:cubicBezTo>
                      <a:pt x="270235" y="39935"/>
                      <a:pt x="290959" y="11904"/>
                      <a:pt x="323580" y="3072"/>
                    </a:cubicBezTo>
                    <a:cubicBezTo>
                      <a:pt x="325498" y="2688"/>
                      <a:pt x="327034" y="1536"/>
                      <a:pt x="328952" y="1152"/>
                    </a:cubicBezTo>
                    <a:cubicBezTo>
                      <a:pt x="336628" y="1152"/>
                      <a:pt x="344303" y="1152"/>
                      <a:pt x="352363" y="1152"/>
                    </a:cubicBezTo>
                    <a:cubicBezTo>
                      <a:pt x="353898" y="1920"/>
                      <a:pt x="355817" y="2688"/>
                      <a:pt x="357736" y="3072"/>
                    </a:cubicBezTo>
                    <a:cubicBezTo>
                      <a:pt x="389973" y="11904"/>
                      <a:pt x="410696" y="39551"/>
                      <a:pt x="408394" y="72574"/>
                    </a:cubicBezTo>
                    <a:cubicBezTo>
                      <a:pt x="407626" y="85245"/>
                      <a:pt x="402253" y="97533"/>
                      <a:pt x="398800" y="110589"/>
                    </a:cubicBezTo>
                    <a:cubicBezTo>
                      <a:pt x="405707" y="114429"/>
                      <a:pt x="414151" y="119036"/>
                      <a:pt x="422977" y="122876"/>
                    </a:cubicBezTo>
                    <a:cubicBezTo>
                      <a:pt x="424896" y="123644"/>
                      <a:pt x="427966" y="124028"/>
                      <a:pt x="429885" y="122876"/>
                    </a:cubicBezTo>
                    <a:cubicBezTo>
                      <a:pt x="438328" y="118652"/>
                      <a:pt x="446771" y="114045"/>
                      <a:pt x="455982" y="109437"/>
                    </a:cubicBezTo>
                    <a:cubicBezTo>
                      <a:pt x="454447" y="106749"/>
                      <a:pt x="452912" y="104061"/>
                      <a:pt x="451760" y="101373"/>
                    </a:cubicBezTo>
                    <a:cubicBezTo>
                      <a:pt x="434107" y="67582"/>
                      <a:pt x="447155" y="25727"/>
                      <a:pt x="481311" y="9216"/>
                    </a:cubicBezTo>
                    <a:cubicBezTo>
                      <a:pt x="488219" y="5760"/>
                      <a:pt x="496278" y="3840"/>
                      <a:pt x="503954" y="1152"/>
                    </a:cubicBezTo>
                    <a:cubicBezTo>
                      <a:pt x="510094" y="0"/>
                      <a:pt x="515851" y="0"/>
                      <a:pt x="521608" y="0"/>
                    </a:cubicBezTo>
                    <a:close/>
                    <a:moveTo>
                      <a:pt x="751489" y="401268"/>
                    </a:moveTo>
                    <a:cubicBezTo>
                      <a:pt x="749954" y="401268"/>
                      <a:pt x="748802" y="401268"/>
                      <a:pt x="748035" y="401652"/>
                    </a:cubicBezTo>
                    <a:cubicBezTo>
                      <a:pt x="713111" y="417395"/>
                      <a:pt x="675501" y="424691"/>
                      <a:pt x="637891" y="430067"/>
                    </a:cubicBezTo>
                    <a:cubicBezTo>
                      <a:pt x="553461" y="442354"/>
                      <a:pt x="468647" y="446578"/>
                      <a:pt x="383065" y="443890"/>
                    </a:cubicBezTo>
                    <a:cubicBezTo>
                      <a:pt x="309764" y="441587"/>
                      <a:pt x="236846" y="436595"/>
                      <a:pt x="165080" y="420467"/>
                    </a:cubicBezTo>
                    <a:cubicBezTo>
                      <a:pt x="144357" y="415859"/>
                      <a:pt x="124016" y="408564"/>
                      <a:pt x="102909" y="402420"/>
                    </a:cubicBezTo>
                    <a:cubicBezTo>
                      <a:pt x="102909" y="404724"/>
                      <a:pt x="102525" y="407412"/>
                      <a:pt x="102525" y="410099"/>
                    </a:cubicBezTo>
                    <a:cubicBezTo>
                      <a:pt x="102525" y="483441"/>
                      <a:pt x="101758" y="556783"/>
                      <a:pt x="102909" y="629741"/>
                    </a:cubicBezTo>
                    <a:cubicBezTo>
                      <a:pt x="103293" y="655852"/>
                      <a:pt x="105979" y="682731"/>
                      <a:pt x="111736" y="708458"/>
                    </a:cubicBezTo>
                    <a:cubicBezTo>
                      <a:pt x="148962" y="878181"/>
                      <a:pt x="327417" y="989922"/>
                      <a:pt x="496662" y="949987"/>
                    </a:cubicBezTo>
                    <a:cubicBezTo>
                      <a:pt x="649405" y="913892"/>
                      <a:pt x="751489" y="786024"/>
                      <a:pt x="751873" y="628973"/>
                    </a:cubicBezTo>
                    <a:cubicBezTo>
                      <a:pt x="751873" y="556399"/>
                      <a:pt x="751873" y="483825"/>
                      <a:pt x="751873" y="411251"/>
                    </a:cubicBezTo>
                    <a:cubicBezTo>
                      <a:pt x="751873" y="407796"/>
                      <a:pt x="751489" y="404724"/>
                      <a:pt x="751489" y="401268"/>
                    </a:cubicBezTo>
                    <a:close/>
                    <a:moveTo>
                      <a:pt x="614097" y="342134"/>
                    </a:moveTo>
                    <a:cubicBezTo>
                      <a:pt x="614481" y="339830"/>
                      <a:pt x="614865" y="338294"/>
                      <a:pt x="614865" y="336758"/>
                    </a:cubicBezTo>
                    <a:cubicBezTo>
                      <a:pt x="614865" y="297591"/>
                      <a:pt x="615249" y="258808"/>
                      <a:pt x="614481" y="219641"/>
                    </a:cubicBezTo>
                    <a:cubicBezTo>
                      <a:pt x="613714" y="181242"/>
                      <a:pt x="585698" y="147068"/>
                      <a:pt x="548088" y="139772"/>
                    </a:cubicBezTo>
                    <a:cubicBezTo>
                      <a:pt x="532353" y="136700"/>
                      <a:pt x="516235" y="137468"/>
                      <a:pt x="500116" y="137468"/>
                    </a:cubicBezTo>
                    <a:cubicBezTo>
                      <a:pt x="446004" y="137468"/>
                      <a:pt x="409929" y="173563"/>
                      <a:pt x="409929" y="228089"/>
                    </a:cubicBezTo>
                    <a:cubicBezTo>
                      <a:pt x="409929" y="262648"/>
                      <a:pt x="409929" y="297207"/>
                      <a:pt x="409929" y="331382"/>
                    </a:cubicBezTo>
                    <a:cubicBezTo>
                      <a:pt x="409929" y="334838"/>
                      <a:pt x="410313" y="338294"/>
                      <a:pt x="410313" y="341750"/>
                    </a:cubicBezTo>
                    <a:cubicBezTo>
                      <a:pt x="478625" y="342134"/>
                      <a:pt x="546169" y="342134"/>
                      <a:pt x="614097" y="342134"/>
                    </a:cubicBezTo>
                    <a:close/>
                    <a:moveTo>
                      <a:pt x="376157" y="342134"/>
                    </a:moveTo>
                    <a:cubicBezTo>
                      <a:pt x="376157" y="337526"/>
                      <a:pt x="376157" y="334070"/>
                      <a:pt x="376157" y="330614"/>
                    </a:cubicBezTo>
                    <a:cubicBezTo>
                      <a:pt x="376157" y="299127"/>
                      <a:pt x="376924" y="268024"/>
                      <a:pt x="375773" y="236537"/>
                    </a:cubicBezTo>
                    <a:cubicBezTo>
                      <a:pt x="375005" y="205050"/>
                      <a:pt x="381146" y="176251"/>
                      <a:pt x="399567" y="150907"/>
                    </a:cubicBezTo>
                    <a:cubicBezTo>
                      <a:pt x="399951" y="150523"/>
                      <a:pt x="399567" y="149755"/>
                      <a:pt x="399567" y="147452"/>
                    </a:cubicBezTo>
                    <a:cubicBezTo>
                      <a:pt x="392275" y="144764"/>
                      <a:pt x="384600" y="140540"/>
                      <a:pt x="376541" y="139772"/>
                    </a:cubicBezTo>
                    <a:cubicBezTo>
                      <a:pt x="359271" y="138236"/>
                      <a:pt x="342001" y="137468"/>
                      <a:pt x="324347" y="137468"/>
                    </a:cubicBezTo>
                    <a:cubicBezTo>
                      <a:pt x="275608" y="137852"/>
                      <a:pt x="239149" y="174715"/>
                      <a:pt x="238765" y="223865"/>
                    </a:cubicBezTo>
                    <a:cubicBezTo>
                      <a:pt x="238382" y="260728"/>
                      <a:pt x="238765" y="297591"/>
                      <a:pt x="238765" y="334070"/>
                    </a:cubicBezTo>
                    <a:cubicBezTo>
                      <a:pt x="238765" y="336374"/>
                      <a:pt x="239149" y="339062"/>
                      <a:pt x="239533" y="341750"/>
                    </a:cubicBezTo>
                    <a:cubicBezTo>
                      <a:pt x="285202" y="342134"/>
                      <a:pt x="329720" y="342134"/>
                      <a:pt x="376157" y="342134"/>
                    </a:cubicBezTo>
                    <a:close/>
                    <a:moveTo>
                      <a:pt x="204993" y="325238"/>
                    </a:moveTo>
                    <a:cubicBezTo>
                      <a:pt x="198853" y="326390"/>
                      <a:pt x="195015" y="326774"/>
                      <a:pt x="190793" y="327926"/>
                    </a:cubicBezTo>
                    <a:cubicBezTo>
                      <a:pt x="166616" y="334838"/>
                      <a:pt x="142438" y="341750"/>
                      <a:pt x="118644" y="349429"/>
                    </a:cubicBezTo>
                    <a:cubicBezTo>
                      <a:pt x="112503" y="351349"/>
                      <a:pt x="107514" y="355957"/>
                      <a:pt x="99839" y="360949"/>
                    </a:cubicBezTo>
                    <a:cubicBezTo>
                      <a:pt x="108282" y="365941"/>
                      <a:pt x="113655" y="370165"/>
                      <a:pt x="119795" y="372085"/>
                    </a:cubicBezTo>
                    <a:cubicBezTo>
                      <a:pt x="142822" y="378996"/>
                      <a:pt x="165848" y="386676"/>
                      <a:pt x="189642" y="391284"/>
                    </a:cubicBezTo>
                    <a:cubicBezTo>
                      <a:pt x="249511" y="403572"/>
                      <a:pt x="310147" y="407796"/>
                      <a:pt x="371168" y="409715"/>
                    </a:cubicBezTo>
                    <a:cubicBezTo>
                      <a:pt x="465960" y="412787"/>
                      <a:pt x="559985" y="409715"/>
                      <a:pt x="653626" y="392820"/>
                    </a:cubicBezTo>
                    <a:cubicBezTo>
                      <a:pt x="680490" y="387828"/>
                      <a:pt x="706587" y="379380"/>
                      <a:pt x="732684" y="371317"/>
                    </a:cubicBezTo>
                    <a:cubicBezTo>
                      <a:pt x="739592" y="369397"/>
                      <a:pt x="745348" y="364021"/>
                      <a:pt x="752256" y="359797"/>
                    </a:cubicBezTo>
                    <a:cubicBezTo>
                      <a:pt x="738057" y="345590"/>
                      <a:pt x="677804" y="326006"/>
                      <a:pt x="649021" y="325622"/>
                    </a:cubicBezTo>
                    <a:cubicBezTo>
                      <a:pt x="649021" y="335990"/>
                      <a:pt x="649021" y="345973"/>
                      <a:pt x="649021" y="356341"/>
                    </a:cubicBezTo>
                    <a:cubicBezTo>
                      <a:pt x="648637" y="369781"/>
                      <a:pt x="642497" y="375925"/>
                      <a:pt x="629448" y="375925"/>
                    </a:cubicBezTo>
                    <a:cubicBezTo>
                      <a:pt x="494743" y="375925"/>
                      <a:pt x="360038" y="375925"/>
                      <a:pt x="224950" y="375925"/>
                    </a:cubicBezTo>
                    <a:cubicBezTo>
                      <a:pt x="211133" y="375925"/>
                      <a:pt x="204993" y="369781"/>
                      <a:pt x="204993" y="355573"/>
                    </a:cubicBezTo>
                    <a:cubicBezTo>
                      <a:pt x="204993" y="345973"/>
                      <a:pt x="204993" y="336374"/>
                      <a:pt x="204993" y="325238"/>
                    </a:cubicBezTo>
                    <a:close/>
                    <a:moveTo>
                      <a:pt x="341233" y="102909"/>
                    </a:moveTo>
                    <a:cubicBezTo>
                      <a:pt x="360422" y="102909"/>
                      <a:pt x="375773" y="87933"/>
                      <a:pt x="375773" y="68734"/>
                    </a:cubicBezTo>
                    <a:cubicBezTo>
                      <a:pt x="375773" y="50302"/>
                      <a:pt x="360422" y="34943"/>
                      <a:pt x="342001" y="34943"/>
                    </a:cubicBezTo>
                    <a:cubicBezTo>
                      <a:pt x="322812" y="34943"/>
                      <a:pt x="307461" y="49918"/>
                      <a:pt x="307461" y="69118"/>
                    </a:cubicBezTo>
                    <a:cubicBezTo>
                      <a:pt x="307461" y="87549"/>
                      <a:pt x="322812" y="102909"/>
                      <a:pt x="341233" y="102909"/>
                    </a:cubicBezTo>
                    <a:close/>
                    <a:moveTo>
                      <a:pt x="512013" y="102909"/>
                    </a:moveTo>
                    <a:cubicBezTo>
                      <a:pt x="531202" y="102909"/>
                      <a:pt x="546553" y="87549"/>
                      <a:pt x="546553" y="68734"/>
                    </a:cubicBezTo>
                    <a:cubicBezTo>
                      <a:pt x="546553" y="50302"/>
                      <a:pt x="531202" y="34943"/>
                      <a:pt x="512781" y="34943"/>
                    </a:cubicBezTo>
                    <a:cubicBezTo>
                      <a:pt x="493592" y="34559"/>
                      <a:pt x="478241" y="49918"/>
                      <a:pt x="478241" y="69118"/>
                    </a:cubicBezTo>
                    <a:cubicBezTo>
                      <a:pt x="478625" y="87933"/>
                      <a:pt x="493208" y="102909"/>
                      <a:pt x="512013" y="102909"/>
                    </a:cubicBezTo>
                    <a:close/>
                    <a:moveTo>
                      <a:pt x="786412" y="500721"/>
                    </a:moveTo>
                    <a:cubicBezTo>
                      <a:pt x="786412" y="544111"/>
                      <a:pt x="786412" y="585198"/>
                      <a:pt x="786412" y="627053"/>
                    </a:cubicBezTo>
                    <a:cubicBezTo>
                      <a:pt x="805217" y="618221"/>
                      <a:pt x="819033" y="594414"/>
                      <a:pt x="820184" y="571375"/>
                    </a:cubicBezTo>
                    <a:cubicBezTo>
                      <a:pt x="821336" y="542191"/>
                      <a:pt x="812893" y="518384"/>
                      <a:pt x="786412" y="500721"/>
                    </a:cubicBezTo>
                    <a:close/>
                    <a:moveTo>
                      <a:pt x="68753" y="499953"/>
                    </a:moveTo>
                    <a:cubicBezTo>
                      <a:pt x="41505" y="518384"/>
                      <a:pt x="32294" y="542575"/>
                      <a:pt x="34597" y="571759"/>
                    </a:cubicBezTo>
                    <a:cubicBezTo>
                      <a:pt x="36516" y="595566"/>
                      <a:pt x="46878" y="613997"/>
                      <a:pt x="68753" y="628205"/>
                    </a:cubicBezTo>
                    <a:cubicBezTo>
                      <a:pt x="68753" y="623981"/>
                      <a:pt x="68753" y="621293"/>
                      <a:pt x="68753" y="618989"/>
                    </a:cubicBezTo>
                    <a:cubicBezTo>
                      <a:pt x="68753" y="580206"/>
                      <a:pt x="68753" y="541424"/>
                      <a:pt x="68753" y="499953"/>
                    </a:cubicBezTo>
                    <a:close/>
                  </a:path>
                </a:pathLst>
              </a:custGeom>
              <a:grpFill/>
              <a:ln w="3834" cap="flat">
                <a:noFill/>
                <a:prstDash val="solid"/>
                <a:miter/>
              </a:ln>
            </p:spPr>
            <p:txBody>
              <a:bodyPr rtlCol="0" anchor="ctr"/>
              <a:lstStyle/>
              <a:p>
                <a:endParaRPr lang="en-US"/>
              </a:p>
            </p:txBody>
          </p:sp>
          <p:sp>
            <p:nvSpPr>
              <p:cNvPr id="51" name="Freeform 50">
                <a:extLst>
                  <a:ext uri="{FF2B5EF4-FFF2-40B4-BE49-F238E27FC236}">
                    <a16:creationId xmlns:a16="http://schemas.microsoft.com/office/drawing/2014/main" id="{F06EF388-E7B5-8EEF-7C97-9C7443F7D953}"/>
                  </a:ext>
                </a:extLst>
              </p:cNvPr>
              <p:cNvSpPr/>
              <p:nvPr/>
            </p:nvSpPr>
            <p:spPr>
              <a:xfrm>
                <a:off x="2592262" y="4172728"/>
                <a:ext cx="170086" cy="102379"/>
              </a:xfrm>
              <a:custGeom>
                <a:avLst/>
                <a:gdLst>
                  <a:gd name="connsiteX0" fmla="*/ 77277 w 170086"/>
                  <a:gd name="connsiteY0" fmla="*/ 102363 h 102379"/>
                  <a:gd name="connsiteX1" fmla="*/ 36213 w 170086"/>
                  <a:gd name="connsiteY1" fmla="*/ 83548 h 102379"/>
                  <a:gd name="connsiteX2" fmla="*/ 906 w 170086"/>
                  <a:gd name="connsiteY2" fmla="*/ 23646 h 102379"/>
                  <a:gd name="connsiteX3" fmla="*/ 12035 w 170086"/>
                  <a:gd name="connsiteY3" fmla="*/ 990 h 102379"/>
                  <a:gd name="connsiteX4" fmla="*/ 33910 w 170086"/>
                  <a:gd name="connsiteY4" fmla="*/ 13662 h 102379"/>
                  <a:gd name="connsiteX5" fmla="*/ 53867 w 170086"/>
                  <a:gd name="connsiteY5" fmla="*/ 51677 h 102379"/>
                  <a:gd name="connsiteX6" fmla="*/ 115654 w 170086"/>
                  <a:gd name="connsiteY6" fmla="*/ 52445 h 102379"/>
                  <a:gd name="connsiteX7" fmla="*/ 135611 w 170086"/>
                  <a:gd name="connsiteY7" fmla="*/ 15582 h 102379"/>
                  <a:gd name="connsiteX8" fmla="*/ 159021 w 170086"/>
                  <a:gd name="connsiteY8" fmla="*/ 990 h 102379"/>
                  <a:gd name="connsiteX9" fmla="*/ 168615 w 170086"/>
                  <a:gd name="connsiteY9" fmla="*/ 25950 h 102379"/>
                  <a:gd name="connsiteX10" fmla="*/ 134076 w 170086"/>
                  <a:gd name="connsiteY10" fmla="*/ 83164 h 102379"/>
                  <a:gd name="connsiteX11" fmla="*/ 77277 w 170086"/>
                  <a:gd name="connsiteY11" fmla="*/ 102363 h 10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0086" h="102379">
                    <a:moveTo>
                      <a:pt x="77277" y="102363"/>
                    </a:moveTo>
                    <a:cubicBezTo>
                      <a:pt x="65380" y="102363"/>
                      <a:pt x="49261" y="95836"/>
                      <a:pt x="36213" y="83548"/>
                    </a:cubicBezTo>
                    <a:cubicBezTo>
                      <a:pt x="18176" y="67036"/>
                      <a:pt x="7430" y="46301"/>
                      <a:pt x="906" y="23646"/>
                    </a:cubicBezTo>
                    <a:cubicBezTo>
                      <a:pt x="-2164" y="12894"/>
                      <a:pt x="2825" y="3678"/>
                      <a:pt x="12035" y="990"/>
                    </a:cubicBezTo>
                    <a:cubicBezTo>
                      <a:pt x="21629" y="-1698"/>
                      <a:pt x="28921" y="3294"/>
                      <a:pt x="33910" y="13662"/>
                    </a:cubicBezTo>
                    <a:cubicBezTo>
                      <a:pt x="39667" y="26718"/>
                      <a:pt x="45424" y="40541"/>
                      <a:pt x="53867" y="51677"/>
                    </a:cubicBezTo>
                    <a:cubicBezTo>
                      <a:pt x="71136" y="74332"/>
                      <a:pt x="98001" y="74332"/>
                      <a:pt x="115654" y="52445"/>
                    </a:cubicBezTo>
                    <a:cubicBezTo>
                      <a:pt x="124481" y="41693"/>
                      <a:pt x="130238" y="28254"/>
                      <a:pt x="135611" y="15582"/>
                    </a:cubicBezTo>
                    <a:cubicBezTo>
                      <a:pt x="140984" y="3294"/>
                      <a:pt x="148659" y="-2465"/>
                      <a:pt x="159021" y="990"/>
                    </a:cubicBezTo>
                    <a:cubicBezTo>
                      <a:pt x="168615" y="4062"/>
                      <a:pt x="172453" y="14046"/>
                      <a:pt x="168615" y="25950"/>
                    </a:cubicBezTo>
                    <a:cubicBezTo>
                      <a:pt x="161324" y="47837"/>
                      <a:pt x="151346" y="67420"/>
                      <a:pt x="134076" y="83164"/>
                    </a:cubicBezTo>
                    <a:cubicBezTo>
                      <a:pt x="119492" y="96219"/>
                      <a:pt x="102606" y="102747"/>
                      <a:pt x="77277" y="102363"/>
                    </a:cubicBezTo>
                    <a:close/>
                  </a:path>
                </a:pathLst>
              </a:custGeom>
              <a:grpFill/>
              <a:ln w="3834" cap="flat">
                <a:noFill/>
                <a:prstDash val="solid"/>
                <a:miter/>
              </a:ln>
            </p:spPr>
            <p:txBody>
              <a:bodyPr rtlCol="0" anchor="ctr"/>
              <a:lstStyle/>
              <a:p>
                <a:endParaRPr lang="en-US"/>
              </a:p>
            </p:txBody>
          </p:sp>
          <p:sp>
            <p:nvSpPr>
              <p:cNvPr id="52" name="Freeform 51">
                <a:extLst>
                  <a:ext uri="{FF2B5EF4-FFF2-40B4-BE49-F238E27FC236}">
                    <a16:creationId xmlns:a16="http://schemas.microsoft.com/office/drawing/2014/main" id="{3B34B5A4-F72E-8A5B-9938-7DDCA83BAAA8}"/>
                  </a:ext>
                </a:extLst>
              </p:cNvPr>
              <p:cNvSpPr/>
              <p:nvPr/>
            </p:nvSpPr>
            <p:spPr>
              <a:xfrm>
                <a:off x="2779628" y="4206241"/>
                <a:ext cx="102434" cy="171023"/>
              </a:xfrm>
              <a:custGeom>
                <a:avLst/>
                <a:gdLst>
                  <a:gd name="connsiteX0" fmla="*/ 40734 w 102434"/>
                  <a:gd name="connsiteY0" fmla="*/ 130673 h 171023"/>
                  <a:gd name="connsiteX1" fmla="*/ 78728 w 102434"/>
                  <a:gd name="connsiteY1" fmla="*/ 121073 h 171023"/>
                  <a:gd name="connsiteX2" fmla="*/ 101754 w 102434"/>
                  <a:gd name="connsiteY2" fmla="*/ 132593 h 171023"/>
                  <a:gd name="connsiteX3" fmla="*/ 87554 w 102434"/>
                  <a:gd name="connsiteY3" fmla="*/ 154096 h 171023"/>
                  <a:gd name="connsiteX4" fmla="*/ 23080 w 102434"/>
                  <a:gd name="connsiteY4" fmla="*/ 170223 h 171023"/>
                  <a:gd name="connsiteX5" fmla="*/ 821 w 102434"/>
                  <a:gd name="connsiteY5" fmla="*/ 147568 h 171023"/>
                  <a:gd name="connsiteX6" fmla="*/ 33826 w 102434"/>
                  <a:gd name="connsiteY6" fmla="*/ 15476 h 171023"/>
                  <a:gd name="connsiteX7" fmla="*/ 54934 w 102434"/>
                  <a:gd name="connsiteY7" fmla="*/ 501 h 171023"/>
                  <a:gd name="connsiteX8" fmla="*/ 66831 w 102434"/>
                  <a:gd name="connsiteY8" fmla="*/ 24308 h 171023"/>
                  <a:gd name="connsiteX9" fmla="*/ 42269 w 102434"/>
                  <a:gd name="connsiteY9" fmla="*/ 123377 h 171023"/>
                  <a:gd name="connsiteX10" fmla="*/ 40734 w 102434"/>
                  <a:gd name="connsiteY10" fmla="*/ 130673 h 17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434" h="171023">
                    <a:moveTo>
                      <a:pt x="40734" y="130673"/>
                    </a:moveTo>
                    <a:cubicBezTo>
                      <a:pt x="54550" y="127217"/>
                      <a:pt x="66831" y="124145"/>
                      <a:pt x="78728" y="121073"/>
                    </a:cubicBezTo>
                    <a:cubicBezTo>
                      <a:pt x="90241" y="118385"/>
                      <a:pt x="98684" y="122609"/>
                      <a:pt x="101754" y="132593"/>
                    </a:cubicBezTo>
                    <a:cubicBezTo>
                      <a:pt x="104441" y="142192"/>
                      <a:pt x="99068" y="151024"/>
                      <a:pt x="87554" y="154096"/>
                    </a:cubicBezTo>
                    <a:cubicBezTo>
                      <a:pt x="66063" y="159856"/>
                      <a:pt x="44572" y="165232"/>
                      <a:pt x="23080" y="170223"/>
                    </a:cubicBezTo>
                    <a:cubicBezTo>
                      <a:pt x="6962" y="174063"/>
                      <a:pt x="-3016" y="163696"/>
                      <a:pt x="821" y="147568"/>
                    </a:cubicBezTo>
                    <a:cubicBezTo>
                      <a:pt x="11567" y="103409"/>
                      <a:pt x="22697" y="59635"/>
                      <a:pt x="33826" y="15476"/>
                    </a:cubicBezTo>
                    <a:cubicBezTo>
                      <a:pt x="36896" y="3957"/>
                      <a:pt x="45723" y="-1803"/>
                      <a:pt x="54934" y="501"/>
                    </a:cubicBezTo>
                    <a:cubicBezTo>
                      <a:pt x="65296" y="3188"/>
                      <a:pt x="69901" y="12020"/>
                      <a:pt x="66831" y="24308"/>
                    </a:cubicBezTo>
                    <a:cubicBezTo>
                      <a:pt x="58771" y="57331"/>
                      <a:pt x="50328" y="90354"/>
                      <a:pt x="42269" y="123377"/>
                    </a:cubicBezTo>
                    <a:cubicBezTo>
                      <a:pt x="41885" y="125297"/>
                      <a:pt x="41501" y="127217"/>
                      <a:pt x="40734" y="130673"/>
                    </a:cubicBezTo>
                    <a:close/>
                  </a:path>
                </a:pathLst>
              </a:custGeom>
              <a:grpFill/>
              <a:ln w="3834" cap="flat">
                <a:noFill/>
                <a:prstDash val="solid"/>
                <a:miter/>
              </a:ln>
            </p:spPr>
            <p:txBody>
              <a:bodyPr rtlCol="0" anchor="ctr"/>
              <a:lstStyle/>
              <a:p>
                <a:endParaRPr lang="en-US"/>
              </a:p>
            </p:txBody>
          </p:sp>
          <p:sp>
            <p:nvSpPr>
              <p:cNvPr id="53" name="Freeform 52">
                <a:extLst>
                  <a:ext uri="{FF2B5EF4-FFF2-40B4-BE49-F238E27FC236}">
                    <a16:creationId xmlns:a16="http://schemas.microsoft.com/office/drawing/2014/main" id="{75E60E10-11BC-D1C9-5422-695345C11ED5}"/>
                  </a:ext>
                </a:extLst>
              </p:cNvPr>
              <p:cNvSpPr/>
              <p:nvPr/>
            </p:nvSpPr>
            <p:spPr>
              <a:xfrm>
                <a:off x="2899237" y="4173246"/>
                <a:ext cx="169747" cy="101861"/>
              </a:xfrm>
              <a:custGeom>
                <a:avLst/>
                <a:gdLst>
                  <a:gd name="connsiteX0" fmla="*/ 80008 w 169747"/>
                  <a:gd name="connsiteY0" fmla="*/ 101846 h 101861"/>
                  <a:gd name="connsiteX1" fmla="*/ 30501 w 169747"/>
                  <a:gd name="connsiteY1" fmla="*/ 77271 h 101861"/>
                  <a:gd name="connsiteX2" fmla="*/ 951 w 169747"/>
                  <a:gd name="connsiteY2" fmla="*/ 23513 h 101861"/>
                  <a:gd name="connsiteX3" fmla="*/ 11313 w 169747"/>
                  <a:gd name="connsiteY3" fmla="*/ 857 h 101861"/>
                  <a:gd name="connsiteX4" fmla="*/ 33572 w 169747"/>
                  <a:gd name="connsiteY4" fmla="*/ 13913 h 101861"/>
                  <a:gd name="connsiteX5" fmla="*/ 54295 w 169747"/>
                  <a:gd name="connsiteY5" fmla="*/ 52696 h 101861"/>
                  <a:gd name="connsiteX6" fmla="*/ 115699 w 169747"/>
                  <a:gd name="connsiteY6" fmla="*/ 52696 h 101861"/>
                  <a:gd name="connsiteX7" fmla="*/ 135656 w 169747"/>
                  <a:gd name="connsiteY7" fmla="*/ 15833 h 101861"/>
                  <a:gd name="connsiteX8" fmla="*/ 158682 w 169747"/>
                  <a:gd name="connsiteY8" fmla="*/ 1241 h 101861"/>
                  <a:gd name="connsiteX9" fmla="*/ 168277 w 169747"/>
                  <a:gd name="connsiteY9" fmla="*/ 26201 h 101861"/>
                  <a:gd name="connsiteX10" fmla="*/ 134504 w 169747"/>
                  <a:gd name="connsiteY10" fmla="*/ 82647 h 101861"/>
                  <a:gd name="connsiteX11" fmla="*/ 80008 w 169747"/>
                  <a:gd name="connsiteY11" fmla="*/ 101846 h 10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9747" h="101861">
                    <a:moveTo>
                      <a:pt x="80008" y="101846"/>
                    </a:moveTo>
                    <a:cubicBezTo>
                      <a:pt x="62738" y="101846"/>
                      <a:pt x="45085" y="92630"/>
                      <a:pt x="30501" y="77271"/>
                    </a:cubicBezTo>
                    <a:cubicBezTo>
                      <a:pt x="16302" y="61911"/>
                      <a:pt x="7091" y="43480"/>
                      <a:pt x="951" y="23513"/>
                    </a:cubicBezTo>
                    <a:cubicBezTo>
                      <a:pt x="-2119" y="12761"/>
                      <a:pt x="2486" y="3545"/>
                      <a:pt x="11313" y="857"/>
                    </a:cubicBezTo>
                    <a:cubicBezTo>
                      <a:pt x="21291" y="-2215"/>
                      <a:pt x="28966" y="3161"/>
                      <a:pt x="33572" y="13913"/>
                    </a:cubicBezTo>
                    <a:cubicBezTo>
                      <a:pt x="39712" y="27352"/>
                      <a:pt x="45469" y="41560"/>
                      <a:pt x="54295" y="52696"/>
                    </a:cubicBezTo>
                    <a:cubicBezTo>
                      <a:pt x="71565" y="74583"/>
                      <a:pt x="98046" y="74199"/>
                      <a:pt x="115699" y="52696"/>
                    </a:cubicBezTo>
                    <a:cubicBezTo>
                      <a:pt x="124526" y="41944"/>
                      <a:pt x="130283" y="28504"/>
                      <a:pt x="135656" y="15833"/>
                    </a:cubicBezTo>
                    <a:cubicBezTo>
                      <a:pt x="141029" y="3545"/>
                      <a:pt x="148320" y="-1831"/>
                      <a:pt x="158682" y="1241"/>
                    </a:cubicBezTo>
                    <a:cubicBezTo>
                      <a:pt x="168277" y="4313"/>
                      <a:pt x="172114" y="14297"/>
                      <a:pt x="168277" y="26201"/>
                    </a:cubicBezTo>
                    <a:cubicBezTo>
                      <a:pt x="161369" y="47704"/>
                      <a:pt x="151007" y="67287"/>
                      <a:pt x="134504" y="82647"/>
                    </a:cubicBezTo>
                    <a:cubicBezTo>
                      <a:pt x="120689" y="95318"/>
                      <a:pt x="103802" y="102230"/>
                      <a:pt x="80008" y="101846"/>
                    </a:cubicBezTo>
                    <a:close/>
                  </a:path>
                </a:pathLst>
              </a:custGeom>
              <a:grpFill/>
              <a:ln w="3834" cap="flat">
                <a:noFill/>
                <a:prstDash val="solid"/>
                <a:miter/>
              </a:ln>
            </p:spPr>
            <p:txBody>
              <a:bodyPr rtlCol="0" anchor="ctr"/>
              <a:lstStyle/>
              <a:p>
                <a:endParaRPr lang="en-US"/>
              </a:p>
            </p:txBody>
          </p:sp>
        </p:grpSp>
      </p:grpSp>
      <p:sp>
        <p:nvSpPr>
          <p:cNvPr id="39" name="TextBox 38">
            <a:extLst>
              <a:ext uri="{FF2B5EF4-FFF2-40B4-BE49-F238E27FC236}">
                <a16:creationId xmlns:a16="http://schemas.microsoft.com/office/drawing/2014/main" id="{13AB6038-8230-FAFD-A672-34E7550E42E1}"/>
              </a:ext>
            </a:extLst>
          </p:cNvPr>
          <p:cNvSpPr txBox="1"/>
          <p:nvPr/>
        </p:nvSpPr>
        <p:spPr>
          <a:xfrm>
            <a:off x="1908133" y="3945710"/>
            <a:ext cx="6097772" cy="2800767"/>
          </a:xfrm>
          <a:prstGeom prst="rect">
            <a:avLst/>
          </a:prstGeom>
          <a:noFill/>
        </p:spPr>
        <p:txBody>
          <a:bodyPr wrap="square">
            <a:spAutoFit/>
          </a:bodyPr>
          <a:lstStyle/>
          <a:p>
            <a:pPr marL="12700" indent="-12700" algn="just"/>
            <a:r>
              <a:rPr lang="en-GB" sz="2200">
                <a:solidFill>
                  <a:srgbClr val="595959"/>
                </a:solidFill>
                <a:latin typeface="Calibri" panose="020F0502020204030204" pitchFamily="34" charset="0"/>
                <a:ea typeface="Lato Light" panose="020F0502020204030203" pitchFamily="34" charset="0"/>
                <a:cs typeface="Calibri" panose="020F0502020204030204" pitchFamily="34" charset="0"/>
              </a:rPr>
              <a:t>En segundo lugar, la PYME tiene que dar a conocer las actualizaciones del proceso de recuperación, las acciones correctivas y/o las investigaciones de la crisis con las partes interesadas clave que importan.  La cantidad de comunicación de seguimiento necesaria depende de la cantidad de información prometida durante la crisis y del tiempo que se tarde en completar el proceso de recuperación.  </a:t>
            </a:r>
          </a:p>
        </p:txBody>
      </p:sp>
    </p:spTree>
    <p:extLst>
      <p:ext uri="{BB962C8B-B14F-4D97-AF65-F5344CB8AC3E}">
        <p14:creationId xmlns:p14="http://schemas.microsoft.com/office/powerpoint/2010/main" val="103935703"/>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325522-A9FB-F948-8CCF-59F3F8A2C341}"/>
              </a:ext>
            </a:extLst>
          </p:cNvPr>
          <p:cNvSpPr>
            <a:spLocks noGrp="1"/>
          </p:cNvSpPr>
          <p:nvPr>
            <p:ph type="body" sz="quarter" idx="25"/>
          </p:nvPr>
        </p:nvSpPr>
        <p:spPr>
          <a:xfrm>
            <a:off x="1332038" y="3296363"/>
            <a:ext cx="3864802" cy="444219"/>
          </a:xfrm>
        </p:spPr>
        <p:txBody>
          <a:bodyPr>
            <a:normAutofit/>
          </a:bodyPr>
          <a:lstStyle/>
          <a:p>
            <a:r>
              <a:rPr lang="en-US">
                <a:hlinkClick r:id="rId2">
                  <a:extLst>
                    <a:ext uri="{A12FA001-AC4F-418D-AE19-62706E023703}">
                      <ahyp:hlinkClr xmlns:ahyp="http://schemas.microsoft.com/office/drawing/2018/hyperlinkcolor" val="tx"/>
                    </a:ext>
                  </a:extLst>
                </a:hlinkClick>
              </a:rPr>
              <a:t>www.facebook.com/SECure.ErasmusProject</a:t>
            </a:r>
            <a:endParaRPr lang="en-US"/>
          </a:p>
        </p:txBody>
      </p:sp>
      <p:sp>
        <p:nvSpPr>
          <p:cNvPr id="5" name="Text Placeholder 4">
            <a:extLst>
              <a:ext uri="{FF2B5EF4-FFF2-40B4-BE49-F238E27FC236}">
                <a16:creationId xmlns:a16="http://schemas.microsoft.com/office/drawing/2014/main" id="{9DB39A56-8A82-FC46-9BD0-F1D9CB893053}"/>
              </a:ext>
            </a:extLst>
          </p:cNvPr>
          <p:cNvSpPr>
            <a:spLocks noGrp="1"/>
          </p:cNvSpPr>
          <p:nvPr>
            <p:ph type="body" sz="quarter" idx="26"/>
          </p:nvPr>
        </p:nvSpPr>
        <p:spPr>
          <a:xfrm>
            <a:off x="1332038" y="3919323"/>
            <a:ext cx="3712402" cy="481102"/>
          </a:xfrm>
        </p:spPr>
        <p:txBody>
          <a:bodyPr>
            <a:normAutofit/>
          </a:bodyPr>
          <a:lstStyle/>
          <a:p>
            <a:r>
              <a:rPr lang="en-US">
                <a:hlinkClick r:id="rId3">
                  <a:extLst>
                    <a:ext uri="{A12FA001-AC4F-418D-AE19-62706E023703}">
                      <ahyp:hlinkClr xmlns:ahyp="http://schemas.microsoft.com/office/drawing/2018/hyperlinkcolor" val="tx"/>
                    </a:ext>
                  </a:extLst>
                </a:hlinkClick>
              </a:rPr>
              <a:t>twitter.com/SECure_Project</a:t>
            </a:r>
            <a:endParaRPr lang="en-US"/>
          </a:p>
        </p:txBody>
      </p:sp>
      <p:sp>
        <p:nvSpPr>
          <p:cNvPr id="6" name="Text Placeholder 5">
            <a:extLst>
              <a:ext uri="{FF2B5EF4-FFF2-40B4-BE49-F238E27FC236}">
                <a16:creationId xmlns:a16="http://schemas.microsoft.com/office/drawing/2014/main" id="{85493FFE-13D7-664E-8742-24D93C3723EA}"/>
              </a:ext>
            </a:extLst>
          </p:cNvPr>
          <p:cNvSpPr>
            <a:spLocks noGrp="1"/>
          </p:cNvSpPr>
          <p:nvPr>
            <p:ph type="body" sz="quarter" idx="27"/>
          </p:nvPr>
        </p:nvSpPr>
        <p:spPr>
          <a:xfrm>
            <a:off x="1340201" y="4562886"/>
            <a:ext cx="3466767" cy="566466"/>
          </a:xfrm>
        </p:spPr>
        <p:txBody>
          <a:bodyPr>
            <a:normAutofit/>
          </a:bodyPr>
          <a:lstStyle/>
          <a:p>
            <a:r>
              <a:rPr lang="en-US">
                <a:hlinkClick r:id="rId4">
                  <a:extLst>
                    <a:ext uri="{A12FA001-AC4F-418D-AE19-62706E023703}">
                      <ahyp:hlinkClr xmlns:ahyp="http://schemas.microsoft.com/office/drawing/2018/hyperlinkcolor" val="tx"/>
                    </a:ext>
                  </a:extLst>
                </a:hlinkClick>
              </a:rPr>
              <a:t>www.linkedin.com/company/secure-project/</a:t>
            </a:r>
            <a:endParaRPr lang="en-US"/>
          </a:p>
        </p:txBody>
      </p:sp>
      <p:sp>
        <p:nvSpPr>
          <p:cNvPr id="13" name="Text Placeholder 12">
            <a:extLst>
              <a:ext uri="{FF2B5EF4-FFF2-40B4-BE49-F238E27FC236}">
                <a16:creationId xmlns:a16="http://schemas.microsoft.com/office/drawing/2014/main" id="{CAF717B5-2512-1E47-B1D4-71C9C0DE0704}"/>
              </a:ext>
            </a:extLst>
          </p:cNvPr>
          <p:cNvSpPr>
            <a:spLocks noGrp="1"/>
          </p:cNvSpPr>
          <p:nvPr>
            <p:ph type="body" sz="quarter" idx="28"/>
          </p:nvPr>
        </p:nvSpPr>
        <p:spPr>
          <a:xfrm>
            <a:off x="567326" y="5747113"/>
            <a:ext cx="3591630" cy="731140"/>
          </a:xfrm>
        </p:spPr>
        <p:txBody>
          <a:bodyPr>
            <a:normAutofit fontScale="92500"/>
          </a:bodyPr>
          <a:lstStyle/>
          <a:p>
            <a:r>
              <a:rPr lang="en-US" err="1"/>
              <a:t>www. </a:t>
            </a:r>
            <a:r>
              <a:rPr lang="en-US" b="1" err="1"/>
              <a:t>smecrisistoolkit. </a:t>
            </a:r>
            <a:r>
              <a:rPr lang="en-US" err="1"/>
              <a:t>eu</a:t>
            </a:r>
            <a:endParaRPr lang="en-US"/>
          </a:p>
        </p:txBody>
      </p:sp>
      <p:sp>
        <p:nvSpPr>
          <p:cNvPr id="2" name="Text Placeholder 1">
            <a:extLst>
              <a:ext uri="{FF2B5EF4-FFF2-40B4-BE49-F238E27FC236}">
                <a16:creationId xmlns:a16="http://schemas.microsoft.com/office/drawing/2014/main" id="{EC96B6AC-8263-C84E-8A2F-C5E622421299}"/>
              </a:ext>
            </a:extLst>
          </p:cNvPr>
          <p:cNvSpPr>
            <a:spLocks noGrp="1"/>
          </p:cNvSpPr>
          <p:nvPr>
            <p:ph type="body" sz="quarter" idx="19"/>
          </p:nvPr>
        </p:nvSpPr>
        <p:spPr>
          <a:xfrm>
            <a:off x="1269930" y="1396872"/>
            <a:ext cx="3591630" cy="1239648"/>
          </a:xfrm>
        </p:spPr>
        <p:txBody>
          <a:bodyPr>
            <a:normAutofit fontScale="92500"/>
          </a:bodyPr>
          <a:lstStyle/>
          <a:p>
            <a:r>
              <a:rPr lang="en-US"/>
              <a:t>UNA CRISIS QUE PROVIENE DE FACTORES EXTERNOS INEVITABLES </a:t>
            </a:r>
          </a:p>
          <a:p>
            <a:endParaRPr lang="en-US"/>
          </a:p>
        </p:txBody>
      </p:sp>
      <p:sp>
        <p:nvSpPr>
          <p:cNvPr id="3" name="Text Placeholder 2">
            <a:extLst>
              <a:ext uri="{FF2B5EF4-FFF2-40B4-BE49-F238E27FC236}">
                <a16:creationId xmlns:a16="http://schemas.microsoft.com/office/drawing/2014/main" id="{9927D842-1D00-FA4B-B63E-F70DCFAE79F4}"/>
              </a:ext>
            </a:extLst>
          </p:cNvPr>
          <p:cNvSpPr>
            <a:spLocks noGrp="1"/>
          </p:cNvSpPr>
          <p:nvPr>
            <p:ph type="body" sz="quarter" idx="20"/>
          </p:nvPr>
        </p:nvSpPr>
        <p:spPr/>
        <p:txBody>
          <a:bodyPr>
            <a:normAutofit fontScale="70000" lnSpcReduction="20000"/>
          </a:bodyPr>
          <a:lstStyle/>
          <a:p>
            <a:r>
              <a:rPr lang="en-US">
                <a:solidFill>
                  <a:schemeClr val="bg1"/>
                </a:solidFill>
              </a:rPr>
              <a:t>Próximo </a:t>
            </a:r>
            <a:r>
              <a:rPr lang="en-US">
                <a:solidFill>
                  <a:srgbClr val="EDA13E"/>
                </a:solidFill>
              </a:rPr>
              <a:t>módulo 2..</a:t>
            </a:r>
          </a:p>
        </p:txBody>
      </p:sp>
      <p:sp>
        <p:nvSpPr>
          <p:cNvPr id="12" name="Freeform 332">
            <a:extLst>
              <a:ext uri="{FF2B5EF4-FFF2-40B4-BE49-F238E27FC236}">
                <a16:creationId xmlns:a16="http://schemas.microsoft.com/office/drawing/2014/main" id="{5D49C9EB-CC3D-BA48-87AA-DC6CBB57D7F0}"/>
              </a:ext>
            </a:extLst>
          </p:cNvPr>
          <p:cNvSpPr>
            <a:spLocks noChangeAspect="1"/>
          </p:cNvSpPr>
          <p:nvPr/>
        </p:nvSpPr>
        <p:spPr>
          <a:xfrm>
            <a:off x="930376" y="3972148"/>
            <a:ext cx="310020" cy="252000"/>
          </a:xfrm>
          <a:custGeom>
            <a:avLst/>
            <a:gdLst/>
            <a:ahLst/>
            <a:cxnLst/>
            <a:rect l="l" t="t" r="r" b="b"/>
            <a:pathLst>
              <a:path w="443976" h="360589">
                <a:moveTo>
                  <a:pt x="307346" y="0"/>
                </a:moveTo>
                <a:cubicBezTo>
                  <a:pt x="333639" y="0"/>
                  <a:pt x="355800" y="9578"/>
                  <a:pt x="373830" y="28734"/>
                </a:cubicBezTo>
                <a:cubicBezTo>
                  <a:pt x="394301" y="24790"/>
                  <a:pt x="413551" y="17466"/>
                  <a:pt x="431581" y="6761"/>
                </a:cubicBezTo>
                <a:cubicBezTo>
                  <a:pt x="424632" y="28359"/>
                  <a:pt x="411298" y="45074"/>
                  <a:pt x="391578" y="56905"/>
                </a:cubicBezTo>
                <a:cubicBezTo>
                  <a:pt x="409044" y="55027"/>
                  <a:pt x="426510" y="50332"/>
                  <a:pt x="443976" y="42820"/>
                </a:cubicBezTo>
                <a:cubicBezTo>
                  <a:pt x="431392" y="61225"/>
                  <a:pt x="416180" y="76907"/>
                  <a:pt x="398339" y="89866"/>
                </a:cubicBezTo>
                <a:cubicBezTo>
                  <a:pt x="398526" y="92495"/>
                  <a:pt x="398620" y="96439"/>
                  <a:pt x="398620" y="101697"/>
                </a:cubicBezTo>
                <a:cubicBezTo>
                  <a:pt x="398620" y="126112"/>
                  <a:pt x="395052" y="150480"/>
                  <a:pt x="387915" y="174801"/>
                </a:cubicBezTo>
                <a:cubicBezTo>
                  <a:pt x="380778" y="199122"/>
                  <a:pt x="369933" y="222457"/>
                  <a:pt x="355378" y="244806"/>
                </a:cubicBezTo>
                <a:cubicBezTo>
                  <a:pt x="340823" y="267155"/>
                  <a:pt x="323497" y="286922"/>
                  <a:pt x="303402" y="304106"/>
                </a:cubicBezTo>
                <a:cubicBezTo>
                  <a:pt x="283307" y="321291"/>
                  <a:pt x="259080" y="335001"/>
                  <a:pt x="230722" y="345236"/>
                </a:cubicBezTo>
                <a:cubicBezTo>
                  <a:pt x="202362" y="355471"/>
                  <a:pt x="172032" y="360589"/>
                  <a:pt x="139728" y="360589"/>
                </a:cubicBezTo>
                <a:cubicBezTo>
                  <a:pt x="88832" y="360589"/>
                  <a:pt x="42256" y="346973"/>
                  <a:pt x="0" y="319741"/>
                </a:cubicBezTo>
                <a:cubicBezTo>
                  <a:pt x="6574" y="320492"/>
                  <a:pt x="13898" y="320868"/>
                  <a:pt x="21974" y="320868"/>
                </a:cubicBezTo>
                <a:cubicBezTo>
                  <a:pt x="64230" y="320868"/>
                  <a:pt x="101886" y="307909"/>
                  <a:pt x="134940" y="281992"/>
                </a:cubicBezTo>
                <a:cubicBezTo>
                  <a:pt x="115220" y="281616"/>
                  <a:pt x="97566" y="275560"/>
                  <a:pt x="81978" y="263822"/>
                </a:cubicBezTo>
                <a:cubicBezTo>
                  <a:pt x="66390" y="252084"/>
                  <a:pt x="55685" y="237106"/>
                  <a:pt x="49863" y="218889"/>
                </a:cubicBezTo>
                <a:cubicBezTo>
                  <a:pt x="56060" y="219828"/>
                  <a:pt x="61788" y="220297"/>
                  <a:pt x="67048" y="220297"/>
                </a:cubicBezTo>
                <a:cubicBezTo>
                  <a:pt x="75122" y="220297"/>
                  <a:pt x="83105" y="219264"/>
                  <a:pt x="90992" y="217199"/>
                </a:cubicBezTo>
                <a:cubicBezTo>
                  <a:pt x="69958" y="212879"/>
                  <a:pt x="52539" y="202409"/>
                  <a:pt x="38736" y="185788"/>
                </a:cubicBezTo>
                <a:cubicBezTo>
                  <a:pt x="24932" y="169167"/>
                  <a:pt x="18030" y="149870"/>
                  <a:pt x="18030" y="127896"/>
                </a:cubicBezTo>
                <a:lnTo>
                  <a:pt x="18030" y="126770"/>
                </a:lnTo>
                <a:cubicBezTo>
                  <a:pt x="30800" y="133906"/>
                  <a:pt x="44510" y="137756"/>
                  <a:pt x="59160" y="138320"/>
                </a:cubicBezTo>
                <a:cubicBezTo>
                  <a:pt x="46764" y="130056"/>
                  <a:pt x="36904" y="119257"/>
                  <a:pt x="29580" y="105923"/>
                </a:cubicBezTo>
                <a:cubicBezTo>
                  <a:pt x="22256" y="92589"/>
                  <a:pt x="18593" y="78128"/>
                  <a:pt x="18593" y="62540"/>
                </a:cubicBezTo>
                <a:cubicBezTo>
                  <a:pt x="18593" y="46013"/>
                  <a:pt x="22724" y="30706"/>
                  <a:pt x="30988" y="16621"/>
                </a:cubicBezTo>
                <a:cubicBezTo>
                  <a:pt x="53713" y="44604"/>
                  <a:pt x="81367" y="67000"/>
                  <a:pt x="113952" y="83809"/>
                </a:cubicBezTo>
                <a:cubicBezTo>
                  <a:pt x="146536" y="100617"/>
                  <a:pt x="181422" y="109961"/>
                  <a:pt x="218608" y="111839"/>
                </a:cubicBezTo>
                <a:cubicBezTo>
                  <a:pt x="217104" y="104702"/>
                  <a:pt x="216354" y="97753"/>
                  <a:pt x="216354" y="90992"/>
                </a:cubicBezTo>
                <a:cubicBezTo>
                  <a:pt x="216354" y="65826"/>
                  <a:pt x="225228" y="44369"/>
                  <a:pt x="242975" y="26621"/>
                </a:cubicBezTo>
                <a:cubicBezTo>
                  <a:pt x="260723" y="8874"/>
                  <a:pt x="282180" y="0"/>
                  <a:pt x="307346" y="0"/>
                </a:cubicBez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6">
            <a:extLst>
              <a:ext uri="{FF2B5EF4-FFF2-40B4-BE49-F238E27FC236}">
                <a16:creationId xmlns:a16="http://schemas.microsoft.com/office/drawing/2014/main" id="{689B0FD2-8671-564C-BAE3-AB204F98531A}"/>
              </a:ext>
            </a:extLst>
          </p:cNvPr>
          <p:cNvSpPr>
            <a:spLocks noChangeAspect="1"/>
          </p:cNvSpPr>
          <p:nvPr/>
        </p:nvSpPr>
        <p:spPr bwMode="auto">
          <a:xfrm>
            <a:off x="993795" y="3288213"/>
            <a:ext cx="183182" cy="324000"/>
          </a:xfrm>
          <a:custGeom>
            <a:avLst/>
            <a:gdLst>
              <a:gd name="T0" fmla="*/ 92 w 146"/>
              <a:gd name="T1" fmla="*/ 55 h 257"/>
              <a:gd name="T2" fmla="*/ 92 w 146"/>
              <a:gd name="T3" fmla="*/ 91 h 257"/>
              <a:gd name="T4" fmla="*/ 146 w 146"/>
              <a:gd name="T5" fmla="*/ 91 h 257"/>
              <a:gd name="T6" fmla="*/ 137 w 146"/>
              <a:gd name="T7" fmla="*/ 146 h 257"/>
              <a:gd name="T8" fmla="*/ 92 w 146"/>
              <a:gd name="T9" fmla="*/ 146 h 257"/>
              <a:gd name="T10" fmla="*/ 92 w 146"/>
              <a:gd name="T11" fmla="*/ 257 h 257"/>
              <a:gd name="T12" fmla="*/ 37 w 146"/>
              <a:gd name="T13" fmla="*/ 257 h 257"/>
              <a:gd name="T14" fmla="*/ 37 w 146"/>
              <a:gd name="T15" fmla="*/ 146 h 257"/>
              <a:gd name="T16" fmla="*/ 0 w 146"/>
              <a:gd name="T17" fmla="*/ 146 h 257"/>
              <a:gd name="T18" fmla="*/ 0 w 146"/>
              <a:gd name="T19" fmla="*/ 91 h 257"/>
              <a:gd name="T20" fmla="*/ 37 w 146"/>
              <a:gd name="T21" fmla="*/ 91 h 257"/>
              <a:gd name="T22" fmla="*/ 37 w 146"/>
              <a:gd name="T23" fmla="*/ 55 h 257"/>
              <a:gd name="T24" fmla="*/ 64 w 146"/>
              <a:gd name="T25" fmla="*/ 7 h 257"/>
              <a:gd name="T26" fmla="*/ 92 w 146"/>
              <a:gd name="T27" fmla="*/ 0 h 257"/>
              <a:gd name="T28" fmla="*/ 146 w 146"/>
              <a:gd name="T29" fmla="*/ 0 h 257"/>
              <a:gd name="T30" fmla="*/ 146 w 146"/>
              <a:gd name="T31" fmla="*/ 55 h 257"/>
              <a:gd name="T32" fmla="*/ 92 w 146"/>
              <a:gd name="T33" fmla="*/ 5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57">
                <a:moveTo>
                  <a:pt x="92" y="55"/>
                </a:moveTo>
                <a:cubicBezTo>
                  <a:pt x="92" y="91"/>
                  <a:pt x="92" y="91"/>
                  <a:pt x="92" y="91"/>
                </a:cubicBezTo>
                <a:cubicBezTo>
                  <a:pt x="146" y="91"/>
                  <a:pt x="146" y="91"/>
                  <a:pt x="146" y="91"/>
                </a:cubicBezTo>
                <a:cubicBezTo>
                  <a:pt x="137" y="146"/>
                  <a:pt x="137" y="146"/>
                  <a:pt x="137" y="146"/>
                </a:cubicBezTo>
                <a:cubicBezTo>
                  <a:pt x="92" y="146"/>
                  <a:pt x="92" y="146"/>
                  <a:pt x="92" y="146"/>
                </a:cubicBezTo>
                <a:cubicBezTo>
                  <a:pt x="92" y="257"/>
                  <a:pt x="92" y="257"/>
                  <a:pt x="92" y="257"/>
                </a:cubicBezTo>
                <a:cubicBezTo>
                  <a:pt x="37" y="257"/>
                  <a:pt x="37" y="257"/>
                  <a:pt x="37" y="257"/>
                </a:cubicBezTo>
                <a:cubicBezTo>
                  <a:pt x="37" y="146"/>
                  <a:pt x="37" y="146"/>
                  <a:pt x="37" y="146"/>
                </a:cubicBezTo>
                <a:cubicBezTo>
                  <a:pt x="0" y="146"/>
                  <a:pt x="0" y="146"/>
                  <a:pt x="0" y="146"/>
                </a:cubicBezTo>
                <a:cubicBezTo>
                  <a:pt x="0" y="91"/>
                  <a:pt x="0" y="91"/>
                  <a:pt x="0" y="91"/>
                </a:cubicBezTo>
                <a:cubicBezTo>
                  <a:pt x="37" y="91"/>
                  <a:pt x="37" y="91"/>
                  <a:pt x="37" y="91"/>
                </a:cubicBezTo>
                <a:cubicBezTo>
                  <a:pt x="37" y="55"/>
                  <a:pt x="37" y="55"/>
                  <a:pt x="37" y="55"/>
                </a:cubicBezTo>
                <a:cubicBezTo>
                  <a:pt x="37" y="34"/>
                  <a:pt x="48" y="17"/>
                  <a:pt x="64" y="7"/>
                </a:cubicBezTo>
                <a:cubicBezTo>
                  <a:pt x="72" y="3"/>
                  <a:pt x="82" y="0"/>
                  <a:pt x="92" y="0"/>
                </a:cubicBezTo>
                <a:cubicBezTo>
                  <a:pt x="146" y="0"/>
                  <a:pt x="146" y="0"/>
                  <a:pt x="146" y="0"/>
                </a:cubicBezTo>
                <a:cubicBezTo>
                  <a:pt x="146" y="55"/>
                  <a:pt x="146" y="55"/>
                  <a:pt x="146" y="55"/>
                </a:cubicBezTo>
                <a:lnTo>
                  <a:pt x="92" y="55"/>
                </a:lnTo>
                <a:close/>
              </a:path>
            </a:pathLst>
          </a:custGeom>
          <a:solidFill>
            <a:srgbClr val="EDA13E"/>
          </a:solidFill>
          <a:ln>
            <a:noFill/>
          </a:ln>
        </p:spPr>
        <p:txBody>
          <a:bodyPr vert="horz" wrap="square" lIns="91440" tIns="45720" rIns="91440" bIns="45720" numCol="1" anchor="t" anchorCtr="0" compatLnSpc="1">
            <a:prstTxWarp prst="textNoShape">
              <a:avLst/>
            </a:prstTxWarp>
          </a:bodyPr>
          <a:lstStyle/>
          <a:p>
            <a:endParaRPr lang="en-ID"/>
          </a:p>
        </p:txBody>
      </p:sp>
      <p:grpSp>
        <p:nvGrpSpPr>
          <p:cNvPr id="7" name="Group 6">
            <a:extLst>
              <a:ext uri="{FF2B5EF4-FFF2-40B4-BE49-F238E27FC236}">
                <a16:creationId xmlns:a16="http://schemas.microsoft.com/office/drawing/2014/main" id="{CEDBE632-5C17-9847-A607-F3A24354690A}"/>
              </a:ext>
            </a:extLst>
          </p:cNvPr>
          <p:cNvGrpSpPr>
            <a:grpSpLocks noChangeAspect="1"/>
          </p:cNvGrpSpPr>
          <p:nvPr/>
        </p:nvGrpSpPr>
        <p:grpSpPr>
          <a:xfrm>
            <a:off x="962500" y="4553630"/>
            <a:ext cx="245772" cy="288000"/>
            <a:chOff x="8589661" y="3431570"/>
            <a:chExt cx="510568" cy="569231"/>
          </a:xfrm>
          <a:solidFill>
            <a:srgbClr val="EDA13E"/>
          </a:solidFill>
        </p:grpSpPr>
        <p:sp>
          <p:nvSpPr>
            <p:cNvPr id="42" name="Freeform: Shape 27">
              <a:extLst>
                <a:ext uri="{FF2B5EF4-FFF2-40B4-BE49-F238E27FC236}">
                  <a16:creationId xmlns:a16="http://schemas.microsoft.com/office/drawing/2014/main" id="{A3AC1FF6-98D4-DE47-896E-AC5237EA818E}"/>
                </a:ext>
              </a:extLst>
            </p:cNvPr>
            <p:cNvSpPr/>
            <p:nvPr/>
          </p:nvSpPr>
          <p:spPr>
            <a:xfrm>
              <a:off x="8589661" y="3601798"/>
              <a:ext cx="113407" cy="399003"/>
            </a:xfrm>
            <a:custGeom>
              <a:avLst/>
              <a:gdLst>
                <a:gd name="connsiteX0" fmla="*/ 0 w 93725"/>
                <a:gd name="connsiteY0" fmla="*/ 0 h 329755"/>
                <a:gd name="connsiteX1" fmla="*/ 93726 w 93725"/>
                <a:gd name="connsiteY1" fmla="*/ 0 h 329755"/>
                <a:gd name="connsiteX2" fmla="*/ 93726 w 93725"/>
                <a:gd name="connsiteY2" fmla="*/ 329756 h 329755"/>
                <a:gd name="connsiteX3" fmla="*/ 0 w 93725"/>
                <a:gd name="connsiteY3" fmla="*/ 329756 h 329755"/>
                <a:gd name="connsiteX4" fmla="*/ 0 w 93725"/>
                <a:gd name="connsiteY4" fmla="*/ 0 h 32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329755">
                  <a:moveTo>
                    <a:pt x="0" y="0"/>
                  </a:moveTo>
                  <a:lnTo>
                    <a:pt x="93726" y="0"/>
                  </a:lnTo>
                  <a:lnTo>
                    <a:pt x="93726" y="329756"/>
                  </a:lnTo>
                  <a:lnTo>
                    <a:pt x="0" y="329756"/>
                  </a:lnTo>
                  <a:lnTo>
                    <a:pt x="0" y="0"/>
                  </a:lnTo>
                  <a:close/>
                </a:path>
              </a:pathLst>
            </a:custGeom>
            <a:grpFill/>
            <a:ln w="9525" cap="flat">
              <a:noFill/>
              <a:prstDash val="solid"/>
              <a:miter/>
            </a:ln>
          </p:spPr>
          <p:txBody>
            <a:bodyPr rtlCol="0" anchor="ctr"/>
            <a:lstStyle/>
            <a:p>
              <a:endParaRPr lang="en-ID"/>
            </a:p>
          </p:txBody>
        </p:sp>
        <p:sp>
          <p:nvSpPr>
            <p:cNvPr id="43" name="Freeform: Shape 30">
              <a:extLst>
                <a:ext uri="{FF2B5EF4-FFF2-40B4-BE49-F238E27FC236}">
                  <a16:creationId xmlns:a16="http://schemas.microsoft.com/office/drawing/2014/main" id="{23D1213C-B465-0142-894C-6D311FC65A71}"/>
                </a:ext>
              </a:extLst>
            </p:cNvPr>
            <p:cNvSpPr/>
            <p:nvPr/>
          </p:nvSpPr>
          <p:spPr>
            <a:xfrm>
              <a:off x="8760004" y="3601798"/>
              <a:ext cx="340225" cy="398888"/>
            </a:xfrm>
            <a:custGeom>
              <a:avLst/>
              <a:gdLst>
                <a:gd name="connsiteX0" fmla="*/ 281178 w 281178"/>
                <a:gd name="connsiteY0" fmla="*/ 124682 h 329660"/>
                <a:gd name="connsiteX1" fmla="*/ 281178 w 281178"/>
                <a:gd name="connsiteY1" fmla="*/ 329660 h 329660"/>
                <a:gd name="connsiteX2" fmla="*/ 187452 w 281178"/>
                <a:gd name="connsiteY2" fmla="*/ 329660 h 329660"/>
                <a:gd name="connsiteX3" fmla="*/ 187452 w 281178"/>
                <a:gd name="connsiteY3" fmla="*/ 140589 h 329660"/>
                <a:gd name="connsiteX4" fmla="*/ 140589 w 281178"/>
                <a:gd name="connsiteY4" fmla="*/ 93726 h 329660"/>
                <a:gd name="connsiteX5" fmla="*/ 93726 w 281178"/>
                <a:gd name="connsiteY5" fmla="*/ 140589 h 329660"/>
                <a:gd name="connsiteX6" fmla="*/ 93726 w 281178"/>
                <a:gd name="connsiteY6" fmla="*/ 329660 h 329660"/>
                <a:gd name="connsiteX7" fmla="*/ 0 w 281178"/>
                <a:gd name="connsiteY7" fmla="*/ 329660 h 329660"/>
                <a:gd name="connsiteX8" fmla="*/ 0 w 281178"/>
                <a:gd name="connsiteY8" fmla="*/ 0 h 329660"/>
                <a:gd name="connsiteX9" fmla="*/ 93726 w 281178"/>
                <a:gd name="connsiteY9" fmla="*/ 0 h 329660"/>
                <a:gd name="connsiteX10" fmla="*/ 93726 w 281178"/>
                <a:gd name="connsiteY10" fmla="*/ 17812 h 329660"/>
                <a:gd name="connsiteX11" fmla="*/ 164021 w 281178"/>
                <a:gd name="connsiteY11" fmla="*/ 0 h 329660"/>
                <a:gd name="connsiteX12" fmla="*/ 281178 w 281178"/>
                <a:gd name="connsiteY12" fmla="*/ 124682 h 32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178" h="329660">
                  <a:moveTo>
                    <a:pt x="281178" y="124682"/>
                  </a:moveTo>
                  <a:lnTo>
                    <a:pt x="281178" y="329660"/>
                  </a:lnTo>
                  <a:lnTo>
                    <a:pt x="187452" y="329660"/>
                  </a:lnTo>
                  <a:lnTo>
                    <a:pt x="187452" y="140589"/>
                  </a:lnTo>
                  <a:cubicBezTo>
                    <a:pt x="187452" y="114776"/>
                    <a:pt x="166402" y="93726"/>
                    <a:pt x="140589" y="93726"/>
                  </a:cubicBezTo>
                  <a:cubicBezTo>
                    <a:pt x="114776" y="93726"/>
                    <a:pt x="93726" y="114776"/>
                    <a:pt x="93726" y="140589"/>
                  </a:cubicBezTo>
                  <a:lnTo>
                    <a:pt x="93726" y="329660"/>
                  </a:lnTo>
                  <a:lnTo>
                    <a:pt x="0" y="329660"/>
                  </a:lnTo>
                  <a:lnTo>
                    <a:pt x="0" y="0"/>
                  </a:lnTo>
                  <a:lnTo>
                    <a:pt x="93726" y="0"/>
                  </a:lnTo>
                  <a:lnTo>
                    <a:pt x="93726" y="17812"/>
                  </a:lnTo>
                  <a:cubicBezTo>
                    <a:pt x="118110" y="9811"/>
                    <a:pt x="134017" y="0"/>
                    <a:pt x="164021" y="0"/>
                  </a:cubicBezTo>
                  <a:cubicBezTo>
                    <a:pt x="227743" y="0"/>
                    <a:pt x="281178" y="57150"/>
                    <a:pt x="281178" y="124682"/>
                  </a:cubicBezTo>
                  <a:close/>
                </a:path>
              </a:pathLst>
            </a:custGeom>
            <a:grpFill/>
            <a:ln w="9525" cap="flat">
              <a:noFill/>
              <a:prstDash val="solid"/>
              <a:miter/>
            </a:ln>
          </p:spPr>
          <p:txBody>
            <a:bodyPr rtlCol="0" anchor="ctr"/>
            <a:lstStyle/>
            <a:p>
              <a:endParaRPr lang="en-ID"/>
            </a:p>
          </p:txBody>
        </p:sp>
        <p:sp>
          <p:nvSpPr>
            <p:cNvPr id="44" name="Freeform: Shape 72">
              <a:extLst>
                <a:ext uri="{FF2B5EF4-FFF2-40B4-BE49-F238E27FC236}">
                  <a16:creationId xmlns:a16="http://schemas.microsoft.com/office/drawing/2014/main" id="{5010F5C6-3858-AC4C-91D2-0F26EE24EE0B}"/>
                </a:ext>
              </a:extLst>
            </p:cNvPr>
            <p:cNvSpPr/>
            <p:nvPr/>
          </p:nvSpPr>
          <p:spPr>
            <a:xfrm>
              <a:off x="8589661" y="3431570"/>
              <a:ext cx="113407" cy="113408"/>
            </a:xfrm>
            <a:custGeom>
              <a:avLst/>
              <a:gdLst>
                <a:gd name="connsiteX0" fmla="*/ 0 w 93725"/>
                <a:gd name="connsiteY0" fmla="*/ 0 h 93726"/>
                <a:gd name="connsiteX1" fmla="*/ 93726 w 93725"/>
                <a:gd name="connsiteY1" fmla="*/ 0 h 93726"/>
                <a:gd name="connsiteX2" fmla="*/ 93726 w 93725"/>
                <a:gd name="connsiteY2" fmla="*/ 93726 h 93726"/>
                <a:gd name="connsiteX3" fmla="*/ 0 w 93725"/>
                <a:gd name="connsiteY3" fmla="*/ 93726 h 93726"/>
                <a:gd name="connsiteX4" fmla="*/ 0 w 93725"/>
                <a:gd name="connsiteY4" fmla="*/ 0 h 93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93726">
                  <a:moveTo>
                    <a:pt x="0" y="0"/>
                  </a:moveTo>
                  <a:lnTo>
                    <a:pt x="93726" y="0"/>
                  </a:lnTo>
                  <a:lnTo>
                    <a:pt x="93726" y="93726"/>
                  </a:lnTo>
                  <a:lnTo>
                    <a:pt x="0" y="93726"/>
                  </a:lnTo>
                  <a:lnTo>
                    <a:pt x="0" y="0"/>
                  </a:lnTo>
                  <a:close/>
                </a:path>
              </a:pathLst>
            </a:custGeom>
            <a:grpFill/>
            <a:ln w="28575" cap="rnd">
              <a:noFill/>
              <a:prstDash val="solid"/>
              <a:round/>
            </a:ln>
          </p:spPr>
          <p:txBody>
            <a:bodyPr rtlCol="0" anchor="ctr"/>
            <a:lstStyle/>
            <a:p>
              <a:endParaRPr lang="en-ID"/>
            </a:p>
          </p:txBody>
        </p:sp>
      </p:grpSp>
    </p:spTree>
    <p:extLst>
      <p:ext uri="{BB962C8B-B14F-4D97-AF65-F5344CB8AC3E}">
        <p14:creationId xmlns:p14="http://schemas.microsoft.com/office/powerpoint/2010/main" val="322766331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8C0D9AF-CAF5-3F6D-473A-568E3209CC2E}"/>
              </a:ext>
            </a:extLst>
          </p:cNvPr>
          <p:cNvSpPr>
            <a:spLocks noGrp="1"/>
          </p:cNvSpPr>
          <p:nvPr>
            <p:ph type="body" sz="quarter" idx="18"/>
          </p:nvPr>
        </p:nvSpPr>
        <p:spPr>
          <a:xfrm>
            <a:off x="734714" y="1351971"/>
            <a:ext cx="10808102" cy="3922524"/>
          </a:xfrm>
        </p:spPr>
        <p:txBody>
          <a:bodyPr numCol="2" spcCol="72000">
            <a:noAutofit/>
          </a:bodyPr>
          <a:lstStyle/>
          <a:p>
            <a:pPr marL="342900" indent="-342900">
              <a:spcBef>
                <a:spcPts val="300"/>
              </a:spcBef>
              <a:buClr>
                <a:srgbClr val="F16924"/>
              </a:buClr>
              <a:buFont typeface="Arial" panose="020B0604020202020204" pitchFamily="34" charset="0"/>
              <a:buChar char="•"/>
            </a:pPr>
            <a:r>
              <a:rPr lang="en-US" sz="2200"/>
              <a:t>Las pequeñas y medianas empresas (PYMES) suelen considerarse la columna vertebral de la economía europea, ya que constituyen una fuente potencial de empleo y crecimiento económico. La Comisión Europea define a las PYME como aquellas que tienen menos de 250 personas empleadas. También deben tener un volumen de negocios anual de hasta 50 millones de euros, o un balance general que no supere los 43 millones de euros.  Muchas de nuestras empresas son mucho más pequeñas que eso, pero los principios expuestos en este curso siguen siendo aplicables. </a:t>
            </a:r>
          </a:p>
          <a:p>
            <a:pPr marL="342900" indent="-342900">
              <a:spcBef>
                <a:spcPts val="300"/>
              </a:spcBef>
              <a:buClr>
                <a:srgbClr val="F16924"/>
              </a:buClr>
              <a:buFont typeface="Arial" panose="020B0604020202020204" pitchFamily="34" charset="0"/>
              <a:buChar char="•"/>
            </a:pPr>
            <a:endParaRPr lang="en-US" sz="2200"/>
          </a:p>
          <a:p>
            <a:pPr marL="342900" indent="-342900">
              <a:spcBef>
                <a:spcPts val="300"/>
              </a:spcBef>
              <a:buClr>
                <a:srgbClr val="F16924"/>
              </a:buClr>
              <a:buFont typeface="Arial" panose="020B0604020202020204" pitchFamily="34" charset="0"/>
              <a:buChar char="•"/>
            </a:pPr>
            <a:endParaRPr lang="en-US" sz="2200"/>
          </a:p>
          <a:p>
            <a:pPr marL="342900" indent="-342900">
              <a:spcBef>
                <a:spcPts val="300"/>
              </a:spcBef>
              <a:buClr>
                <a:srgbClr val="F16924"/>
              </a:buClr>
              <a:buFont typeface="Arial" panose="020B0604020202020204" pitchFamily="34" charset="0"/>
              <a:buChar char="•"/>
            </a:pPr>
            <a:endParaRPr lang="en-US" sz="2200"/>
          </a:p>
          <a:p>
            <a:pPr marL="342900" indent="-342900">
              <a:spcBef>
                <a:spcPts val="300"/>
              </a:spcBef>
              <a:buClr>
                <a:srgbClr val="F16924"/>
              </a:buClr>
              <a:buFont typeface="Arial" panose="020B0604020202020204" pitchFamily="34" charset="0"/>
              <a:buChar char="•"/>
            </a:pPr>
            <a:r>
              <a:rPr lang="en-US" sz="2200"/>
              <a:t>Una crisis empresarial se produce cuando un problema inesperado pone en peligro la estabilidad de una empresa u organización. Estos dilemas pueden originarse internamente o ser provocados por influencias externas </a:t>
            </a:r>
            <a:r>
              <a:rPr lang="en-US" sz="1400"/>
              <a:t>(Hubspot).</a:t>
            </a:r>
          </a:p>
          <a:p>
            <a:pPr marL="342900" indent="-342900">
              <a:spcBef>
                <a:spcPts val="300"/>
              </a:spcBef>
              <a:buClr>
                <a:srgbClr val="F16924"/>
              </a:buClr>
              <a:buFont typeface="Arial" panose="020B0604020202020204" pitchFamily="34" charset="0"/>
              <a:buChar char="•"/>
            </a:pPr>
            <a:r>
              <a:rPr lang="en-GB" sz="2200"/>
              <a:t>Por lo general, la crisis es un acontecimiento inesperado y negativo, que tiene el </a:t>
            </a:r>
          </a:p>
          <a:p>
            <a:pPr marL="342900" indent="-342900">
              <a:spcBef>
                <a:spcPts val="300"/>
              </a:spcBef>
              <a:buClr>
                <a:srgbClr val="F16924"/>
              </a:buClr>
              <a:buFont typeface="Arial" panose="020B0604020202020204" pitchFamily="34" charset="0"/>
              <a:buChar char="•"/>
            </a:pPr>
            <a:r>
              <a:rPr lang="en-GB" sz="2200"/>
              <a:t>potencial de provocar enormes consecuencias negativas </a:t>
            </a:r>
            <a:r>
              <a:rPr lang="en-GB" sz="1400"/>
              <a:t>(Shrivastava, 1993; Pearson y Claire, 1993).</a:t>
            </a:r>
            <a:endParaRPr lang="en-US" sz="1400"/>
          </a:p>
          <a:p>
            <a:pPr marL="342900" indent="-342900">
              <a:spcBef>
                <a:spcPts val="300"/>
              </a:spcBef>
              <a:buClr>
                <a:srgbClr val="F16924"/>
              </a:buClr>
              <a:buFont typeface="Arial" panose="020B0604020202020204" pitchFamily="34" charset="0"/>
              <a:buChar char="•"/>
            </a:pPr>
            <a:r>
              <a:rPr lang="en-US" sz="2200"/>
              <a:t>En general, se considera que una crisis empresarial es el estado de una empresa en el que sus activos están directamente amenazados y, por tanto, su continuidad está en riesgo.</a:t>
            </a:r>
          </a:p>
          <a:p>
            <a:pPr marL="342900" indent="-342900">
              <a:spcBef>
                <a:spcPts val="300"/>
              </a:spcBef>
              <a:buClr>
                <a:srgbClr val="F16924"/>
              </a:buClr>
              <a:buFont typeface="Arial" panose="020B0604020202020204" pitchFamily="34" charset="0"/>
              <a:buChar char="•"/>
            </a:pPr>
            <a:endParaRPr lang="en-US" sz="2200"/>
          </a:p>
          <a:p>
            <a:pPr marL="342900" indent="-342900">
              <a:spcBef>
                <a:spcPts val="300"/>
              </a:spcBef>
              <a:buClr>
                <a:srgbClr val="F16924"/>
              </a:buClr>
              <a:buFont typeface="Arial" panose="020B0604020202020204" pitchFamily="34" charset="0"/>
              <a:buChar char="•"/>
            </a:pPr>
            <a:endParaRPr lang="en-US" sz="2200"/>
          </a:p>
        </p:txBody>
      </p:sp>
      <p:sp>
        <p:nvSpPr>
          <p:cNvPr id="13" name="Text Placeholder 12">
            <a:extLst>
              <a:ext uri="{FF2B5EF4-FFF2-40B4-BE49-F238E27FC236}">
                <a16:creationId xmlns:a16="http://schemas.microsoft.com/office/drawing/2014/main" id="{B9C441D9-D8FA-D34C-6091-16D5A4E0FBDE}"/>
              </a:ext>
            </a:extLst>
          </p:cNvPr>
          <p:cNvSpPr>
            <a:spLocks noGrp="1"/>
          </p:cNvSpPr>
          <p:nvPr>
            <p:ph type="body" sz="quarter" idx="16"/>
          </p:nvPr>
        </p:nvSpPr>
        <p:spPr/>
        <p:txBody>
          <a:bodyPr>
            <a:noAutofit/>
          </a:bodyPr>
          <a:lstStyle/>
          <a:p>
            <a:r>
              <a:rPr lang="en-US"/>
              <a:t>¿Qué define una crisis empresarial?  Algunos puntos de vista </a:t>
            </a:r>
          </a:p>
          <a:p>
            <a:r>
              <a:rPr lang="en-US"/>
              <a:t> </a:t>
            </a:r>
          </a:p>
        </p:txBody>
      </p:sp>
    </p:spTree>
    <p:extLst>
      <p:ext uri="{BB962C8B-B14F-4D97-AF65-F5344CB8AC3E}">
        <p14:creationId xmlns:p14="http://schemas.microsoft.com/office/powerpoint/2010/main" val="1379412828"/>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AD8597D-C119-F21F-278E-FAE14351A4E3}"/>
              </a:ext>
            </a:extLst>
          </p:cNvPr>
          <p:cNvSpPr/>
          <p:nvPr/>
        </p:nvSpPr>
        <p:spPr>
          <a:xfrm>
            <a:off x="0" y="0"/>
            <a:ext cx="12191999" cy="143680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CEB2D5A5-B845-9B90-FA0D-F386CA90F4D4}"/>
              </a:ext>
            </a:extLst>
          </p:cNvPr>
          <p:cNvSpPr>
            <a:spLocks noGrp="1"/>
          </p:cNvSpPr>
          <p:nvPr>
            <p:ph type="body" sz="quarter" idx="18"/>
          </p:nvPr>
        </p:nvSpPr>
        <p:spPr>
          <a:xfrm>
            <a:off x="246731" y="1536431"/>
            <a:ext cx="8233241" cy="4916538"/>
          </a:xfrm>
        </p:spPr>
        <p:txBody>
          <a:bodyPr>
            <a:normAutofit lnSpcReduction="10000"/>
          </a:bodyPr>
          <a:lstStyle/>
          <a:p>
            <a:pPr marL="0" indent="0" algn="just"/>
            <a:r>
              <a:rPr lang="en-GB" b="1"/>
              <a:t>La forma más fácil de identificar una crisis empresarial es evaluar un problema en función de tres elementos clave</a:t>
            </a:r>
            <a:r>
              <a:rPr lang="en-GB"/>
              <a:t>.</a:t>
            </a:r>
          </a:p>
          <a:p>
            <a:pPr marL="457200" indent="-457200" algn="just">
              <a:buClr>
                <a:srgbClr val="F16924"/>
              </a:buClr>
              <a:buFont typeface="+mj-lt"/>
              <a:buAutoNum type="arabicPeriod"/>
            </a:pPr>
            <a:r>
              <a:rPr lang="en-GB"/>
              <a:t>En primer lugar, el problema debe suponer una amenaza inminente para la organización.</a:t>
            </a:r>
          </a:p>
          <a:p>
            <a:pPr marL="457200" indent="-457200" algn="just">
              <a:buClr>
                <a:srgbClr val="F16924"/>
              </a:buClr>
              <a:buFont typeface="+mj-lt"/>
              <a:buAutoNum type="arabicPeriod"/>
            </a:pPr>
            <a:r>
              <a:rPr lang="en-GB"/>
              <a:t>A continuación, la situación debe implicar un elemento de sorpresa o choque.</a:t>
            </a:r>
          </a:p>
          <a:p>
            <a:pPr marL="457200" indent="-457200" algn="just">
              <a:buClr>
                <a:srgbClr val="F16924"/>
              </a:buClr>
              <a:buFont typeface="+mj-lt"/>
              <a:buAutoNum type="arabicPeriod"/>
            </a:pPr>
            <a:r>
              <a:rPr lang="en-GB"/>
              <a:t>Por último, debido a la gravedad del problema y a su carácter inesperado, la situación presionará a la empresa para que tome decisiones oportunas y eficaces. Conocer los elementos que componen una crisis empresarial puede ser decisivo para identificar estos problemas antes de que sea demasiado tarde.</a:t>
            </a:r>
          </a:p>
          <a:p>
            <a:pPr marL="0" indent="0" algn="just"/>
            <a:endParaRPr lang="en-GB" sz="100">
              <a:solidFill>
                <a:srgbClr val="083553"/>
              </a:solidFill>
            </a:endParaRPr>
          </a:p>
          <a:p>
            <a:pPr marL="0" indent="0" algn="just"/>
            <a:r>
              <a:rPr lang="en-GB">
                <a:solidFill>
                  <a:srgbClr val="B41F7A"/>
                </a:solidFill>
                <a:ea typeface="Open Sans Light" panose="020B0306030504020204" pitchFamily="34" charset="0"/>
                <a:cs typeface="Open Sans Light" panose="020B0306030504020204" pitchFamily="34" charset="0"/>
              </a:rPr>
              <a:t>No se puede negar que el tamaño importa, las </a:t>
            </a:r>
            <a:r>
              <a:rPr lang="en-GB" b="1" u="sng">
                <a:solidFill>
                  <a:srgbClr val="B41F7A"/>
                </a:solidFill>
                <a:ea typeface="Open Sans Light" panose="020B0306030504020204" pitchFamily="34" charset="0"/>
                <a:cs typeface="Open Sans Light" panose="020B0306030504020204" pitchFamily="34" charset="0"/>
              </a:rPr>
              <a:t>pequeñas y medianas empresas (PYMES) están estadísticamente más expuestas a las crisis empresariales que las grandes empresas.</a:t>
            </a:r>
            <a:endParaRPr lang="en-US" b="1" u="sng">
              <a:solidFill>
                <a:srgbClr val="B41F7A"/>
              </a:solidFill>
            </a:endParaRPr>
          </a:p>
        </p:txBody>
      </p:sp>
      <p:sp>
        <p:nvSpPr>
          <p:cNvPr id="7" name="Text Placeholder 6">
            <a:extLst>
              <a:ext uri="{FF2B5EF4-FFF2-40B4-BE49-F238E27FC236}">
                <a16:creationId xmlns:a16="http://schemas.microsoft.com/office/drawing/2014/main" id="{E29D7098-E7A2-7E96-C0FF-6B55C4A0D08D}"/>
              </a:ext>
            </a:extLst>
          </p:cNvPr>
          <p:cNvSpPr>
            <a:spLocks noGrp="1"/>
          </p:cNvSpPr>
          <p:nvPr>
            <p:ph type="body" sz="quarter" idx="16"/>
          </p:nvPr>
        </p:nvSpPr>
        <p:spPr/>
        <p:txBody>
          <a:bodyPr>
            <a:normAutofit lnSpcReduction="10000"/>
          </a:bodyPr>
          <a:lstStyle/>
          <a:p>
            <a:r>
              <a:rPr lang="en-US">
                <a:solidFill>
                  <a:schemeClr val="bg1"/>
                </a:solidFill>
              </a:rPr>
              <a:t>IDENTIFICAR UNA CRISIS EMPRESARIAL </a:t>
            </a:r>
          </a:p>
        </p:txBody>
      </p:sp>
      <p:pic>
        <p:nvPicPr>
          <p:cNvPr id="10" name="Picture 9" descr="An iceberg in the water&#10;&#10;Description automatically generated with medium confidence">
            <a:extLst>
              <a:ext uri="{FF2B5EF4-FFF2-40B4-BE49-F238E27FC236}">
                <a16:creationId xmlns:a16="http://schemas.microsoft.com/office/drawing/2014/main" id="{B11F6AE9-20FB-7359-ADDF-EEFDBED98CA4}"/>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8832616" y="1774372"/>
            <a:ext cx="3254168" cy="4440656"/>
          </a:xfrm>
          <a:prstGeom prst="rect">
            <a:avLst/>
          </a:prstGeom>
        </p:spPr>
      </p:pic>
    </p:spTree>
    <p:extLst>
      <p:ext uri="{BB962C8B-B14F-4D97-AF65-F5344CB8AC3E}">
        <p14:creationId xmlns:p14="http://schemas.microsoft.com/office/powerpoint/2010/main" val="1854099713"/>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5877067-4DF6-CAD3-9D51-E733FD7068E0}"/>
              </a:ext>
            </a:extLst>
          </p:cNvPr>
          <p:cNvSpPr/>
          <p:nvPr/>
        </p:nvSpPr>
        <p:spPr>
          <a:xfrm>
            <a:off x="21976" y="9264"/>
            <a:ext cx="3953022"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ubtitle 2">
            <a:extLst>
              <a:ext uri="{FF2B5EF4-FFF2-40B4-BE49-F238E27FC236}">
                <a16:creationId xmlns:a16="http://schemas.microsoft.com/office/drawing/2014/main" id="{8A4CA383-4C97-AF9C-723E-AC0CB7603B14}"/>
              </a:ext>
            </a:extLst>
          </p:cNvPr>
          <p:cNvSpPr txBox="1"/>
          <p:nvPr/>
        </p:nvSpPr>
        <p:spPr>
          <a:xfrm>
            <a:off x="152885" y="635920"/>
            <a:ext cx="3572859" cy="544679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40"/>
              </a:lnSpc>
              <a:spcBef>
                <a:spcPct val="0"/>
              </a:spcBef>
            </a:pPr>
            <a:r>
              <a:rPr lang="en-GB">
                <a:solidFill>
                  <a:schemeClr val="bg1"/>
                </a:solidFill>
                <a:latin typeface="+mn-lt"/>
                <a:ea typeface="Open Sans Light" panose="020B0306030504020204" pitchFamily="34" charset="0"/>
                <a:cs typeface="Open Sans Light" panose="020B0306030504020204" pitchFamily="34" charset="0"/>
              </a:rPr>
              <a:t>Superar una crisis financiera o empresarial es una de las tareas de gestión más difíciles.</a:t>
            </a:r>
          </a:p>
          <a:p>
            <a:pPr algn="l">
              <a:lnSpc>
                <a:spcPts val="2240"/>
              </a:lnSpc>
              <a:spcBef>
                <a:spcPct val="0"/>
              </a:spcBef>
            </a:pPr>
            <a:endParaRPr lang="en-GB">
              <a:solidFill>
                <a:schemeClr val="bg1"/>
              </a:solidFill>
              <a:latin typeface="+mn-lt"/>
              <a:ea typeface="Open Sans Light" panose="020B0306030504020204" pitchFamily="34" charset="0"/>
              <a:cs typeface="Open Sans Light" panose="020B0306030504020204" pitchFamily="34" charset="0"/>
            </a:endParaRPr>
          </a:p>
          <a:p>
            <a:pPr algn="l">
              <a:lnSpc>
                <a:spcPts val="2240"/>
              </a:lnSpc>
              <a:spcBef>
                <a:spcPct val="0"/>
              </a:spcBef>
            </a:pPr>
            <a:r>
              <a:rPr lang="en-GB">
                <a:solidFill>
                  <a:schemeClr val="bg1"/>
                </a:solidFill>
                <a:latin typeface="+mn-lt"/>
                <a:ea typeface="Open Sans Light" panose="020B0306030504020204" pitchFamily="34" charset="0"/>
                <a:cs typeface="Open Sans Light" panose="020B0306030504020204" pitchFamily="34" charset="0"/>
              </a:rPr>
              <a:t>Sin apoyo externo (por ejemplo, de asesores empresariales, consultores de gestión, abogados o expertos del sector), a menudo resulta difícil de gestionar.  </a:t>
            </a:r>
            <a:r>
              <a:rPr lang="en-GB" b="1">
                <a:solidFill>
                  <a:schemeClr val="bg1"/>
                </a:solidFill>
                <a:latin typeface="+mn-lt"/>
                <a:ea typeface="Open Sans Light" panose="020B0306030504020204" pitchFamily="34" charset="0"/>
                <a:cs typeface="Open Sans Light" panose="020B0306030504020204" pitchFamily="34" charset="0"/>
              </a:rPr>
              <a:t>Consulte nuestro estudio de caso más adelante en este módulo: el apoyo externo puede cambiar las reglas del juego. </a:t>
            </a:r>
          </a:p>
          <a:p>
            <a:pPr algn="l">
              <a:lnSpc>
                <a:spcPts val="2240"/>
              </a:lnSpc>
              <a:spcBef>
                <a:spcPct val="0"/>
              </a:spcBef>
            </a:pPr>
            <a:endParaRPr lang="en-GB">
              <a:solidFill>
                <a:schemeClr val="bg1"/>
              </a:solidFill>
              <a:latin typeface="+mn-lt"/>
              <a:ea typeface="Open Sans Light" panose="020B0306030504020204" pitchFamily="34" charset="0"/>
              <a:cs typeface="Open Sans Light" panose="020B0306030504020204" pitchFamily="34" charset="0"/>
            </a:endParaRPr>
          </a:p>
          <a:p>
            <a:pPr algn="l">
              <a:lnSpc>
                <a:spcPts val="2240"/>
              </a:lnSpc>
              <a:spcBef>
                <a:spcPct val="0"/>
              </a:spcBef>
            </a:pPr>
            <a:r>
              <a:rPr lang="en-IE">
                <a:solidFill>
                  <a:schemeClr val="bg1"/>
                </a:solidFill>
                <a:latin typeface="+mn-lt"/>
              </a:rPr>
              <a:t>Las </a:t>
            </a:r>
            <a:r>
              <a:rPr lang="en-IE" b="1">
                <a:solidFill>
                  <a:srgbClr val="EDA13E"/>
                </a:solidFill>
                <a:latin typeface="+mn-lt"/>
              </a:rPr>
              <a:t>4 </a:t>
            </a:r>
            <a:r>
              <a:rPr lang="en-IE">
                <a:solidFill>
                  <a:schemeClr val="bg1"/>
                </a:solidFill>
                <a:latin typeface="+mn-lt"/>
              </a:rPr>
              <a:t>razones clave por las que una crisis empresarial es </a:t>
            </a:r>
            <a:r>
              <a:rPr lang="en-GB">
                <a:solidFill>
                  <a:schemeClr val="bg1"/>
                </a:solidFill>
                <a:latin typeface="+mn-lt"/>
              </a:rPr>
              <a:t>complicada ..</a:t>
            </a:r>
          </a:p>
          <a:p>
            <a:pPr algn="l">
              <a:lnSpc>
                <a:spcPts val="2240"/>
              </a:lnSpc>
              <a:spcBef>
                <a:spcPct val="0"/>
              </a:spcBef>
            </a:pPr>
            <a:endParaRPr lang="en-GB" sz="2200">
              <a:solidFill>
                <a:schemeClr val="bg1"/>
              </a:solidFill>
              <a:latin typeface="+mn-lt"/>
              <a:ea typeface="Open Sans Light" panose="020B0306030504020204" pitchFamily="34" charset="0"/>
              <a:cs typeface="Open Sans Light" panose="020B0306030504020204" pitchFamily="34" charset="0"/>
            </a:endParaRPr>
          </a:p>
        </p:txBody>
      </p:sp>
      <p:sp>
        <p:nvSpPr>
          <p:cNvPr id="17" name="TextBox 57">
            <a:extLst>
              <a:ext uri="{FF2B5EF4-FFF2-40B4-BE49-F238E27FC236}">
                <a16:creationId xmlns:a16="http://schemas.microsoft.com/office/drawing/2014/main" id="{124DCD05-6E90-5B25-21BC-81AA4F0B3BB9}"/>
              </a:ext>
            </a:extLst>
          </p:cNvPr>
          <p:cNvSpPr txBox="1"/>
          <p:nvPr/>
        </p:nvSpPr>
        <p:spPr>
          <a:xfrm>
            <a:off x="5549067" y="529775"/>
            <a:ext cx="6511554" cy="5816977"/>
          </a:xfrm>
          <a:prstGeom prst="rect">
            <a:avLst/>
          </a:prstGeom>
          <a:noFill/>
        </p:spPr>
        <p:txBody>
          <a:bodyPr wrap="square" rtlCol="0" anchor="t">
            <a:spAutoFit/>
          </a:bodyPr>
          <a:lstStyle/>
          <a:p>
            <a:pPr>
              <a:spcBef>
                <a:spcPts val="675"/>
              </a:spcBef>
            </a:pPr>
            <a:r>
              <a:rPr lang="en-GB" sz="2200" b="1">
                <a:solidFill>
                  <a:srgbClr val="B41F7A"/>
                </a:solidFill>
                <a:cs typeface="Poppins" pitchFamily="2" charset="77"/>
              </a:rPr>
              <a:t>No hay planes </a:t>
            </a:r>
            <a:r>
              <a:rPr lang="en-GB" sz="2200" b="1">
                <a:solidFill>
                  <a:srgbClr val="595959"/>
                </a:solidFill>
                <a:cs typeface="Poppins" pitchFamily="2" charset="77"/>
              </a:rPr>
              <a:t>- </a:t>
            </a:r>
            <a:r>
              <a:rPr lang="en-US" sz="2200">
                <a:solidFill>
                  <a:srgbClr val="595959"/>
                </a:solidFill>
                <a:ea typeface="Lato Light" panose="020F0502020204030203" pitchFamily="34" charset="0"/>
                <a:cs typeface="Lato Light" panose="020F0502020204030203" pitchFamily="34" charset="0"/>
              </a:rPr>
              <a:t>Cada empresa y cada crisis corporativa es diferente. No hay remedios estándar ni planos. </a:t>
            </a:r>
          </a:p>
          <a:p>
            <a:pPr>
              <a:spcBef>
                <a:spcPts val="675"/>
              </a:spcBef>
            </a:pPr>
            <a:endParaRPr lang="en-US" sz="800">
              <a:solidFill>
                <a:srgbClr val="595959"/>
              </a:solidFill>
              <a:ea typeface="Lato Light" panose="020F0502020204030203" pitchFamily="34" charset="0"/>
              <a:cs typeface="Lato Light" panose="020F0502020204030203" pitchFamily="34" charset="0"/>
            </a:endParaRPr>
          </a:p>
          <a:p>
            <a:pPr>
              <a:spcBef>
                <a:spcPts val="675"/>
              </a:spcBef>
            </a:pPr>
            <a:r>
              <a:rPr lang="en-GB" sz="2200" b="1">
                <a:solidFill>
                  <a:srgbClr val="B41F7A"/>
                </a:solidFill>
                <a:cs typeface="Poppins" pitchFamily="2" charset="77"/>
              </a:rPr>
              <a:t>Presión de tiempo </a:t>
            </a:r>
            <a:r>
              <a:rPr lang="en-GB" sz="2200" b="1">
                <a:solidFill>
                  <a:srgbClr val="595959"/>
                </a:solidFill>
                <a:cs typeface="Poppins" pitchFamily="2" charset="77"/>
              </a:rPr>
              <a:t>- Las </a:t>
            </a:r>
            <a:r>
              <a:rPr lang="en-GB" sz="2200">
                <a:solidFill>
                  <a:srgbClr val="595959"/>
                </a:solidFill>
                <a:ea typeface="Lato Light" panose="020F0502020204030203" pitchFamily="34" charset="0"/>
                <a:cs typeface="Lato Light" panose="020F0502020204030203" pitchFamily="34" charset="0"/>
              </a:rPr>
              <a:t>decisiones de supervivencia deben tomarse bajo una gran presión de tiempo. Cuanto más avanza la crisis, más limitado es el margen de acción y mayor es la presión para actuar.</a:t>
            </a:r>
          </a:p>
          <a:p>
            <a:pPr>
              <a:spcBef>
                <a:spcPts val="675"/>
              </a:spcBef>
            </a:pPr>
            <a:endParaRPr lang="en-GB" sz="1050">
              <a:solidFill>
                <a:srgbClr val="595959"/>
              </a:solidFill>
              <a:ea typeface="Lato Light" panose="020F0502020204030203" pitchFamily="34" charset="0"/>
              <a:cs typeface="Lato Light" panose="020F0502020204030203" pitchFamily="34" charset="0"/>
            </a:endParaRPr>
          </a:p>
          <a:p>
            <a:pPr>
              <a:spcBef>
                <a:spcPts val="675"/>
              </a:spcBef>
            </a:pPr>
            <a:r>
              <a:rPr lang="en-GB" sz="2200" b="1">
                <a:solidFill>
                  <a:srgbClr val="B41F7A"/>
                </a:solidFill>
                <a:cs typeface="Poppins" pitchFamily="2" charset="77"/>
              </a:rPr>
              <a:t>Datos inadecuados </a:t>
            </a:r>
            <a:r>
              <a:rPr lang="en-GB" sz="2200" b="1">
                <a:solidFill>
                  <a:srgbClr val="595959"/>
                </a:solidFill>
                <a:cs typeface="Poppins" pitchFamily="2" charset="77"/>
              </a:rPr>
              <a:t>- </a:t>
            </a:r>
            <a:r>
              <a:rPr lang="en-GB" sz="2200">
                <a:solidFill>
                  <a:srgbClr val="595959"/>
                </a:solidFill>
                <a:ea typeface="Lato Light" panose="020F0502020204030203" pitchFamily="34" charset="0"/>
                <a:cs typeface="Lato Light" panose="020F0502020204030203" pitchFamily="34" charset="0"/>
              </a:rPr>
              <a:t>Los datos disponibles son casi siempre inadecuados. La preparación de la información para crear una base para la toma de decisiones consume tiempo y recursos valiosos.</a:t>
            </a:r>
          </a:p>
          <a:p>
            <a:pPr>
              <a:spcBef>
                <a:spcPts val="675"/>
              </a:spcBef>
            </a:pPr>
            <a:endParaRPr lang="en-GB" sz="1050">
              <a:solidFill>
                <a:srgbClr val="595959"/>
              </a:solidFill>
              <a:ea typeface="Lato Light" panose="020F0502020204030203" pitchFamily="34" charset="0"/>
              <a:cs typeface="Lato Light" panose="020F0502020204030203" pitchFamily="34" charset="0"/>
            </a:endParaRPr>
          </a:p>
          <a:p>
            <a:pPr>
              <a:spcBef>
                <a:spcPts val="675"/>
              </a:spcBef>
            </a:pPr>
            <a:r>
              <a:rPr lang="en-GB" sz="2200" b="1">
                <a:solidFill>
                  <a:srgbClr val="B41F7A"/>
                </a:solidFill>
                <a:cs typeface="Poppins" pitchFamily="2" charset="77"/>
              </a:rPr>
              <a:t>Conocimiento </a:t>
            </a:r>
            <a:r>
              <a:rPr lang="en-GB" sz="2200" b="1">
                <a:solidFill>
                  <a:srgbClr val="595959"/>
                </a:solidFill>
                <a:cs typeface="Poppins" pitchFamily="2" charset="77"/>
              </a:rPr>
              <a:t>- </a:t>
            </a:r>
            <a:r>
              <a:rPr lang="en-GB" sz="2200">
                <a:solidFill>
                  <a:srgbClr val="595959"/>
                </a:solidFill>
                <a:ea typeface="Lato Light" panose="020F0502020204030203" pitchFamily="34" charset="0"/>
                <a:cs typeface="Lato Light" panose="020F0502020204030203" pitchFamily="34" charset="0"/>
              </a:rPr>
              <a:t>Superar una crisis requiere un alto grado de conocimiento metodológico, liderazgo y comunicación por parte de las personas implicadas.</a:t>
            </a:r>
            <a:endParaRPr lang="en-GB" sz="1600">
              <a:solidFill>
                <a:srgbClr val="595959"/>
              </a:solidFill>
              <a:ea typeface="Lato Light" panose="020F0502020204030203" pitchFamily="34" charset="0"/>
              <a:cs typeface="Lato Light" panose="020F0502020204030203" pitchFamily="34" charset="0"/>
            </a:endParaRPr>
          </a:p>
        </p:txBody>
      </p:sp>
      <p:grpSp>
        <p:nvGrpSpPr>
          <p:cNvPr id="4" name="Group 3">
            <a:extLst>
              <a:ext uri="{FF2B5EF4-FFF2-40B4-BE49-F238E27FC236}">
                <a16:creationId xmlns:a16="http://schemas.microsoft.com/office/drawing/2014/main" id="{41A4C572-EB3E-18A6-055F-EE7F9D67D7AD}"/>
              </a:ext>
            </a:extLst>
          </p:cNvPr>
          <p:cNvGrpSpPr/>
          <p:nvPr/>
        </p:nvGrpSpPr>
        <p:grpSpPr>
          <a:xfrm>
            <a:off x="4354427" y="2104083"/>
            <a:ext cx="923646" cy="923888"/>
            <a:chOff x="10376768" y="3823816"/>
            <a:chExt cx="923646" cy="923888"/>
          </a:xfrm>
          <a:solidFill>
            <a:srgbClr val="595959"/>
          </a:solidFill>
        </p:grpSpPr>
        <p:sp>
          <p:nvSpPr>
            <p:cNvPr id="5" name="Freeform 4">
              <a:extLst>
                <a:ext uri="{FF2B5EF4-FFF2-40B4-BE49-F238E27FC236}">
                  <a16:creationId xmlns:a16="http://schemas.microsoft.com/office/drawing/2014/main" id="{03B8D1AA-8026-53D7-FAFE-73289341C790}"/>
                </a:ext>
              </a:extLst>
            </p:cNvPr>
            <p:cNvSpPr/>
            <p:nvPr/>
          </p:nvSpPr>
          <p:spPr>
            <a:xfrm>
              <a:off x="10872691" y="3846190"/>
              <a:ext cx="417334" cy="527539"/>
            </a:xfrm>
            <a:custGeom>
              <a:avLst/>
              <a:gdLst>
                <a:gd name="connsiteX0" fmla="*/ 386622 w 417334"/>
                <a:gd name="connsiteY0" fmla="*/ 407398 h 527539"/>
                <a:gd name="connsiteX1" fmla="*/ 341456 w 417334"/>
                <a:gd name="connsiteY1" fmla="*/ 388428 h 527539"/>
                <a:gd name="connsiteX2" fmla="*/ 316163 w 417334"/>
                <a:gd name="connsiteY2" fmla="*/ 394752 h 527539"/>
                <a:gd name="connsiteX3" fmla="*/ 280030 w 417334"/>
                <a:gd name="connsiteY3" fmla="*/ 430884 h 527539"/>
                <a:gd name="connsiteX4" fmla="*/ 273707 w 417334"/>
                <a:gd name="connsiteY4" fmla="*/ 456177 h 527539"/>
                <a:gd name="connsiteX5" fmla="*/ 292676 w 417334"/>
                <a:gd name="connsiteY5" fmla="*/ 500440 h 527539"/>
                <a:gd name="connsiteX6" fmla="*/ 227637 w 417334"/>
                <a:gd name="connsiteY6" fmla="*/ 527540 h 527539"/>
                <a:gd name="connsiteX7" fmla="*/ 245704 w 417334"/>
                <a:gd name="connsiteY7" fmla="*/ 431788 h 527539"/>
                <a:gd name="connsiteX8" fmla="*/ 242994 w 417334"/>
                <a:gd name="connsiteY8" fmla="*/ 395655 h 527539"/>
                <a:gd name="connsiteX9" fmla="*/ 302613 w 417334"/>
                <a:gd name="connsiteY9" fmla="*/ 314356 h 527539"/>
                <a:gd name="connsiteX10" fmla="*/ 298096 w 417334"/>
                <a:gd name="connsiteY10" fmla="*/ 203247 h 527539"/>
                <a:gd name="connsiteX11" fmla="*/ 200537 w 417334"/>
                <a:gd name="connsiteY11" fmla="*/ 112012 h 527539"/>
                <a:gd name="connsiteX12" fmla="*/ 183375 w 417334"/>
                <a:gd name="connsiteY12" fmla="*/ 120142 h 527539"/>
                <a:gd name="connsiteX13" fmla="*/ 191504 w 417334"/>
                <a:gd name="connsiteY13" fmla="*/ 137305 h 527539"/>
                <a:gd name="connsiteX14" fmla="*/ 272803 w 417334"/>
                <a:gd name="connsiteY14" fmla="*/ 213184 h 527539"/>
                <a:gd name="connsiteX15" fmla="*/ 236670 w 417334"/>
                <a:gd name="connsiteY15" fmla="*/ 365845 h 527539"/>
                <a:gd name="connsiteX16" fmla="*/ 229444 w 417334"/>
                <a:gd name="connsiteY16" fmla="*/ 342359 h 527539"/>
                <a:gd name="connsiteX17" fmla="*/ 252027 w 417334"/>
                <a:gd name="connsiteY17" fmla="*/ 222217 h 527539"/>
                <a:gd name="connsiteX18" fmla="*/ 105689 w 417334"/>
                <a:gd name="connsiteY18" fmla="*/ 161695 h 527539"/>
                <a:gd name="connsiteX19" fmla="*/ 70460 w 417334"/>
                <a:gd name="connsiteY19" fmla="*/ 185181 h 527539"/>
                <a:gd name="connsiteX20" fmla="*/ 46973 w 417334"/>
                <a:gd name="connsiteY20" fmla="*/ 177954 h 527539"/>
                <a:gd name="connsiteX21" fmla="*/ 97559 w 417334"/>
                <a:gd name="connsiteY21" fmla="*/ 141822 h 527539"/>
                <a:gd name="connsiteX22" fmla="*/ 134595 w 417334"/>
                <a:gd name="connsiteY22" fmla="*/ 132788 h 527539"/>
                <a:gd name="connsiteX23" fmla="*/ 146338 w 417334"/>
                <a:gd name="connsiteY23" fmla="*/ 118335 h 527539"/>
                <a:gd name="connsiteX24" fmla="*/ 131885 w 417334"/>
                <a:gd name="connsiteY24" fmla="*/ 106592 h 527539"/>
                <a:gd name="connsiteX25" fmla="*/ 87622 w 417334"/>
                <a:gd name="connsiteY25" fmla="*/ 118335 h 527539"/>
                <a:gd name="connsiteX26" fmla="*/ 28003 w 417334"/>
                <a:gd name="connsiteY26" fmla="*/ 160791 h 527539"/>
                <a:gd name="connsiteX27" fmla="*/ 28003 w 417334"/>
                <a:gd name="connsiteY27" fmla="*/ 145435 h 527539"/>
                <a:gd name="connsiteX28" fmla="*/ 0 w 417334"/>
                <a:gd name="connsiteY28" fmla="*/ 117432 h 527539"/>
                <a:gd name="connsiteX29" fmla="*/ 18970 w 417334"/>
                <a:gd name="connsiteY29" fmla="*/ 101172 h 527539"/>
                <a:gd name="connsiteX30" fmla="*/ 25293 w 417334"/>
                <a:gd name="connsiteY30" fmla="*/ 75879 h 527539"/>
                <a:gd name="connsiteX31" fmla="*/ 6323 w 417334"/>
                <a:gd name="connsiteY31" fmla="*/ 31616 h 527539"/>
                <a:gd name="connsiteX32" fmla="*/ 82203 w 417334"/>
                <a:gd name="connsiteY32" fmla="*/ 0 h 527539"/>
                <a:gd name="connsiteX33" fmla="*/ 101172 w 417334"/>
                <a:gd name="connsiteY33" fmla="*/ 45166 h 527539"/>
                <a:gd name="connsiteX34" fmla="*/ 123755 w 417334"/>
                <a:gd name="connsiteY34" fmla="*/ 58716 h 527539"/>
                <a:gd name="connsiteX35" fmla="*/ 174341 w 417334"/>
                <a:gd name="connsiteY35" fmla="*/ 58716 h 527539"/>
                <a:gd name="connsiteX36" fmla="*/ 196925 w 417334"/>
                <a:gd name="connsiteY36" fmla="*/ 45166 h 527539"/>
                <a:gd name="connsiteX37" fmla="*/ 215894 w 417334"/>
                <a:gd name="connsiteY37" fmla="*/ 0 h 527539"/>
                <a:gd name="connsiteX38" fmla="*/ 291773 w 417334"/>
                <a:gd name="connsiteY38" fmla="*/ 31616 h 527539"/>
                <a:gd name="connsiteX39" fmla="*/ 272803 w 417334"/>
                <a:gd name="connsiteY39" fmla="*/ 75879 h 527539"/>
                <a:gd name="connsiteX40" fmla="*/ 279127 w 417334"/>
                <a:gd name="connsiteY40" fmla="*/ 101172 h 527539"/>
                <a:gd name="connsiteX41" fmla="*/ 315259 w 417334"/>
                <a:gd name="connsiteY41" fmla="*/ 137305 h 527539"/>
                <a:gd name="connsiteX42" fmla="*/ 340552 w 417334"/>
                <a:gd name="connsiteY42" fmla="*/ 143628 h 527539"/>
                <a:gd name="connsiteX43" fmla="*/ 385718 w 417334"/>
                <a:gd name="connsiteY43" fmla="*/ 124658 h 527539"/>
                <a:gd name="connsiteX44" fmla="*/ 417335 w 417334"/>
                <a:gd name="connsiteY44" fmla="*/ 200537 h 527539"/>
                <a:gd name="connsiteX45" fmla="*/ 372169 w 417334"/>
                <a:gd name="connsiteY45" fmla="*/ 218604 h 527539"/>
                <a:gd name="connsiteX46" fmla="*/ 358619 w 417334"/>
                <a:gd name="connsiteY46" fmla="*/ 241187 h 527539"/>
                <a:gd name="connsiteX47" fmla="*/ 358619 w 417334"/>
                <a:gd name="connsiteY47" fmla="*/ 291773 h 527539"/>
                <a:gd name="connsiteX48" fmla="*/ 372169 w 417334"/>
                <a:gd name="connsiteY48" fmla="*/ 314356 h 527539"/>
                <a:gd name="connsiteX49" fmla="*/ 417335 w 417334"/>
                <a:gd name="connsiteY49" fmla="*/ 333326 h 527539"/>
                <a:gd name="connsiteX50" fmla="*/ 386622 w 417334"/>
                <a:gd name="connsiteY50" fmla="*/ 407398 h 52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17334" h="527539">
                  <a:moveTo>
                    <a:pt x="386622" y="407398"/>
                  </a:moveTo>
                  <a:lnTo>
                    <a:pt x="341456" y="388428"/>
                  </a:lnTo>
                  <a:cubicBezTo>
                    <a:pt x="332423" y="384815"/>
                    <a:pt x="322486" y="387525"/>
                    <a:pt x="316163" y="394752"/>
                  </a:cubicBezTo>
                  <a:cubicBezTo>
                    <a:pt x="305323" y="408301"/>
                    <a:pt x="293579" y="420044"/>
                    <a:pt x="280030" y="430884"/>
                  </a:cubicBezTo>
                  <a:cubicBezTo>
                    <a:pt x="272803" y="437208"/>
                    <a:pt x="269190" y="447144"/>
                    <a:pt x="273707" y="456177"/>
                  </a:cubicBezTo>
                  <a:lnTo>
                    <a:pt x="292676" y="500440"/>
                  </a:lnTo>
                  <a:lnTo>
                    <a:pt x="227637" y="527540"/>
                  </a:lnTo>
                  <a:cubicBezTo>
                    <a:pt x="239380" y="497730"/>
                    <a:pt x="245704" y="465211"/>
                    <a:pt x="245704" y="431788"/>
                  </a:cubicBezTo>
                  <a:cubicBezTo>
                    <a:pt x="245704" y="419141"/>
                    <a:pt x="244800" y="407398"/>
                    <a:pt x="242994" y="395655"/>
                  </a:cubicBezTo>
                  <a:cubicBezTo>
                    <a:pt x="270996" y="375782"/>
                    <a:pt x="291773" y="346876"/>
                    <a:pt x="302613" y="314356"/>
                  </a:cubicBezTo>
                  <a:cubicBezTo>
                    <a:pt x="314356" y="278223"/>
                    <a:pt x="312550" y="238477"/>
                    <a:pt x="298096" y="203247"/>
                  </a:cubicBezTo>
                  <a:cubicBezTo>
                    <a:pt x="280030" y="159888"/>
                    <a:pt x="244800" y="127369"/>
                    <a:pt x="200537" y="112012"/>
                  </a:cubicBezTo>
                  <a:cubicBezTo>
                    <a:pt x="193311" y="109302"/>
                    <a:pt x="186085" y="113819"/>
                    <a:pt x="183375" y="120142"/>
                  </a:cubicBezTo>
                  <a:cubicBezTo>
                    <a:pt x="180664" y="127369"/>
                    <a:pt x="185181" y="134595"/>
                    <a:pt x="191504" y="137305"/>
                  </a:cubicBezTo>
                  <a:cubicBezTo>
                    <a:pt x="228541" y="149952"/>
                    <a:pt x="257447" y="177051"/>
                    <a:pt x="272803" y="213184"/>
                  </a:cubicBezTo>
                  <a:cubicBezTo>
                    <a:pt x="295386" y="267383"/>
                    <a:pt x="280030" y="327906"/>
                    <a:pt x="236670" y="365845"/>
                  </a:cubicBezTo>
                  <a:cubicBezTo>
                    <a:pt x="234864" y="357716"/>
                    <a:pt x="232154" y="349586"/>
                    <a:pt x="229444" y="342359"/>
                  </a:cubicBezTo>
                  <a:cubicBezTo>
                    <a:pt x="260157" y="310743"/>
                    <a:pt x="269190" y="263770"/>
                    <a:pt x="252027" y="222217"/>
                  </a:cubicBezTo>
                  <a:cubicBezTo>
                    <a:pt x="228541" y="165308"/>
                    <a:pt x="162598" y="138208"/>
                    <a:pt x="105689" y="161695"/>
                  </a:cubicBezTo>
                  <a:cubicBezTo>
                    <a:pt x="92139" y="167114"/>
                    <a:pt x="80396" y="175245"/>
                    <a:pt x="70460" y="185181"/>
                  </a:cubicBezTo>
                  <a:cubicBezTo>
                    <a:pt x="62329" y="182471"/>
                    <a:pt x="55103" y="179761"/>
                    <a:pt x="46973" y="177954"/>
                  </a:cubicBezTo>
                  <a:cubicBezTo>
                    <a:pt x="60523" y="162598"/>
                    <a:pt x="77686" y="149952"/>
                    <a:pt x="97559" y="141822"/>
                  </a:cubicBezTo>
                  <a:cubicBezTo>
                    <a:pt x="109302" y="137305"/>
                    <a:pt x="121948" y="133691"/>
                    <a:pt x="134595" y="132788"/>
                  </a:cubicBezTo>
                  <a:cubicBezTo>
                    <a:pt x="141822" y="131885"/>
                    <a:pt x="147242" y="125562"/>
                    <a:pt x="146338" y="118335"/>
                  </a:cubicBezTo>
                  <a:cubicBezTo>
                    <a:pt x="145435" y="111108"/>
                    <a:pt x="139112" y="105689"/>
                    <a:pt x="131885" y="106592"/>
                  </a:cubicBezTo>
                  <a:cubicBezTo>
                    <a:pt x="116529" y="108399"/>
                    <a:pt x="102076" y="112012"/>
                    <a:pt x="87622" y="118335"/>
                  </a:cubicBezTo>
                  <a:cubicBezTo>
                    <a:pt x="64136" y="128272"/>
                    <a:pt x="44263" y="142725"/>
                    <a:pt x="28003" y="160791"/>
                  </a:cubicBezTo>
                  <a:lnTo>
                    <a:pt x="28003" y="145435"/>
                  </a:lnTo>
                  <a:cubicBezTo>
                    <a:pt x="28003" y="130079"/>
                    <a:pt x="15357" y="117432"/>
                    <a:pt x="0" y="117432"/>
                  </a:cubicBezTo>
                  <a:cubicBezTo>
                    <a:pt x="6323" y="112012"/>
                    <a:pt x="11744" y="105689"/>
                    <a:pt x="18970" y="101172"/>
                  </a:cubicBezTo>
                  <a:cubicBezTo>
                    <a:pt x="26197" y="94849"/>
                    <a:pt x="29810" y="84912"/>
                    <a:pt x="25293" y="75879"/>
                  </a:cubicBezTo>
                  <a:lnTo>
                    <a:pt x="6323" y="31616"/>
                  </a:lnTo>
                  <a:lnTo>
                    <a:pt x="82203" y="0"/>
                  </a:lnTo>
                  <a:lnTo>
                    <a:pt x="101172" y="45166"/>
                  </a:lnTo>
                  <a:cubicBezTo>
                    <a:pt x="104786" y="54199"/>
                    <a:pt x="113819" y="59620"/>
                    <a:pt x="123755" y="58716"/>
                  </a:cubicBezTo>
                  <a:cubicBezTo>
                    <a:pt x="140918" y="56909"/>
                    <a:pt x="158081" y="56909"/>
                    <a:pt x="174341" y="58716"/>
                  </a:cubicBezTo>
                  <a:cubicBezTo>
                    <a:pt x="184278" y="59620"/>
                    <a:pt x="193311" y="54199"/>
                    <a:pt x="196925" y="45166"/>
                  </a:cubicBezTo>
                  <a:lnTo>
                    <a:pt x="215894" y="0"/>
                  </a:lnTo>
                  <a:lnTo>
                    <a:pt x="291773" y="31616"/>
                  </a:lnTo>
                  <a:lnTo>
                    <a:pt x="272803" y="75879"/>
                  </a:lnTo>
                  <a:cubicBezTo>
                    <a:pt x="269190" y="84912"/>
                    <a:pt x="271900" y="95752"/>
                    <a:pt x="279127" y="101172"/>
                  </a:cubicBezTo>
                  <a:cubicBezTo>
                    <a:pt x="292676" y="112012"/>
                    <a:pt x="304419" y="123755"/>
                    <a:pt x="315259" y="137305"/>
                  </a:cubicBezTo>
                  <a:cubicBezTo>
                    <a:pt x="321583" y="144531"/>
                    <a:pt x="331519" y="147241"/>
                    <a:pt x="340552" y="143628"/>
                  </a:cubicBezTo>
                  <a:lnTo>
                    <a:pt x="385718" y="124658"/>
                  </a:lnTo>
                  <a:lnTo>
                    <a:pt x="417335" y="200537"/>
                  </a:lnTo>
                  <a:lnTo>
                    <a:pt x="372169" y="218604"/>
                  </a:lnTo>
                  <a:cubicBezTo>
                    <a:pt x="363135" y="222217"/>
                    <a:pt x="357716" y="231251"/>
                    <a:pt x="358619" y="241187"/>
                  </a:cubicBezTo>
                  <a:cubicBezTo>
                    <a:pt x="360425" y="257447"/>
                    <a:pt x="360425" y="274610"/>
                    <a:pt x="358619" y="291773"/>
                  </a:cubicBezTo>
                  <a:cubicBezTo>
                    <a:pt x="357716" y="301710"/>
                    <a:pt x="363135" y="310743"/>
                    <a:pt x="372169" y="314356"/>
                  </a:cubicBezTo>
                  <a:lnTo>
                    <a:pt x="417335" y="333326"/>
                  </a:lnTo>
                  <a:lnTo>
                    <a:pt x="386622" y="407398"/>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7" name="Graphic 2">
              <a:extLst>
                <a:ext uri="{FF2B5EF4-FFF2-40B4-BE49-F238E27FC236}">
                  <a16:creationId xmlns:a16="http://schemas.microsoft.com/office/drawing/2014/main" id="{3DADFA63-2571-D9C0-BA64-F10F499ED171}"/>
                </a:ext>
              </a:extLst>
            </p:cNvPr>
            <p:cNvGrpSpPr/>
            <p:nvPr/>
          </p:nvGrpSpPr>
          <p:grpSpPr>
            <a:xfrm>
              <a:off x="10376768" y="3823816"/>
              <a:ext cx="923646" cy="923888"/>
              <a:chOff x="10376768" y="3823816"/>
              <a:chExt cx="923646" cy="923888"/>
            </a:xfrm>
            <a:grpFill/>
          </p:grpSpPr>
          <p:sp>
            <p:nvSpPr>
              <p:cNvPr id="8" name="Freeform 7">
                <a:extLst>
                  <a:ext uri="{FF2B5EF4-FFF2-40B4-BE49-F238E27FC236}">
                    <a16:creationId xmlns:a16="http://schemas.microsoft.com/office/drawing/2014/main" id="{D55BCD6B-091F-41E7-3813-20494FD7E169}"/>
                  </a:ext>
                </a:extLst>
              </p:cNvPr>
              <p:cNvSpPr/>
              <p:nvPr/>
            </p:nvSpPr>
            <p:spPr>
              <a:xfrm>
                <a:off x="10376768" y="3823816"/>
                <a:ext cx="923646" cy="923888"/>
              </a:xfrm>
              <a:custGeom>
                <a:avLst/>
                <a:gdLst>
                  <a:gd name="connsiteX0" fmla="*/ 908741 w 923646"/>
                  <a:gd name="connsiteY0" fmla="*/ 338536 h 923888"/>
                  <a:gd name="connsiteX1" fmla="*/ 862672 w 923646"/>
                  <a:gd name="connsiteY1" fmla="*/ 319567 h 923888"/>
                  <a:gd name="connsiteX2" fmla="*/ 862672 w 923646"/>
                  <a:gd name="connsiteY2" fmla="*/ 270787 h 923888"/>
                  <a:gd name="connsiteX3" fmla="*/ 908741 w 923646"/>
                  <a:gd name="connsiteY3" fmla="*/ 251818 h 923888"/>
                  <a:gd name="connsiteX4" fmla="*/ 920484 w 923646"/>
                  <a:gd name="connsiteY4" fmla="*/ 240074 h 923888"/>
                  <a:gd name="connsiteX5" fmla="*/ 920484 w 923646"/>
                  <a:gd name="connsiteY5" fmla="*/ 223814 h 923888"/>
                  <a:gd name="connsiteX6" fmla="*/ 885255 w 923646"/>
                  <a:gd name="connsiteY6" fmla="*/ 137999 h 923888"/>
                  <a:gd name="connsiteX7" fmla="*/ 873512 w 923646"/>
                  <a:gd name="connsiteY7" fmla="*/ 126256 h 923888"/>
                  <a:gd name="connsiteX8" fmla="*/ 857252 w 923646"/>
                  <a:gd name="connsiteY8" fmla="*/ 126256 h 923888"/>
                  <a:gd name="connsiteX9" fmla="*/ 811183 w 923646"/>
                  <a:gd name="connsiteY9" fmla="*/ 145226 h 923888"/>
                  <a:gd name="connsiteX10" fmla="*/ 776856 w 923646"/>
                  <a:gd name="connsiteY10" fmla="*/ 110899 h 923888"/>
                  <a:gd name="connsiteX11" fmla="*/ 795826 w 923646"/>
                  <a:gd name="connsiteY11" fmla="*/ 64830 h 923888"/>
                  <a:gd name="connsiteX12" fmla="*/ 795826 w 923646"/>
                  <a:gd name="connsiteY12" fmla="*/ 48570 h 923888"/>
                  <a:gd name="connsiteX13" fmla="*/ 784083 w 923646"/>
                  <a:gd name="connsiteY13" fmla="*/ 36827 h 923888"/>
                  <a:gd name="connsiteX14" fmla="*/ 698267 w 923646"/>
                  <a:gd name="connsiteY14" fmla="*/ 1597 h 923888"/>
                  <a:gd name="connsiteX15" fmla="*/ 669361 w 923646"/>
                  <a:gd name="connsiteY15" fmla="*/ 13340 h 923888"/>
                  <a:gd name="connsiteX16" fmla="*/ 650391 w 923646"/>
                  <a:gd name="connsiteY16" fmla="*/ 59410 h 923888"/>
                  <a:gd name="connsiteX17" fmla="*/ 601612 w 923646"/>
                  <a:gd name="connsiteY17" fmla="*/ 59410 h 923888"/>
                  <a:gd name="connsiteX18" fmla="*/ 582642 w 923646"/>
                  <a:gd name="connsiteY18" fmla="*/ 13340 h 923888"/>
                  <a:gd name="connsiteX19" fmla="*/ 554639 w 923646"/>
                  <a:gd name="connsiteY19" fmla="*/ 1597 h 923888"/>
                  <a:gd name="connsiteX20" fmla="*/ 468824 w 923646"/>
                  <a:gd name="connsiteY20" fmla="*/ 36827 h 923888"/>
                  <a:gd name="connsiteX21" fmla="*/ 457080 w 923646"/>
                  <a:gd name="connsiteY21" fmla="*/ 48570 h 923888"/>
                  <a:gd name="connsiteX22" fmla="*/ 457080 w 923646"/>
                  <a:gd name="connsiteY22" fmla="*/ 64830 h 923888"/>
                  <a:gd name="connsiteX23" fmla="*/ 476051 w 923646"/>
                  <a:gd name="connsiteY23" fmla="*/ 110899 h 923888"/>
                  <a:gd name="connsiteX24" fmla="*/ 441724 w 923646"/>
                  <a:gd name="connsiteY24" fmla="*/ 145226 h 923888"/>
                  <a:gd name="connsiteX25" fmla="*/ 395655 w 923646"/>
                  <a:gd name="connsiteY25" fmla="*/ 126256 h 923888"/>
                  <a:gd name="connsiteX26" fmla="*/ 379395 w 923646"/>
                  <a:gd name="connsiteY26" fmla="*/ 126256 h 923888"/>
                  <a:gd name="connsiteX27" fmla="*/ 367652 w 923646"/>
                  <a:gd name="connsiteY27" fmla="*/ 137999 h 923888"/>
                  <a:gd name="connsiteX28" fmla="*/ 325196 w 923646"/>
                  <a:gd name="connsiteY28" fmla="*/ 239171 h 923888"/>
                  <a:gd name="connsiteX29" fmla="*/ 277320 w 923646"/>
                  <a:gd name="connsiteY29" fmla="*/ 276207 h 923888"/>
                  <a:gd name="connsiteX30" fmla="*/ 206860 w 923646"/>
                  <a:gd name="connsiteY30" fmla="*/ 403575 h 923888"/>
                  <a:gd name="connsiteX31" fmla="*/ 186084 w 923646"/>
                  <a:gd name="connsiteY31" fmla="*/ 413512 h 923888"/>
                  <a:gd name="connsiteX32" fmla="*/ 150855 w 923646"/>
                  <a:gd name="connsiteY32" fmla="*/ 378283 h 923888"/>
                  <a:gd name="connsiteX33" fmla="*/ 135498 w 923646"/>
                  <a:gd name="connsiteY33" fmla="*/ 371959 h 923888"/>
                  <a:gd name="connsiteX34" fmla="*/ 120142 w 923646"/>
                  <a:gd name="connsiteY34" fmla="*/ 378283 h 923888"/>
                  <a:gd name="connsiteX35" fmla="*/ 55102 w 923646"/>
                  <a:gd name="connsiteY35" fmla="*/ 444225 h 923888"/>
                  <a:gd name="connsiteX36" fmla="*/ 55102 w 923646"/>
                  <a:gd name="connsiteY36" fmla="*/ 474938 h 923888"/>
                  <a:gd name="connsiteX37" fmla="*/ 90332 w 923646"/>
                  <a:gd name="connsiteY37" fmla="*/ 510167 h 923888"/>
                  <a:gd name="connsiteX38" fmla="*/ 71362 w 923646"/>
                  <a:gd name="connsiteY38" fmla="*/ 555333 h 923888"/>
                  <a:gd name="connsiteX39" fmla="*/ 21679 w 923646"/>
                  <a:gd name="connsiteY39" fmla="*/ 555333 h 923888"/>
                  <a:gd name="connsiteX40" fmla="*/ 0 w 923646"/>
                  <a:gd name="connsiteY40" fmla="*/ 577013 h 923888"/>
                  <a:gd name="connsiteX41" fmla="*/ 0 w 923646"/>
                  <a:gd name="connsiteY41" fmla="*/ 670055 h 923888"/>
                  <a:gd name="connsiteX42" fmla="*/ 21679 w 923646"/>
                  <a:gd name="connsiteY42" fmla="*/ 691735 h 923888"/>
                  <a:gd name="connsiteX43" fmla="*/ 71362 w 923646"/>
                  <a:gd name="connsiteY43" fmla="*/ 691735 h 923888"/>
                  <a:gd name="connsiteX44" fmla="*/ 90332 w 923646"/>
                  <a:gd name="connsiteY44" fmla="*/ 736901 h 923888"/>
                  <a:gd name="connsiteX45" fmla="*/ 55102 w 923646"/>
                  <a:gd name="connsiteY45" fmla="*/ 772131 h 923888"/>
                  <a:gd name="connsiteX46" fmla="*/ 55102 w 923646"/>
                  <a:gd name="connsiteY46" fmla="*/ 802844 h 923888"/>
                  <a:gd name="connsiteX47" fmla="*/ 120142 w 923646"/>
                  <a:gd name="connsiteY47" fmla="*/ 868786 h 923888"/>
                  <a:gd name="connsiteX48" fmla="*/ 135498 w 923646"/>
                  <a:gd name="connsiteY48" fmla="*/ 875109 h 923888"/>
                  <a:gd name="connsiteX49" fmla="*/ 150855 w 923646"/>
                  <a:gd name="connsiteY49" fmla="*/ 868786 h 923888"/>
                  <a:gd name="connsiteX50" fmla="*/ 186084 w 923646"/>
                  <a:gd name="connsiteY50" fmla="*/ 833556 h 923888"/>
                  <a:gd name="connsiteX51" fmla="*/ 231250 w 923646"/>
                  <a:gd name="connsiteY51" fmla="*/ 852526 h 923888"/>
                  <a:gd name="connsiteX52" fmla="*/ 231250 w 923646"/>
                  <a:gd name="connsiteY52" fmla="*/ 902209 h 923888"/>
                  <a:gd name="connsiteX53" fmla="*/ 252930 w 923646"/>
                  <a:gd name="connsiteY53" fmla="*/ 923888 h 923888"/>
                  <a:gd name="connsiteX54" fmla="*/ 345069 w 923646"/>
                  <a:gd name="connsiteY54" fmla="*/ 923888 h 923888"/>
                  <a:gd name="connsiteX55" fmla="*/ 366748 w 923646"/>
                  <a:gd name="connsiteY55" fmla="*/ 902209 h 923888"/>
                  <a:gd name="connsiteX56" fmla="*/ 366748 w 923646"/>
                  <a:gd name="connsiteY56" fmla="*/ 852526 h 923888"/>
                  <a:gd name="connsiteX57" fmla="*/ 411914 w 923646"/>
                  <a:gd name="connsiteY57" fmla="*/ 833556 h 923888"/>
                  <a:gd name="connsiteX58" fmla="*/ 447144 w 923646"/>
                  <a:gd name="connsiteY58" fmla="*/ 868786 h 923888"/>
                  <a:gd name="connsiteX59" fmla="*/ 462501 w 923646"/>
                  <a:gd name="connsiteY59" fmla="*/ 875109 h 923888"/>
                  <a:gd name="connsiteX60" fmla="*/ 477857 w 923646"/>
                  <a:gd name="connsiteY60" fmla="*/ 868786 h 923888"/>
                  <a:gd name="connsiteX61" fmla="*/ 542896 w 923646"/>
                  <a:gd name="connsiteY61" fmla="*/ 802844 h 923888"/>
                  <a:gd name="connsiteX62" fmla="*/ 542896 w 923646"/>
                  <a:gd name="connsiteY62" fmla="*/ 772131 h 923888"/>
                  <a:gd name="connsiteX63" fmla="*/ 507667 w 923646"/>
                  <a:gd name="connsiteY63" fmla="*/ 736901 h 923888"/>
                  <a:gd name="connsiteX64" fmla="*/ 517603 w 923646"/>
                  <a:gd name="connsiteY64" fmla="*/ 717028 h 923888"/>
                  <a:gd name="connsiteX65" fmla="*/ 600709 w 923646"/>
                  <a:gd name="connsiteY65" fmla="*/ 683605 h 923888"/>
                  <a:gd name="connsiteX66" fmla="*/ 605225 w 923646"/>
                  <a:gd name="connsiteY66" fmla="*/ 664636 h 923888"/>
                  <a:gd name="connsiteX67" fmla="*/ 586255 w 923646"/>
                  <a:gd name="connsiteY67" fmla="*/ 660119 h 923888"/>
                  <a:gd name="connsiteX68" fmla="*/ 461597 w 923646"/>
                  <a:gd name="connsiteY68" fmla="*/ 695348 h 923888"/>
                  <a:gd name="connsiteX69" fmla="*/ 227637 w 923646"/>
                  <a:gd name="connsiteY69" fmla="*/ 460485 h 923888"/>
                  <a:gd name="connsiteX70" fmla="*/ 297192 w 923646"/>
                  <a:gd name="connsiteY70" fmla="*/ 295177 h 923888"/>
                  <a:gd name="connsiteX71" fmla="*/ 462501 w 923646"/>
                  <a:gd name="connsiteY71" fmla="*/ 227428 h 923888"/>
                  <a:gd name="connsiteX72" fmla="*/ 463404 w 923646"/>
                  <a:gd name="connsiteY72" fmla="*/ 227428 h 923888"/>
                  <a:gd name="connsiteX73" fmla="*/ 697364 w 923646"/>
                  <a:gd name="connsiteY73" fmla="*/ 462291 h 923888"/>
                  <a:gd name="connsiteX74" fmla="*/ 633228 w 923646"/>
                  <a:gd name="connsiteY74" fmla="*/ 622179 h 923888"/>
                  <a:gd name="connsiteX75" fmla="*/ 634132 w 923646"/>
                  <a:gd name="connsiteY75" fmla="*/ 641149 h 923888"/>
                  <a:gd name="connsiteX76" fmla="*/ 653101 w 923646"/>
                  <a:gd name="connsiteY76" fmla="*/ 640246 h 923888"/>
                  <a:gd name="connsiteX77" fmla="*/ 688331 w 923646"/>
                  <a:gd name="connsiteY77" fmla="*/ 593273 h 923888"/>
                  <a:gd name="connsiteX78" fmla="*/ 785890 w 923646"/>
                  <a:gd name="connsiteY78" fmla="*/ 553527 h 923888"/>
                  <a:gd name="connsiteX79" fmla="*/ 797633 w 923646"/>
                  <a:gd name="connsiteY79" fmla="*/ 541784 h 923888"/>
                  <a:gd name="connsiteX80" fmla="*/ 797633 w 923646"/>
                  <a:gd name="connsiteY80" fmla="*/ 525524 h 923888"/>
                  <a:gd name="connsiteX81" fmla="*/ 778663 w 923646"/>
                  <a:gd name="connsiteY81" fmla="*/ 479455 h 923888"/>
                  <a:gd name="connsiteX82" fmla="*/ 812989 w 923646"/>
                  <a:gd name="connsiteY82" fmla="*/ 445128 h 923888"/>
                  <a:gd name="connsiteX83" fmla="*/ 859059 w 923646"/>
                  <a:gd name="connsiteY83" fmla="*/ 464098 h 923888"/>
                  <a:gd name="connsiteX84" fmla="*/ 875318 w 923646"/>
                  <a:gd name="connsiteY84" fmla="*/ 464098 h 923888"/>
                  <a:gd name="connsiteX85" fmla="*/ 887062 w 923646"/>
                  <a:gd name="connsiteY85" fmla="*/ 452355 h 923888"/>
                  <a:gd name="connsiteX86" fmla="*/ 922291 w 923646"/>
                  <a:gd name="connsiteY86" fmla="*/ 366539 h 923888"/>
                  <a:gd name="connsiteX87" fmla="*/ 922291 w 923646"/>
                  <a:gd name="connsiteY87" fmla="*/ 350279 h 923888"/>
                  <a:gd name="connsiteX88" fmla="*/ 908741 w 923646"/>
                  <a:gd name="connsiteY88" fmla="*/ 338536 h 923888"/>
                  <a:gd name="connsiteX89" fmla="*/ 908741 w 923646"/>
                  <a:gd name="connsiteY89" fmla="*/ 338536 h 923888"/>
                  <a:gd name="connsiteX90" fmla="*/ 404688 w 923646"/>
                  <a:gd name="connsiteY90" fmla="*/ 717028 h 923888"/>
                  <a:gd name="connsiteX91" fmla="*/ 295386 w 923646"/>
                  <a:gd name="connsiteY91" fmla="*/ 767614 h 923888"/>
                  <a:gd name="connsiteX92" fmla="*/ 151758 w 923646"/>
                  <a:gd name="connsiteY92" fmla="*/ 623986 h 923888"/>
                  <a:gd name="connsiteX93" fmla="*/ 202344 w 923646"/>
                  <a:gd name="connsiteY93" fmla="*/ 514684 h 923888"/>
                  <a:gd name="connsiteX94" fmla="*/ 208667 w 923646"/>
                  <a:gd name="connsiteY94" fmla="*/ 539074 h 923888"/>
                  <a:gd name="connsiteX95" fmla="*/ 174341 w 923646"/>
                  <a:gd name="connsiteY95" fmla="*/ 623986 h 923888"/>
                  <a:gd name="connsiteX96" fmla="*/ 295386 w 923646"/>
                  <a:gd name="connsiteY96" fmla="*/ 745935 h 923888"/>
                  <a:gd name="connsiteX97" fmla="*/ 380298 w 923646"/>
                  <a:gd name="connsiteY97" fmla="*/ 711608 h 923888"/>
                  <a:gd name="connsiteX98" fmla="*/ 404688 w 923646"/>
                  <a:gd name="connsiteY98" fmla="*/ 717028 h 923888"/>
                  <a:gd name="connsiteX99" fmla="*/ 404688 w 923646"/>
                  <a:gd name="connsiteY99" fmla="*/ 717028 h 923888"/>
                  <a:gd name="connsiteX100" fmla="*/ 459790 w 923646"/>
                  <a:gd name="connsiteY100" fmla="*/ 723351 h 923888"/>
                  <a:gd name="connsiteX101" fmla="*/ 482373 w 923646"/>
                  <a:gd name="connsiteY101" fmla="*/ 722448 h 923888"/>
                  <a:gd name="connsiteX102" fmla="*/ 479663 w 923646"/>
                  <a:gd name="connsiteY102" fmla="*/ 727868 h 923888"/>
                  <a:gd name="connsiteX103" fmla="*/ 483277 w 923646"/>
                  <a:gd name="connsiteY103" fmla="*/ 754064 h 923888"/>
                  <a:gd name="connsiteX104" fmla="*/ 517603 w 923646"/>
                  <a:gd name="connsiteY104" fmla="*/ 788390 h 923888"/>
                  <a:gd name="connsiteX105" fmla="*/ 459790 w 923646"/>
                  <a:gd name="connsiteY105" fmla="*/ 846203 h 923888"/>
                  <a:gd name="connsiteX106" fmla="*/ 425464 w 923646"/>
                  <a:gd name="connsiteY106" fmla="*/ 811877 h 923888"/>
                  <a:gd name="connsiteX107" fmla="*/ 399268 w 923646"/>
                  <a:gd name="connsiteY107" fmla="*/ 808263 h 923888"/>
                  <a:gd name="connsiteX108" fmla="*/ 352295 w 923646"/>
                  <a:gd name="connsiteY108" fmla="*/ 827233 h 923888"/>
                  <a:gd name="connsiteX109" fmla="*/ 336036 w 923646"/>
                  <a:gd name="connsiteY109" fmla="*/ 848010 h 923888"/>
                  <a:gd name="connsiteX110" fmla="*/ 336036 w 923646"/>
                  <a:gd name="connsiteY110" fmla="*/ 896789 h 923888"/>
                  <a:gd name="connsiteX111" fmla="*/ 254737 w 923646"/>
                  <a:gd name="connsiteY111" fmla="*/ 896789 h 923888"/>
                  <a:gd name="connsiteX112" fmla="*/ 254737 w 923646"/>
                  <a:gd name="connsiteY112" fmla="*/ 848010 h 923888"/>
                  <a:gd name="connsiteX113" fmla="*/ 238477 w 923646"/>
                  <a:gd name="connsiteY113" fmla="*/ 827233 h 923888"/>
                  <a:gd name="connsiteX114" fmla="*/ 191504 w 923646"/>
                  <a:gd name="connsiteY114" fmla="*/ 808263 h 923888"/>
                  <a:gd name="connsiteX115" fmla="*/ 165308 w 923646"/>
                  <a:gd name="connsiteY115" fmla="*/ 811877 h 923888"/>
                  <a:gd name="connsiteX116" fmla="*/ 130982 w 923646"/>
                  <a:gd name="connsiteY116" fmla="*/ 846203 h 923888"/>
                  <a:gd name="connsiteX117" fmla="*/ 73169 w 923646"/>
                  <a:gd name="connsiteY117" fmla="*/ 788390 h 923888"/>
                  <a:gd name="connsiteX118" fmla="*/ 107495 w 923646"/>
                  <a:gd name="connsiteY118" fmla="*/ 754064 h 923888"/>
                  <a:gd name="connsiteX119" fmla="*/ 111108 w 923646"/>
                  <a:gd name="connsiteY119" fmla="*/ 727868 h 923888"/>
                  <a:gd name="connsiteX120" fmla="*/ 92139 w 923646"/>
                  <a:gd name="connsiteY120" fmla="*/ 680895 h 923888"/>
                  <a:gd name="connsiteX121" fmla="*/ 71362 w 923646"/>
                  <a:gd name="connsiteY121" fmla="*/ 664636 h 923888"/>
                  <a:gd name="connsiteX122" fmla="*/ 22583 w 923646"/>
                  <a:gd name="connsiteY122" fmla="*/ 664636 h 923888"/>
                  <a:gd name="connsiteX123" fmla="*/ 22583 w 923646"/>
                  <a:gd name="connsiteY123" fmla="*/ 582433 h 923888"/>
                  <a:gd name="connsiteX124" fmla="*/ 71362 w 923646"/>
                  <a:gd name="connsiteY124" fmla="*/ 582433 h 923888"/>
                  <a:gd name="connsiteX125" fmla="*/ 92139 w 923646"/>
                  <a:gd name="connsiteY125" fmla="*/ 566173 h 923888"/>
                  <a:gd name="connsiteX126" fmla="*/ 111108 w 923646"/>
                  <a:gd name="connsiteY126" fmla="*/ 519200 h 923888"/>
                  <a:gd name="connsiteX127" fmla="*/ 107495 w 923646"/>
                  <a:gd name="connsiteY127" fmla="*/ 493005 h 923888"/>
                  <a:gd name="connsiteX128" fmla="*/ 73169 w 923646"/>
                  <a:gd name="connsiteY128" fmla="*/ 458678 h 923888"/>
                  <a:gd name="connsiteX129" fmla="*/ 130982 w 923646"/>
                  <a:gd name="connsiteY129" fmla="*/ 400866 h 923888"/>
                  <a:gd name="connsiteX130" fmla="*/ 165308 w 923646"/>
                  <a:gd name="connsiteY130" fmla="*/ 435192 h 923888"/>
                  <a:gd name="connsiteX131" fmla="*/ 191504 w 923646"/>
                  <a:gd name="connsiteY131" fmla="*/ 438805 h 923888"/>
                  <a:gd name="connsiteX132" fmla="*/ 197827 w 923646"/>
                  <a:gd name="connsiteY132" fmla="*/ 435192 h 923888"/>
                  <a:gd name="connsiteX133" fmla="*/ 196924 w 923646"/>
                  <a:gd name="connsiteY133" fmla="*/ 459581 h 923888"/>
                  <a:gd name="connsiteX134" fmla="*/ 197827 w 923646"/>
                  <a:gd name="connsiteY134" fmla="*/ 482165 h 923888"/>
                  <a:gd name="connsiteX135" fmla="*/ 124658 w 923646"/>
                  <a:gd name="connsiteY135" fmla="*/ 622179 h 923888"/>
                  <a:gd name="connsiteX136" fmla="*/ 295386 w 923646"/>
                  <a:gd name="connsiteY136" fmla="*/ 792907 h 923888"/>
                  <a:gd name="connsiteX137" fmla="*/ 434497 w 923646"/>
                  <a:gd name="connsiteY137" fmla="*/ 719738 h 923888"/>
                  <a:gd name="connsiteX138" fmla="*/ 459790 w 923646"/>
                  <a:gd name="connsiteY138" fmla="*/ 723351 h 923888"/>
                  <a:gd name="connsiteX139" fmla="*/ 459790 w 923646"/>
                  <a:gd name="connsiteY139" fmla="*/ 723351 h 923888"/>
                  <a:gd name="connsiteX140" fmla="*/ 459790 w 923646"/>
                  <a:gd name="connsiteY140" fmla="*/ 723351 h 923888"/>
                  <a:gd name="connsiteX141" fmla="*/ 352295 w 923646"/>
                  <a:gd name="connsiteY141" fmla="*/ 699865 h 923888"/>
                  <a:gd name="connsiteX142" fmla="*/ 296289 w 923646"/>
                  <a:gd name="connsiteY142" fmla="*/ 717931 h 923888"/>
                  <a:gd name="connsiteX143" fmla="*/ 202344 w 923646"/>
                  <a:gd name="connsiteY143" fmla="*/ 623082 h 923888"/>
                  <a:gd name="connsiteX144" fmla="*/ 221314 w 923646"/>
                  <a:gd name="connsiteY144" fmla="*/ 567076 h 923888"/>
                  <a:gd name="connsiteX145" fmla="*/ 352295 w 923646"/>
                  <a:gd name="connsiteY145" fmla="*/ 699865 h 923888"/>
                  <a:gd name="connsiteX146" fmla="*/ 387525 w 923646"/>
                  <a:gd name="connsiteY146" fmla="*/ 153355 h 923888"/>
                  <a:gd name="connsiteX147" fmla="*/ 406495 w 923646"/>
                  <a:gd name="connsiteY147" fmla="*/ 160582 h 923888"/>
                  <a:gd name="connsiteX148" fmla="*/ 402881 w 923646"/>
                  <a:gd name="connsiteY148" fmla="*/ 173228 h 923888"/>
                  <a:gd name="connsiteX149" fmla="*/ 402881 w 923646"/>
                  <a:gd name="connsiteY149" fmla="*/ 205748 h 923888"/>
                  <a:gd name="connsiteX150" fmla="*/ 359522 w 923646"/>
                  <a:gd name="connsiteY150" fmla="*/ 219298 h 923888"/>
                  <a:gd name="connsiteX151" fmla="*/ 387525 w 923646"/>
                  <a:gd name="connsiteY151" fmla="*/ 153355 h 923888"/>
                  <a:gd name="connsiteX152" fmla="*/ 458887 w 923646"/>
                  <a:gd name="connsiteY152" fmla="*/ 200328 h 923888"/>
                  <a:gd name="connsiteX153" fmla="*/ 429981 w 923646"/>
                  <a:gd name="connsiteY153" fmla="*/ 202135 h 923888"/>
                  <a:gd name="connsiteX154" fmla="*/ 429981 w 923646"/>
                  <a:gd name="connsiteY154" fmla="*/ 173228 h 923888"/>
                  <a:gd name="connsiteX155" fmla="*/ 430884 w 923646"/>
                  <a:gd name="connsiteY155" fmla="*/ 172325 h 923888"/>
                  <a:gd name="connsiteX156" fmla="*/ 475147 w 923646"/>
                  <a:gd name="connsiteY156" fmla="*/ 172325 h 923888"/>
                  <a:gd name="connsiteX157" fmla="*/ 476051 w 923646"/>
                  <a:gd name="connsiteY157" fmla="*/ 173228 h 923888"/>
                  <a:gd name="connsiteX158" fmla="*/ 476051 w 923646"/>
                  <a:gd name="connsiteY158" fmla="*/ 200328 h 923888"/>
                  <a:gd name="connsiteX159" fmla="*/ 458887 w 923646"/>
                  <a:gd name="connsiteY159" fmla="*/ 200328 h 923888"/>
                  <a:gd name="connsiteX160" fmla="*/ 458887 w 923646"/>
                  <a:gd name="connsiteY160" fmla="*/ 200328 h 923888"/>
                  <a:gd name="connsiteX161" fmla="*/ 574512 w 923646"/>
                  <a:gd name="connsiteY161" fmla="*/ 226525 h 923888"/>
                  <a:gd name="connsiteX162" fmla="*/ 592579 w 923646"/>
                  <a:gd name="connsiteY162" fmla="*/ 216588 h 923888"/>
                  <a:gd name="connsiteX163" fmla="*/ 703687 w 923646"/>
                  <a:gd name="connsiteY163" fmla="*/ 262658 h 923888"/>
                  <a:gd name="connsiteX164" fmla="*/ 693751 w 923646"/>
                  <a:gd name="connsiteY164" fmla="*/ 344860 h 923888"/>
                  <a:gd name="connsiteX165" fmla="*/ 574512 w 923646"/>
                  <a:gd name="connsiteY165" fmla="*/ 226525 h 923888"/>
                  <a:gd name="connsiteX166" fmla="*/ 574512 w 923646"/>
                  <a:gd name="connsiteY166" fmla="*/ 226525 h 923888"/>
                  <a:gd name="connsiteX167" fmla="*/ 861768 w 923646"/>
                  <a:gd name="connsiteY167" fmla="*/ 436998 h 923888"/>
                  <a:gd name="connsiteX168" fmla="*/ 816602 w 923646"/>
                  <a:gd name="connsiteY168" fmla="*/ 418028 h 923888"/>
                  <a:gd name="connsiteX169" fmla="*/ 791309 w 923646"/>
                  <a:gd name="connsiteY169" fmla="*/ 424352 h 923888"/>
                  <a:gd name="connsiteX170" fmla="*/ 755177 w 923646"/>
                  <a:gd name="connsiteY170" fmla="*/ 460485 h 923888"/>
                  <a:gd name="connsiteX171" fmla="*/ 748853 w 923646"/>
                  <a:gd name="connsiteY171" fmla="*/ 485777 h 923888"/>
                  <a:gd name="connsiteX172" fmla="*/ 767823 w 923646"/>
                  <a:gd name="connsiteY172" fmla="*/ 530040 h 923888"/>
                  <a:gd name="connsiteX173" fmla="*/ 702784 w 923646"/>
                  <a:gd name="connsiteY173" fmla="*/ 557140 h 923888"/>
                  <a:gd name="connsiteX174" fmla="*/ 720850 w 923646"/>
                  <a:gd name="connsiteY174" fmla="*/ 461388 h 923888"/>
                  <a:gd name="connsiteX175" fmla="*/ 718141 w 923646"/>
                  <a:gd name="connsiteY175" fmla="*/ 425255 h 923888"/>
                  <a:gd name="connsiteX176" fmla="*/ 777760 w 923646"/>
                  <a:gd name="connsiteY176" fmla="*/ 343956 h 923888"/>
                  <a:gd name="connsiteX177" fmla="*/ 773243 w 923646"/>
                  <a:gd name="connsiteY177" fmla="*/ 232847 h 923888"/>
                  <a:gd name="connsiteX178" fmla="*/ 675684 w 923646"/>
                  <a:gd name="connsiteY178" fmla="*/ 141612 h 923888"/>
                  <a:gd name="connsiteX179" fmla="*/ 658521 w 923646"/>
                  <a:gd name="connsiteY179" fmla="*/ 149742 h 923888"/>
                  <a:gd name="connsiteX180" fmla="*/ 666651 w 923646"/>
                  <a:gd name="connsiteY180" fmla="*/ 166905 h 923888"/>
                  <a:gd name="connsiteX181" fmla="*/ 747950 w 923646"/>
                  <a:gd name="connsiteY181" fmla="*/ 242784 h 923888"/>
                  <a:gd name="connsiteX182" fmla="*/ 711817 w 923646"/>
                  <a:gd name="connsiteY182" fmla="*/ 395445 h 923888"/>
                  <a:gd name="connsiteX183" fmla="*/ 704591 w 923646"/>
                  <a:gd name="connsiteY183" fmla="*/ 371959 h 923888"/>
                  <a:gd name="connsiteX184" fmla="*/ 727174 w 923646"/>
                  <a:gd name="connsiteY184" fmla="*/ 251818 h 923888"/>
                  <a:gd name="connsiteX185" fmla="*/ 580836 w 923646"/>
                  <a:gd name="connsiteY185" fmla="*/ 191295 h 923888"/>
                  <a:gd name="connsiteX186" fmla="*/ 545606 w 923646"/>
                  <a:gd name="connsiteY186" fmla="*/ 214781 h 923888"/>
                  <a:gd name="connsiteX187" fmla="*/ 522120 w 923646"/>
                  <a:gd name="connsiteY187" fmla="*/ 207555 h 923888"/>
                  <a:gd name="connsiteX188" fmla="*/ 572706 w 923646"/>
                  <a:gd name="connsiteY188" fmla="*/ 171422 h 923888"/>
                  <a:gd name="connsiteX189" fmla="*/ 609742 w 923646"/>
                  <a:gd name="connsiteY189" fmla="*/ 162389 h 923888"/>
                  <a:gd name="connsiteX190" fmla="*/ 621485 w 923646"/>
                  <a:gd name="connsiteY190" fmla="*/ 147936 h 923888"/>
                  <a:gd name="connsiteX191" fmla="*/ 607032 w 923646"/>
                  <a:gd name="connsiteY191" fmla="*/ 136193 h 923888"/>
                  <a:gd name="connsiteX192" fmla="*/ 562769 w 923646"/>
                  <a:gd name="connsiteY192" fmla="*/ 147936 h 923888"/>
                  <a:gd name="connsiteX193" fmla="*/ 503150 w 923646"/>
                  <a:gd name="connsiteY193" fmla="*/ 190392 h 923888"/>
                  <a:gd name="connsiteX194" fmla="*/ 503150 w 923646"/>
                  <a:gd name="connsiteY194" fmla="*/ 173228 h 923888"/>
                  <a:gd name="connsiteX195" fmla="*/ 475147 w 923646"/>
                  <a:gd name="connsiteY195" fmla="*/ 145226 h 923888"/>
                  <a:gd name="connsiteX196" fmla="*/ 494117 w 923646"/>
                  <a:gd name="connsiteY196" fmla="*/ 128966 h 923888"/>
                  <a:gd name="connsiteX197" fmla="*/ 500440 w 923646"/>
                  <a:gd name="connsiteY197" fmla="*/ 103673 h 923888"/>
                  <a:gd name="connsiteX198" fmla="*/ 481470 w 923646"/>
                  <a:gd name="connsiteY198" fmla="*/ 59410 h 923888"/>
                  <a:gd name="connsiteX199" fmla="*/ 557349 w 923646"/>
                  <a:gd name="connsiteY199" fmla="*/ 27794 h 923888"/>
                  <a:gd name="connsiteX200" fmla="*/ 576319 w 923646"/>
                  <a:gd name="connsiteY200" fmla="*/ 72960 h 923888"/>
                  <a:gd name="connsiteX201" fmla="*/ 598902 w 923646"/>
                  <a:gd name="connsiteY201" fmla="*/ 86510 h 923888"/>
                  <a:gd name="connsiteX202" fmla="*/ 649488 w 923646"/>
                  <a:gd name="connsiteY202" fmla="*/ 86510 h 923888"/>
                  <a:gd name="connsiteX203" fmla="*/ 672071 w 923646"/>
                  <a:gd name="connsiteY203" fmla="*/ 72960 h 923888"/>
                  <a:gd name="connsiteX204" fmla="*/ 691041 w 923646"/>
                  <a:gd name="connsiteY204" fmla="*/ 27794 h 923888"/>
                  <a:gd name="connsiteX205" fmla="*/ 766920 w 923646"/>
                  <a:gd name="connsiteY205" fmla="*/ 59410 h 923888"/>
                  <a:gd name="connsiteX206" fmla="*/ 747950 w 923646"/>
                  <a:gd name="connsiteY206" fmla="*/ 103673 h 923888"/>
                  <a:gd name="connsiteX207" fmla="*/ 754273 w 923646"/>
                  <a:gd name="connsiteY207" fmla="*/ 128966 h 923888"/>
                  <a:gd name="connsiteX208" fmla="*/ 790406 w 923646"/>
                  <a:gd name="connsiteY208" fmla="*/ 165098 h 923888"/>
                  <a:gd name="connsiteX209" fmla="*/ 815699 w 923646"/>
                  <a:gd name="connsiteY209" fmla="*/ 171422 h 923888"/>
                  <a:gd name="connsiteX210" fmla="*/ 860865 w 923646"/>
                  <a:gd name="connsiteY210" fmla="*/ 152452 h 923888"/>
                  <a:gd name="connsiteX211" fmla="*/ 892482 w 923646"/>
                  <a:gd name="connsiteY211" fmla="*/ 228331 h 923888"/>
                  <a:gd name="connsiteX212" fmla="*/ 847315 w 923646"/>
                  <a:gd name="connsiteY212" fmla="*/ 246397 h 923888"/>
                  <a:gd name="connsiteX213" fmla="*/ 833766 w 923646"/>
                  <a:gd name="connsiteY213" fmla="*/ 268980 h 923888"/>
                  <a:gd name="connsiteX214" fmla="*/ 833766 w 923646"/>
                  <a:gd name="connsiteY214" fmla="*/ 319567 h 923888"/>
                  <a:gd name="connsiteX215" fmla="*/ 847315 w 923646"/>
                  <a:gd name="connsiteY215" fmla="*/ 342150 h 923888"/>
                  <a:gd name="connsiteX216" fmla="*/ 892482 w 923646"/>
                  <a:gd name="connsiteY216" fmla="*/ 361119 h 923888"/>
                  <a:gd name="connsiteX217" fmla="*/ 861768 w 923646"/>
                  <a:gd name="connsiteY217" fmla="*/ 436998 h 92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923646" h="923888">
                    <a:moveTo>
                      <a:pt x="908741" y="338536"/>
                    </a:moveTo>
                    <a:lnTo>
                      <a:pt x="862672" y="319567"/>
                    </a:lnTo>
                    <a:cubicBezTo>
                      <a:pt x="864479" y="303307"/>
                      <a:pt x="864479" y="287047"/>
                      <a:pt x="862672" y="270787"/>
                    </a:cubicBezTo>
                    <a:lnTo>
                      <a:pt x="908741" y="251818"/>
                    </a:lnTo>
                    <a:cubicBezTo>
                      <a:pt x="914161" y="250011"/>
                      <a:pt x="918678" y="245494"/>
                      <a:pt x="920484" y="240074"/>
                    </a:cubicBezTo>
                    <a:cubicBezTo>
                      <a:pt x="922291" y="234654"/>
                      <a:pt x="922291" y="229235"/>
                      <a:pt x="920484" y="223814"/>
                    </a:cubicBezTo>
                    <a:lnTo>
                      <a:pt x="885255" y="137999"/>
                    </a:lnTo>
                    <a:cubicBezTo>
                      <a:pt x="883448" y="132579"/>
                      <a:pt x="878932" y="128062"/>
                      <a:pt x="873512" y="126256"/>
                    </a:cubicBezTo>
                    <a:cubicBezTo>
                      <a:pt x="868092" y="124449"/>
                      <a:pt x="861768" y="124449"/>
                      <a:pt x="857252" y="126256"/>
                    </a:cubicBezTo>
                    <a:lnTo>
                      <a:pt x="811183" y="145226"/>
                    </a:lnTo>
                    <a:cubicBezTo>
                      <a:pt x="801246" y="132579"/>
                      <a:pt x="789503" y="120836"/>
                      <a:pt x="776856" y="110899"/>
                    </a:cubicBezTo>
                    <a:lnTo>
                      <a:pt x="795826" y="64830"/>
                    </a:lnTo>
                    <a:cubicBezTo>
                      <a:pt x="797633" y="59410"/>
                      <a:pt x="797633" y="53990"/>
                      <a:pt x="795826" y="48570"/>
                    </a:cubicBezTo>
                    <a:cubicBezTo>
                      <a:pt x="794019" y="43150"/>
                      <a:pt x="789503" y="38633"/>
                      <a:pt x="784083" y="36827"/>
                    </a:cubicBezTo>
                    <a:lnTo>
                      <a:pt x="698267" y="1597"/>
                    </a:lnTo>
                    <a:cubicBezTo>
                      <a:pt x="687427" y="-2919"/>
                      <a:pt x="674781" y="2500"/>
                      <a:pt x="669361" y="13340"/>
                    </a:cubicBezTo>
                    <a:lnTo>
                      <a:pt x="650391" y="59410"/>
                    </a:lnTo>
                    <a:cubicBezTo>
                      <a:pt x="634132" y="57603"/>
                      <a:pt x="617872" y="57603"/>
                      <a:pt x="601612" y="59410"/>
                    </a:cubicBezTo>
                    <a:lnTo>
                      <a:pt x="582642" y="13340"/>
                    </a:lnTo>
                    <a:cubicBezTo>
                      <a:pt x="578126" y="2500"/>
                      <a:pt x="565479" y="-2919"/>
                      <a:pt x="554639" y="1597"/>
                    </a:cubicBezTo>
                    <a:lnTo>
                      <a:pt x="468824" y="36827"/>
                    </a:lnTo>
                    <a:cubicBezTo>
                      <a:pt x="463404" y="38633"/>
                      <a:pt x="458887" y="43150"/>
                      <a:pt x="457080" y="48570"/>
                    </a:cubicBezTo>
                    <a:cubicBezTo>
                      <a:pt x="455274" y="53990"/>
                      <a:pt x="455274" y="59410"/>
                      <a:pt x="457080" y="64830"/>
                    </a:cubicBezTo>
                    <a:lnTo>
                      <a:pt x="476051" y="110899"/>
                    </a:lnTo>
                    <a:cubicBezTo>
                      <a:pt x="463404" y="120836"/>
                      <a:pt x="451661" y="132579"/>
                      <a:pt x="441724" y="145226"/>
                    </a:cubicBezTo>
                    <a:lnTo>
                      <a:pt x="395655" y="126256"/>
                    </a:lnTo>
                    <a:cubicBezTo>
                      <a:pt x="390235" y="124449"/>
                      <a:pt x="383912" y="124449"/>
                      <a:pt x="379395" y="126256"/>
                    </a:cubicBezTo>
                    <a:cubicBezTo>
                      <a:pt x="373975" y="128062"/>
                      <a:pt x="369458" y="132579"/>
                      <a:pt x="367652" y="137999"/>
                    </a:cubicBezTo>
                    <a:lnTo>
                      <a:pt x="325196" y="239171"/>
                    </a:lnTo>
                    <a:cubicBezTo>
                      <a:pt x="308032" y="250011"/>
                      <a:pt x="291773" y="261754"/>
                      <a:pt x="277320" y="276207"/>
                    </a:cubicBezTo>
                    <a:cubicBezTo>
                      <a:pt x="241187" y="311437"/>
                      <a:pt x="217700" y="355700"/>
                      <a:pt x="206860" y="403575"/>
                    </a:cubicBezTo>
                    <a:cubicBezTo>
                      <a:pt x="199634" y="406285"/>
                      <a:pt x="192407" y="409899"/>
                      <a:pt x="186084" y="413512"/>
                    </a:cubicBezTo>
                    <a:lnTo>
                      <a:pt x="150855" y="378283"/>
                    </a:lnTo>
                    <a:cubicBezTo>
                      <a:pt x="146338" y="373766"/>
                      <a:pt x="140918" y="371959"/>
                      <a:pt x="135498" y="371959"/>
                    </a:cubicBezTo>
                    <a:cubicBezTo>
                      <a:pt x="130078" y="371959"/>
                      <a:pt x="124658" y="374669"/>
                      <a:pt x="120142" y="378283"/>
                    </a:cubicBezTo>
                    <a:lnTo>
                      <a:pt x="55102" y="444225"/>
                    </a:lnTo>
                    <a:cubicBezTo>
                      <a:pt x="46973" y="452355"/>
                      <a:pt x="46973" y="466808"/>
                      <a:pt x="55102" y="474938"/>
                    </a:cubicBezTo>
                    <a:lnTo>
                      <a:pt x="90332" y="510167"/>
                    </a:lnTo>
                    <a:cubicBezTo>
                      <a:pt x="82202" y="524621"/>
                      <a:pt x="75879" y="539977"/>
                      <a:pt x="71362" y="555333"/>
                    </a:cubicBezTo>
                    <a:lnTo>
                      <a:pt x="21679" y="555333"/>
                    </a:lnTo>
                    <a:cubicBezTo>
                      <a:pt x="9936" y="555333"/>
                      <a:pt x="0" y="565270"/>
                      <a:pt x="0" y="577013"/>
                    </a:cubicBezTo>
                    <a:lnTo>
                      <a:pt x="0" y="670055"/>
                    </a:lnTo>
                    <a:cubicBezTo>
                      <a:pt x="0" y="681798"/>
                      <a:pt x="9936" y="691735"/>
                      <a:pt x="21679" y="691735"/>
                    </a:cubicBezTo>
                    <a:lnTo>
                      <a:pt x="71362" y="691735"/>
                    </a:lnTo>
                    <a:cubicBezTo>
                      <a:pt x="75879" y="707091"/>
                      <a:pt x="82202" y="722448"/>
                      <a:pt x="90332" y="736901"/>
                    </a:cubicBezTo>
                    <a:lnTo>
                      <a:pt x="55102" y="772131"/>
                    </a:lnTo>
                    <a:cubicBezTo>
                      <a:pt x="46973" y="780261"/>
                      <a:pt x="46973" y="794714"/>
                      <a:pt x="55102" y="802844"/>
                    </a:cubicBezTo>
                    <a:lnTo>
                      <a:pt x="120142" y="868786"/>
                    </a:lnTo>
                    <a:cubicBezTo>
                      <a:pt x="124658" y="873303"/>
                      <a:pt x="130078" y="875109"/>
                      <a:pt x="135498" y="875109"/>
                    </a:cubicBezTo>
                    <a:cubicBezTo>
                      <a:pt x="140918" y="875109"/>
                      <a:pt x="146338" y="872400"/>
                      <a:pt x="150855" y="868786"/>
                    </a:cubicBezTo>
                    <a:lnTo>
                      <a:pt x="186084" y="833556"/>
                    </a:lnTo>
                    <a:cubicBezTo>
                      <a:pt x="200537" y="841686"/>
                      <a:pt x="215894" y="848010"/>
                      <a:pt x="231250" y="852526"/>
                    </a:cubicBezTo>
                    <a:lnTo>
                      <a:pt x="231250" y="902209"/>
                    </a:lnTo>
                    <a:cubicBezTo>
                      <a:pt x="231250" y="913952"/>
                      <a:pt x="241187" y="923888"/>
                      <a:pt x="252930" y="923888"/>
                    </a:cubicBezTo>
                    <a:lnTo>
                      <a:pt x="345069" y="923888"/>
                    </a:lnTo>
                    <a:cubicBezTo>
                      <a:pt x="356812" y="923888"/>
                      <a:pt x="366748" y="913952"/>
                      <a:pt x="366748" y="902209"/>
                    </a:cubicBezTo>
                    <a:lnTo>
                      <a:pt x="366748" y="852526"/>
                    </a:lnTo>
                    <a:cubicBezTo>
                      <a:pt x="382105" y="848010"/>
                      <a:pt x="397461" y="841686"/>
                      <a:pt x="411914" y="833556"/>
                    </a:cubicBezTo>
                    <a:lnTo>
                      <a:pt x="447144" y="868786"/>
                    </a:lnTo>
                    <a:cubicBezTo>
                      <a:pt x="451661" y="873303"/>
                      <a:pt x="457080" y="875109"/>
                      <a:pt x="462501" y="875109"/>
                    </a:cubicBezTo>
                    <a:cubicBezTo>
                      <a:pt x="467920" y="875109"/>
                      <a:pt x="473340" y="872400"/>
                      <a:pt x="477857" y="868786"/>
                    </a:cubicBezTo>
                    <a:lnTo>
                      <a:pt x="542896" y="802844"/>
                    </a:lnTo>
                    <a:cubicBezTo>
                      <a:pt x="551026" y="794714"/>
                      <a:pt x="551026" y="780261"/>
                      <a:pt x="542896" y="772131"/>
                    </a:cubicBezTo>
                    <a:lnTo>
                      <a:pt x="507667" y="736901"/>
                    </a:lnTo>
                    <a:cubicBezTo>
                      <a:pt x="511280" y="730578"/>
                      <a:pt x="513990" y="723351"/>
                      <a:pt x="517603" y="717028"/>
                    </a:cubicBezTo>
                    <a:cubicBezTo>
                      <a:pt x="547413" y="710705"/>
                      <a:pt x="575416" y="698962"/>
                      <a:pt x="600709" y="683605"/>
                    </a:cubicBezTo>
                    <a:cubicBezTo>
                      <a:pt x="607032" y="679992"/>
                      <a:pt x="608838" y="670958"/>
                      <a:pt x="605225" y="664636"/>
                    </a:cubicBezTo>
                    <a:cubicBezTo>
                      <a:pt x="601612" y="658312"/>
                      <a:pt x="592579" y="656505"/>
                      <a:pt x="586255" y="660119"/>
                    </a:cubicBezTo>
                    <a:cubicBezTo>
                      <a:pt x="549219" y="683605"/>
                      <a:pt x="505860" y="696252"/>
                      <a:pt x="461597" y="695348"/>
                    </a:cubicBezTo>
                    <a:cubicBezTo>
                      <a:pt x="332422" y="695348"/>
                      <a:pt x="227637" y="589659"/>
                      <a:pt x="227637" y="460485"/>
                    </a:cubicBezTo>
                    <a:cubicBezTo>
                      <a:pt x="227637" y="398156"/>
                      <a:pt x="252026" y="339440"/>
                      <a:pt x="297192" y="295177"/>
                    </a:cubicBezTo>
                    <a:cubicBezTo>
                      <a:pt x="341455" y="250914"/>
                      <a:pt x="400171" y="227428"/>
                      <a:pt x="462501" y="227428"/>
                    </a:cubicBezTo>
                    <a:cubicBezTo>
                      <a:pt x="462501" y="227428"/>
                      <a:pt x="463404" y="227428"/>
                      <a:pt x="463404" y="227428"/>
                    </a:cubicBezTo>
                    <a:cubicBezTo>
                      <a:pt x="592579" y="227428"/>
                      <a:pt x="697364" y="333116"/>
                      <a:pt x="697364" y="462291"/>
                    </a:cubicBezTo>
                    <a:cubicBezTo>
                      <a:pt x="697364" y="521910"/>
                      <a:pt x="674781" y="578820"/>
                      <a:pt x="633228" y="622179"/>
                    </a:cubicBezTo>
                    <a:cubicBezTo>
                      <a:pt x="627808" y="627599"/>
                      <a:pt x="628712" y="636632"/>
                      <a:pt x="634132" y="641149"/>
                    </a:cubicBezTo>
                    <a:cubicBezTo>
                      <a:pt x="639552" y="646569"/>
                      <a:pt x="648585" y="645666"/>
                      <a:pt x="653101" y="640246"/>
                    </a:cubicBezTo>
                    <a:cubicBezTo>
                      <a:pt x="666651" y="625792"/>
                      <a:pt x="678394" y="610436"/>
                      <a:pt x="688331" y="593273"/>
                    </a:cubicBezTo>
                    <a:lnTo>
                      <a:pt x="785890" y="553527"/>
                    </a:lnTo>
                    <a:cubicBezTo>
                      <a:pt x="791309" y="551720"/>
                      <a:pt x="795826" y="547204"/>
                      <a:pt x="797633" y="541784"/>
                    </a:cubicBezTo>
                    <a:cubicBezTo>
                      <a:pt x="799440" y="536364"/>
                      <a:pt x="799440" y="530040"/>
                      <a:pt x="797633" y="525524"/>
                    </a:cubicBezTo>
                    <a:lnTo>
                      <a:pt x="778663" y="479455"/>
                    </a:lnTo>
                    <a:cubicBezTo>
                      <a:pt x="791309" y="469518"/>
                      <a:pt x="803052" y="457775"/>
                      <a:pt x="812989" y="445128"/>
                    </a:cubicBezTo>
                    <a:lnTo>
                      <a:pt x="859059" y="464098"/>
                    </a:lnTo>
                    <a:cubicBezTo>
                      <a:pt x="864479" y="465905"/>
                      <a:pt x="869898" y="465905"/>
                      <a:pt x="875318" y="464098"/>
                    </a:cubicBezTo>
                    <a:cubicBezTo>
                      <a:pt x="880738" y="462291"/>
                      <a:pt x="885255" y="457775"/>
                      <a:pt x="887062" y="452355"/>
                    </a:cubicBezTo>
                    <a:lnTo>
                      <a:pt x="922291" y="366539"/>
                    </a:lnTo>
                    <a:cubicBezTo>
                      <a:pt x="924098" y="361119"/>
                      <a:pt x="924098" y="354796"/>
                      <a:pt x="922291" y="350279"/>
                    </a:cubicBezTo>
                    <a:cubicBezTo>
                      <a:pt x="917774" y="344860"/>
                      <a:pt x="914161" y="340343"/>
                      <a:pt x="908741" y="338536"/>
                    </a:cubicBezTo>
                    <a:lnTo>
                      <a:pt x="908741" y="338536"/>
                    </a:lnTo>
                    <a:close/>
                    <a:moveTo>
                      <a:pt x="404688" y="717028"/>
                    </a:moveTo>
                    <a:cubicBezTo>
                      <a:pt x="377588" y="748644"/>
                      <a:pt x="337842" y="767614"/>
                      <a:pt x="295386" y="767614"/>
                    </a:cubicBezTo>
                    <a:cubicBezTo>
                      <a:pt x="215894" y="767614"/>
                      <a:pt x="151758" y="702575"/>
                      <a:pt x="151758" y="623986"/>
                    </a:cubicBezTo>
                    <a:cubicBezTo>
                      <a:pt x="151758" y="581530"/>
                      <a:pt x="170727" y="541784"/>
                      <a:pt x="202344" y="514684"/>
                    </a:cubicBezTo>
                    <a:cubicBezTo>
                      <a:pt x="204150" y="522814"/>
                      <a:pt x="205957" y="530944"/>
                      <a:pt x="208667" y="539074"/>
                    </a:cubicBezTo>
                    <a:cubicBezTo>
                      <a:pt x="186084" y="561657"/>
                      <a:pt x="174341" y="592370"/>
                      <a:pt x="174341" y="623986"/>
                    </a:cubicBezTo>
                    <a:cubicBezTo>
                      <a:pt x="174341" y="690832"/>
                      <a:pt x="228540" y="745935"/>
                      <a:pt x="295386" y="745935"/>
                    </a:cubicBezTo>
                    <a:cubicBezTo>
                      <a:pt x="327002" y="745935"/>
                      <a:pt x="357715" y="733288"/>
                      <a:pt x="380298" y="711608"/>
                    </a:cubicBezTo>
                    <a:cubicBezTo>
                      <a:pt x="388428" y="713415"/>
                      <a:pt x="396558" y="715221"/>
                      <a:pt x="404688" y="717028"/>
                    </a:cubicBezTo>
                    <a:lnTo>
                      <a:pt x="404688" y="717028"/>
                    </a:lnTo>
                    <a:close/>
                    <a:moveTo>
                      <a:pt x="459790" y="723351"/>
                    </a:moveTo>
                    <a:cubicBezTo>
                      <a:pt x="467920" y="723351"/>
                      <a:pt x="475147" y="723351"/>
                      <a:pt x="482373" y="722448"/>
                    </a:cubicBezTo>
                    <a:cubicBezTo>
                      <a:pt x="481470" y="724255"/>
                      <a:pt x="480567" y="726061"/>
                      <a:pt x="479663" y="727868"/>
                    </a:cubicBezTo>
                    <a:cubicBezTo>
                      <a:pt x="475147" y="735998"/>
                      <a:pt x="476051" y="746838"/>
                      <a:pt x="483277" y="754064"/>
                    </a:cubicBezTo>
                    <a:lnTo>
                      <a:pt x="517603" y="788390"/>
                    </a:lnTo>
                    <a:lnTo>
                      <a:pt x="459790" y="846203"/>
                    </a:lnTo>
                    <a:lnTo>
                      <a:pt x="425464" y="811877"/>
                    </a:lnTo>
                    <a:cubicBezTo>
                      <a:pt x="418238" y="804650"/>
                      <a:pt x="407398" y="803747"/>
                      <a:pt x="399268" y="808263"/>
                    </a:cubicBezTo>
                    <a:cubicBezTo>
                      <a:pt x="384815" y="816393"/>
                      <a:pt x="368555" y="822717"/>
                      <a:pt x="352295" y="827233"/>
                    </a:cubicBezTo>
                    <a:cubicBezTo>
                      <a:pt x="343262" y="829943"/>
                      <a:pt x="336036" y="838073"/>
                      <a:pt x="336036" y="848010"/>
                    </a:cubicBezTo>
                    <a:lnTo>
                      <a:pt x="336036" y="896789"/>
                    </a:lnTo>
                    <a:lnTo>
                      <a:pt x="254737" y="896789"/>
                    </a:lnTo>
                    <a:lnTo>
                      <a:pt x="254737" y="848010"/>
                    </a:lnTo>
                    <a:cubicBezTo>
                      <a:pt x="254737" y="838073"/>
                      <a:pt x="248413" y="829943"/>
                      <a:pt x="238477" y="827233"/>
                    </a:cubicBezTo>
                    <a:cubicBezTo>
                      <a:pt x="222217" y="822717"/>
                      <a:pt x="206860" y="816393"/>
                      <a:pt x="191504" y="808263"/>
                    </a:cubicBezTo>
                    <a:cubicBezTo>
                      <a:pt x="183374" y="803747"/>
                      <a:pt x="172534" y="804650"/>
                      <a:pt x="165308" y="811877"/>
                    </a:cubicBezTo>
                    <a:lnTo>
                      <a:pt x="130982" y="846203"/>
                    </a:lnTo>
                    <a:lnTo>
                      <a:pt x="73169" y="788390"/>
                    </a:lnTo>
                    <a:lnTo>
                      <a:pt x="107495" y="754064"/>
                    </a:lnTo>
                    <a:cubicBezTo>
                      <a:pt x="114722" y="746838"/>
                      <a:pt x="115625" y="736901"/>
                      <a:pt x="111108" y="727868"/>
                    </a:cubicBezTo>
                    <a:cubicBezTo>
                      <a:pt x="102978" y="713415"/>
                      <a:pt x="96656" y="697155"/>
                      <a:pt x="92139" y="680895"/>
                    </a:cubicBezTo>
                    <a:cubicBezTo>
                      <a:pt x="89428" y="671862"/>
                      <a:pt x="81299" y="664636"/>
                      <a:pt x="71362" y="664636"/>
                    </a:cubicBezTo>
                    <a:lnTo>
                      <a:pt x="22583" y="664636"/>
                    </a:lnTo>
                    <a:lnTo>
                      <a:pt x="22583" y="582433"/>
                    </a:lnTo>
                    <a:lnTo>
                      <a:pt x="71362" y="582433"/>
                    </a:lnTo>
                    <a:cubicBezTo>
                      <a:pt x="81299" y="582433"/>
                      <a:pt x="89428" y="576110"/>
                      <a:pt x="92139" y="566173"/>
                    </a:cubicBezTo>
                    <a:cubicBezTo>
                      <a:pt x="96656" y="549914"/>
                      <a:pt x="102978" y="534557"/>
                      <a:pt x="111108" y="519200"/>
                    </a:cubicBezTo>
                    <a:cubicBezTo>
                      <a:pt x="115625" y="511071"/>
                      <a:pt x="114722" y="500231"/>
                      <a:pt x="107495" y="493005"/>
                    </a:cubicBezTo>
                    <a:lnTo>
                      <a:pt x="73169" y="458678"/>
                    </a:lnTo>
                    <a:lnTo>
                      <a:pt x="130982" y="400866"/>
                    </a:lnTo>
                    <a:lnTo>
                      <a:pt x="165308" y="435192"/>
                    </a:lnTo>
                    <a:cubicBezTo>
                      <a:pt x="172534" y="442418"/>
                      <a:pt x="183374" y="443322"/>
                      <a:pt x="191504" y="438805"/>
                    </a:cubicBezTo>
                    <a:cubicBezTo>
                      <a:pt x="193310" y="437902"/>
                      <a:pt x="196021" y="436095"/>
                      <a:pt x="197827" y="435192"/>
                    </a:cubicBezTo>
                    <a:cubicBezTo>
                      <a:pt x="196924" y="443322"/>
                      <a:pt x="196924" y="451451"/>
                      <a:pt x="196924" y="459581"/>
                    </a:cubicBezTo>
                    <a:cubicBezTo>
                      <a:pt x="196924" y="466808"/>
                      <a:pt x="196924" y="474938"/>
                      <a:pt x="197827" y="482165"/>
                    </a:cubicBezTo>
                    <a:cubicBezTo>
                      <a:pt x="151758" y="514684"/>
                      <a:pt x="124658" y="566173"/>
                      <a:pt x="124658" y="622179"/>
                    </a:cubicBezTo>
                    <a:cubicBezTo>
                      <a:pt x="124658" y="716124"/>
                      <a:pt x="201441" y="792907"/>
                      <a:pt x="295386" y="792907"/>
                    </a:cubicBezTo>
                    <a:cubicBezTo>
                      <a:pt x="351392" y="792907"/>
                      <a:pt x="402881" y="765807"/>
                      <a:pt x="434497" y="719738"/>
                    </a:cubicBezTo>
                    <a:cubicBezTo>
                      <a:pt x="443531" y="722448"/>
                      <a:pt x="450757" y="723351"/>
                      <a:pt x="459790" y="723351"/>
                    </a:cubicBezTo>
                    <a:cubicBezTo>
                      <a:pt x="458887" y="723351"/>
                      <a:pt x="458887" y="723351"/>
                      <a:pt x="459790" y="723351"/>
                    </a:cubicBezTo>
                    <a:lnTo>
                      <a:pt x="459790" y="723351"/>
                    </a:lnTo>
                    <a:close/>
                    <a:moveTo>
                      <a:pt x="352295" y="699865"/>
                    </a:moveTo>
                    <a:cubicBezTo>
                      <a:pt x="336036" y="711608"/>
                      <a:pt x="316163" y="717931"/>
                      <a:pt x="296289" y="717931"/>
                    </a:cubicBezTo>
                    <a:cubicBezTo>
                      <a:pt x="243897" y="717931"/>
                      <a:pt x="202344" y="675475"/>
                      <a:pt x="202344" y="623082"/>
                    </a:cubicBezTo>
                    <a:cubicBezTo>
                      <a:pt x="202344" y="602306"/>
                      <a:pt x="208667" y="582433"/>
                      <a:pt x="221314" y="567076"/>
                    </a:cubicBezTo>
                    <a:cubicBezTo>
                      <a:pt x="246607" y="625792"/>
                      <a:pt x="293579" y="673669"/>
                      <a:pt x="352295" y="699865"/>
                    </a:cubicBezTo>
                    <a:close/>
                    <a:moveTo>
                      <a:pt x="387525" y="153355"/>
                    </a:moveTo>
                    <a:lnTo>
                      <a:pt x="406495" y="160582"/>
                    </a:lnTo>
                    <a:cubicBezTo>
                      <a:pt x="404688" y="164195"/>
                      <a:pt x="402881" y="168712"/>
                      <a:pt x="402881" y="173228"/>
                    </a:cubicBezTo>
                    <a:lnTo>
                      <a:pt x="402881" y="205748"/>
                    </a:lnTo>
                    <a:cubicBezTo>
                      <a:pt x="388428" y="209361"/>
                      <a:pt x="373975" y="213878"/>
                      <a:pt x="359522" y="219298"/>
                    </a:cubicBezTo>
                    <a:lnTo>
                      <a:pt x="387525" y="153355"/>
                    </a:lnTo>
                    <a:close/>
                    <a:moveTo>
                      <a:pt x="458887" y="200328"/>
                    </a:moveTo>
                    <a:cubicBezTo>
                      <a:pt x="448951" y="200328"/>
                      <a:pt x="439014" y="201231"/>
                      <a:pt x="429981" y="202135"/>
                    </a:cubicBezTo>
                    <a:lnTo>
                      <a:pt x="429981" y="173228"/>
                    </a:lnTo>
                    <a:cubicBezTo>
                      <a:pt x="429981" y="172325"/>
                      <a:pt x="429981" y="172325"/>
                      <a:pt x="430884" y="172325"/>
                    </a:cubicBezTo>
                    <a:lnTo>
                      <a:pt x="475147" y="172325"/>
                    </a:lnTo>
                    <a:cubicBezTo>
                      <a:pt x="476051" y="172325"/>
                      <a:pt x="476051" y="172325"/>
                      <a:pt x="476051" y="173228"/>
                    </a:cubicBezTo>
                    <a:lnTo>
                      <a:pt x="476051" y="200328"/>
                    </a:lnTo>
                    <a:cubicBezTo>
                      <a:pt x="470630" y="200328"/>
                      <a:pt x="465211" y="200328"/>
                      <a:pt x="458887" y="200328"/>
                    </a:cubicBezTo>
                    <a:cubicBezTo>
                      <a:pt x="459790" y="200328"/>
                      <a:pt x="459790" y="200328"/>
                      <a:pt x="458887" y="200328"/>
                    </a:cubicBezTo>
                    <a:close/>
                    <a:moveTo>
                      <a:pt x="574512" y="226525"/>
                    </a:moveTo>
                    <a:cubicBezTo>
                      <a:pt x="579933" y="222911"/>
                      <a:pt x="586255" y="219298"/>
                      <a:pt x="592579" y="216588"/>
                    </a:cubicBezTo>
                    <a:cubicBezTo>
                      <a:pt x="635938" y="198521"/>
                      <a:pt x="685621" y="219298"/>
                      <a:pt x="703687" y="262658"/>
                    </a:cubicBezTo>
                    <a:cubicBezTo>
                      <a:pt x="715431" y="290660"/>
                      <a:pt x="710914" y="321373"/>
                      <a:pt x="693751" y="344860"/>
                    </a:cubicBezTo>
                    <a:cubicBezTo>
                      <a:pt x="667554" y="293370"/>
                      <a:pt x="626002" y="251818"/>
                      <a:pt x="574512" y="226525"/>
                    </a:cubicBezTo>
                    <a:lnTo>
                      <a:pt x="574512" y="226525"/>
                    </a:lnTo>
                    <a:close/>
                    <a:moveTo>
                      <a:pt x="861768" y="436998"/>
                    </a:moveTo>
                    <a:lnTo>
                      <a:pt x="816602" y="418028"/>
                    </a:lnTo>
                    <a:cubicBezTo>
                      <a:pt x="807569" y="414415"/>
                      <a:pt x="797633" y="417125"/>
                      <a:pt x="791309" y="424352"/>
                    </a:cubicBezTo>
                    <a:cubicBezTo>
                      <a:pt x="780469" y="437902"/>
                      <a:pt x="768726" y="449645"/>
                      <a:pt x="755177" y="460485"/>
                    </a:cubicBezTo>
                    <a:cubicBezTo>
                      <a:pt x="747950" y="466808"/>
                      <a:pt x="744337" y="476744"/>
                      <a:pt x="748853" y="485777"/>
                    </a:cubicBezTo>
                    <a:lnTo>
                      <a:pt x="767823" y="530040"/>
                    </a:lnTo>
                    <a:lnTo>
                      <a:pt x="702784" y="557140"/>
                    </a:lnTo>
                    <a:cubicBezTo>
                      <a:pt x="714527" y="527331"/>
                      <a:pt x="720850" y="494811"/>
                      <a:pt x="720850" y="461388"/>
                    </a:cubicBezTo>
                    <a:cubicBezTo>
                      <a:pt x="720850" y="448742"/>
                      <a:pt x="719947" y="436998"/>
                      <a:pt x="718141" y="425255"/>
                    </a:cubicBezTo>
                    <a:cubicBezTo>
                      <a:pt x="746143" y="405382"/>
                      <a:pt x="766920" y="376476"/>
                      <a:pt x="777760" y="343956"/>
                    </a:cubicBezTo>
                    <a:cubicBezTo>
                      <a:pt x="789503" y="307824"/>
                      <a:pt x="787696" y="268077"/>
                      <a:pt x="773243" y="232847"/>
                    </a:cubicBezTo>
                    <a:cubicBezTo>
                      <a:pt x="755177" y="189488"/>
                      <a:pt x="719947" y="156969"/>
                      <a:pt x="675684" y="141612"/>
                    </a:cubicBezTo>
                    <a:cubicBezTo>
                      <a:pt x="668458" y="138902"/>
                      <a:pt x="661231" y="143419"/>
                      <a:pt x="658521" y="149742"/>
                    </a:cubicBezTo>
                    <a:cubicBezTo>
                      <a:pt x="655811" y="156969"/>
                      <a:pt x="660328" y="164195"/>
                      <a:pt x="666651" y="166905"/>
                    </a:cubicBezTo>
                    <a:cubicBezTo>
                      <a:pt x="703687" y="179552"/>
                      <a:pt x="732594" y="206651"/>
                      <a:pt x="747950" y="242784"/>
                    </a:cubicBezTo>
                    <a:cubicBezTo>
                      <a:pt x="770533" y="296984"/>
                      <a:pt x="755177" y="357506"/>
                      <a:pt x="711817" y="395445"/>
                    </a:cubicBezTo>
                    <a:cubicBezTo>
                      <a:pt x="710010" y="387316"/>
                      <a:pt x="707301" y="379186"/>
                      <a:pt x="704591" y="371959"/>
                    </a:cubicBezTo>
                    <a:cubicBezTo>
                      <a:pt x="735303" y="340343"/>
                      <a:pt x="744337" y="293370"/>
                      <a:pt x="727174" y="251818"/>
                    </a:cubicBezTo>
                    <a:cubicBezTo>
                      <a:pt x="703687" y="194908"/>
                      <a:pt x="637745" y="167809"/>
                      <a:pt x="580836" y="191295"/>
                    </a:cubicBezTo>
                    <a:cubicBezTo>
                      <a:pt x="567286" y="196715"/>
                      <a:pt x="555543" y="204845"/>
                      <a:pt x="545606" y="214781"/>
                    </a:cubicBezTo>
                    <a:cubicBezTo>
                      <a:pt x="537476" y="212071"/>
                      <a:pt x="530250" y="209361"/>
                      <a:pt x="522120" y="207555"/>
                    </a:cubicBezTo>
                    <a:cubicBezTo>
                      <a:pt x="535670" y="192198"/>
                      <a:pt x="552833" y="179552"/>
                      <a:pt x="572706" y="171422"/>
                    </a:cubicBezTo>
                    <a:cubicBezTo>
                      <a:pt x="584449" y="166905"/>
                      <a:pt x="597095" y="163292"/>
                      <a:pt x="609742" y="162389"/>
                    </a:cubicBezTo>
                    <a:cubicBezTo>
                      <a:pt x="616968" y="161485"/>
                      <a:pt x="622388" y="155162"/>
                      <a:pt x="621485" y="147936"/>
                    </a:cubicBezTo>
                    <a:cubicBezTo>
                      <a:pt x="620582" y="140709"/>
                      <a:pt x="614259" y="135289"/>
                      <a:pt x="607032" y="136193"/>
                    </a:cubicBezTo>
                    <a:cubicBezTo>
                      <a:pt x="591676" y="137999"/>
                      <a:pt x="577222" y="141612"/>
                      <a:pt x="562769" y="147936"/>
                    </a:cubicBezTo>
                    <a:cubicBezTo>
                      <a:pt x="539283" y="157872"/>
                      <a:pt x="519410" y="172325"/>
                      <a:pt x="503150" y="190392"/>
                    </a:cubicBezTo>
                    <a:lnTo>
                      <a:pt x="503150" y="173228"/>
                    </a:lnTo>
                    <a:cubicBezTo>
                      <a:pt x="503150" y="157872"/>
                      <a:pt x="490503" y="145226"/>
                      <a:pt x="475147" y="145226"/>
                    </a:cubicBezTo>
                    <a:cubicBezTo>
                      <a:pt x="481470" y="139805"/>
                      <a:pt x="486890" y="133482"/>
                      <a:pt x="494117" y="128966"/>
                    </a:cubicBezTo>
                    <a:cubicBezTo>
                      <a:pt x="501343" y="122643"/>
                      <a:pt x="504956" y="112706"/>
                      <a:pt x="500440" y="103673"/>
                    </a:cubicBezTo>
                    <a:lnTo>
                      <a:pt x="481470" y="59410"/>
                    </a:lnTo>
                    <a:lnTo>
                      <a:pt x="557349" y="27794"/>
                    </a:lnTo>
                    <a:lnTo>
                      <a:pt x="576319" y="72960"/>
                    </a:lnTo>
                    <a:cubicBezTo>
                      <a:pt x="579933" y="81993"/>
                      <a:pt x="588966" y="87413"/>
                      <a:pt x="598902" y="86510"/>
                    </a:cubicBezTo>
                    <a:cubicBezTo>
                      <a:pt x="616065" y="84703"/>
                      <a:pt x="633228" y="84703"/>
                      <a:pt x="649488" y="86510"/>
                    </a:cubicBezTo>
                    <a:cubicBezTo>
                      <a:pt x="659425" y="87413"/>
                      <a:pt x="668458" y="81993"/>
                      <a:pt x="672071" y="72960"/>
                    </a:cubicBezTo>
                    <a:lnTo>
                      <a:pt x="691041" y="27794"/>
                    </a:lnTo>
                    <a:lnTo>
                      <a:pt x="766920" y="59410"/>
                    </a:lnTo>
                    <a:lnTo>
                      <a:pt x="747950" y="103673"/>
                    </a:lnTo>
                    <a:cubicBezTo>
                      <a:pt x="744337" y="112706"/>
                      <a:pt x="747047" y="123546"/>
                      <a:pt x="754273" y="128966"/>
                    </a:cubicBezTo>
                    <a:cubicBezTo>
                      <a:pt x="767823" y="139805"/>
                      <a:pt x="779566" y="151549"/>
                      <a:pt x="790406" y="165098"/>
                    </a:cubicBezTo>
                    <a:cubicBezTo>
                      <a:pt x="796730" y="172325"/>
                      <a:pt x="806666" y="175035"/>
                      <a:pt x="815699" y="171422"/>
                    </a:cubicBezTo>
                    <a:lnTo>
                      <a:pt x="860865" y="152452"/>
                    </a:lnTo>
                    <a:lnTo>
                      <a:pt x="892482" y="228331"/>
                    </a:lnTo>
                    <a:lnTo>
                      <a:pt x="847315" y="246397"/>
                    </a:lnTo>
                    <a:cubicBezTo>
                      <a:pt x="838282" y="250011"/>
                      <a:pt x="832863" y="259044"/>
                      <a:pt x="833766" y="268980"/>
                    </a:cubicBezTo>
                    <a:cubicBezTo>
                      <a:pt x="835572" y="285241"/>
                      <a:pt x="835572" y="302403"/>
                      <a:pt x="833766" y="319567"/>
                    </a:cubicBezTo>
                    <a:cubicBezTo>
                      <a:pt x="832863" y="329503"/>
                      <a:pt x="838282" y="338536"/>
                      <a:pt x="847315" y="342150"/>
                    </a:cubicBezTo>
                    <a:lnTo>
                      <a:pt x="892482" y="361119"/>
                    </a:lnTo>
                    <a:lnTo>
                      <a:pt x="861768" y="43699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9" name="Freeform 8">
                <a:extLst>
                  <a:ext uri="{FF2B5EF4-FFF2-40B4-BE49-F238E27FC236}">
                    <a16:creationId xmlns:a16="http://schemas.microsoft.com/office/drawing/2014/main" id="{9773D425-1E73-F4B8-E809-07332EE916B8}"/>
                  </a:ext>
                </a:extLst>
              </p:cNvPr>
              <p:cNvSpPr/>
              <p:nvPr/>
            </p:nvSpPr>
            <p:spPr>
              <a:xfrm>
                <a:off x="10632408" y="4081957"/>
                <a:ext cx="406494" cy="406494"/>
              </a:xfrm>
              <a:custGeom>
                <a:avLst/>
                <a:gdLst>
                  <a:gd name="connsiteX0" fmla="*/ 203247 w 406494"/>
                  <a:gd name="connsiteY0" fmla="*/ 0 h 406494"/>
                  <a:gd name="connsiteX1" fmla="*/ 0 w 406494"/>
                  <a:gd name="connsiteY1" fmla="*/ 203247 h 406494"/>
                  <a:gd name="connsiteX2" fmla="*/ 203247 w 406494"/>
                  <a:gd name="connsiteY2" fmla="*/ 406495 h 406494"/>
                  <a:gd name="connsiteX3" fmla="*/ 406495 w 406494"/>
                  <a:gd name="connsiteY3" fmla="*/ 203247 h 406494"/>
                  <a:gd name="connsiteX4" fmla="*/ 203247 w 406494"/>
                  <a:gd name="connsiteY4" fmla="*/ 0 h 406494"/>
                  <a:gd name="connsiteX5" fmla="*/ 303516 w 406494"/>
                  <a:gd name="connsiteY5" fmla="*/ 348682 h 406494"/>
                  <a:gd name="connsiteX6" fmla="*/ 290870 w 406494"/>
                  <a:gd name="connsiteY6" fmla="*/ 326099 h 406494"/>
                  <a:gd name="connsiteX7" fmla="*/ 272803 w 406494"/>
                  <a:gd name="connsiteY7" fmla="*/ 321582 h 406494"/>
                  <a:gd name="connsiteX8" fmla="*/ 268287 w 406494"/>
                  <a:gd name="connsiteY8" fmla="*/ 339649 h 406494"/>
                  <a:gd name="connsiteX9" fmla="*/ 280933 w 406494"/>
                  <a:gd name="connsiteY9" fmla="*/ 362232 h 406494"/>
                  <a:gd name="connsiteX10" fmla="*/ 218604 w 406494"/>
                  <a:gd name="connsiteY10" fmla="*/ 379395 h 406494"/>
                  <a:gd name="connsiteX11" fmla="*/ 218604 w 406494"/>
                  <a:gd name="connsiteY11" fmla="*/ 353198 h 406494"/>
                  <a:gd name="connsiteX12" fmla="*/ 205054 w 406494"/>
                  <a:gd name="connsiteY12" fmla="*/ 339649 h 406494"/>
                  <a:gd name="connsiteX13" fmla="*/ 191504 w 406494"/>
                  <a:gd name="connsiteY13" fmla="*/ 353198 h 406494"/>
                  <a:gd name="connsiteX14" fmla="*/ 191504 w 406494"/>
                  <a:gd name="connsiteY14" fmla="*/ 379395 h 406494"/>
                  <a:gd name="connsiteX15" fmla="*/ 129175 w 406494"/>
                  <a:gd name="connsiteY15" fmla="*/ 362232 h 406494"/>
                  <a:gd name="connsiteX16" fmla="*/ 141822 w 406494"/>
                  <a:gd name="connsiteY16" fmla="*/ 339649 h 406494"/>
                  <a:gd name="connsiteX17" fmla="*/ 137305 w 406494"/>
                  <a:gd name="connsiteY17" fmla="*/ 321582 h 406494"/>
                  <a:gd name="connsiteX18" fmla="*/ 119239 w 406494"/>
                  <a:gd name="connsiteY18" fmla="*/ 326099 h 406494"/>
                  <a:gd name="connsiteX19" fmla="*/ 103882 w 406494"/>
                  <a:gd name="connsiteY19" fmla="*/ 348682 h 406494"/>
                  <a:gd name="connsiteX20" fmla="*/ 57813 w 406494"/>
                  <a:gd name="connsiteY20" fmla="*/ 302613 h 406494"/>
                  <a:gd name="connsiteX21" fmla="*/ 80396 w 406494"/>
                  <a:gd name="connsiteY21" fmla="*/ 289966 h 406494"/>
                  <a:gd name="connsiteX22" fmla="*/ 84912 w 406494"/>
                  <a:gd name="connsiteY22" fmla="*/ 271900 h 406494"/>
                  <a:gd name="connsiteX23" fmla="*/ 66846 w 406494"/>
                  <a:gd name="connsiteY23" fmla="*/ 267383 h 406494"/>
                  <a:gd name="connsiteX24" fmla="*/ 44263 w 406494"/>
                  <a:gd name="connsiteY24" fmla="*/ 280030 h 406494"/>
                  <a:gd name="connsiteX25" fmla="*/ 27100 w 406494"/>
                  <a:gd name="connsiteY25" fmla="*/ 217700 h 406494"/>
                  <a:gd name="connsiteX26" fmla="*/ 53296 w 406494"/>
                  <a:gd name="connsiteY26" fmla="*/ 217700 h 406494"/>
                  <a:gd name="connsiteX27" fmla="*/ 66846 w 406494"/>
                  <a:gd name="connsiteY27" fmla="*/ 204150 h 406494"/>
                  <a:gd name="connsiteX28" fmla="*/ 53296 w 406494"/>
                  <a:gd name="connsiteY28" fmla="*/ 190601 h 406494"/>
                  <a:gd name="connsiteX29" fmla="*/ 27100 w 406494"/>
                  <a:gd name="connsiteY29" fmla="*/ 190601 h 406494"/>
                  <a:gd name="connsiteX30" fmla="*/ 44263 w 406494"/>
                  <a:gd name="connsiteY30" fmla="*/ 128271 h 406494"/>
                  <a:gd name="connsiteX31" fmla="*/ 66846 w 406494"/>
                  <a:gd name="connsiteY31" fmla="*/ 140918 h 406494"/>
                  <a:gd name="connsiteX32" fmla="*/ 73169 w 406494"/>
                  <a:gd name="connsiteY32" fmla="*/ 142725 h 406494"/>
                  <a:gd name="connsiteX33" fmla="*/ 84912 w 406494"/>
                  <a:gd name="connsiteY33" fmla="*/ 135498 h 406494"/>
                  <a:gd name="connsiteX34" fmla="*/ 80396 w 406494"/>
                  <a:gd name="connsiteY34" fmla="*/ 117432 h 406494"/>
                  <a:gd name="connsiteX35" fmla="*/ 57813 w 406494"/>
                  <a:gd name="connsiteY35" fmla="*/ 104785 h 406494"/>
                  <a:gd name="connsiteX36" fmla="*/ 103882 w 406494"/>
                  <a:gd name="connsiteY36" fmla="*/ 58716 h 406494"/>
                  <a:gd name="connsiteX37" fmla="*/ 116529 w 406494"/>
                  <a:gd name="connsiteY37" fmla="*/ 81299 h 406494"/>
                  <a:gd name="connsiteX38" fmla="*/ 128272 w 406494"/>
                  <a:gd name="connsiteY38" fmla="*/ 88525 h 406494"/>
                  <a:gd name="connsiteX39" fmla="*/ 134595 w 406494"/>
                  <a:gd name="connsiteY39" fmla="*/ 86719 h 406494"/>
                  <a:gd name="connsiteX40" fmla="*/ 139112 w 406494"/>
                  <a:gd name="connsiteY40" fmla="*/ 68652 h 406494"/>
                  <a:gd name="connsiteX41" fmla="*/ 126465 w 406494"/>
                  <a:gd name="connsiteY41" fmla="*/ 46069 h 406494"/>
                  <a:gd name="connsiteX42" fmla="*/ 188794 w 406494"/>
                  <a:gd name="connsiteY42" fmla="*/ 28906 h 406494"/>
                  <a:gd name="connsiteX43" fmla="*/ 188794 w 406494"/>
                  <a:gd name="connsiteY43" fmla="*/ 55102 h 406494"/>
                  <a:gd name="connsiteX44" fmla="*/ 202344 w 406494"/>
                  <a:gd name="connsiteY44" fmla="*/ 68652 h 406494"/>
                  <a:gd name="connsiteX45" fmla="*/ 215894 w 406494"/>
                  <a:gd name="connsiteY45" fmla="*/ 55102 h 406494"/>
                  <a:gd name="connsiteX46" fmla="*/ 215894 w 406494"/>
                  <a:gd name="connsiteY46" fmla="*/ 28906 h 406494"/>
                  <a:gd name="connsiteX47" fmla="*/ 278223 w 406494"/>
                  <a:gd name="connsiteY47" fmla="*/ 46069 h 406494"/>
                  <a:gd name="connsiteX48" fmla="*/ 265577 w 406494"/>
                  <a:gd name="connsiteY48" fmla="*/ 68652 h 406494"/>
                  <a:gd name="connsiteX49" fmla="*/ 270093 w 406494"/>
                  <a:gd name="connsiteY49" fmla="*/ 86719 h 406494"/>
                  <a:gd name="connsiteX50" fmla="*/ 276416 w 406494"/>
                  <a:gd name="connsiteY50" fmla="*/ 88525 h 406494"/>
                  <a:gd name="connsiteX51" fmla="*/ 288160 w 406494"/>
                  <a:gd name="connsiteY51" fmla="*/ 81299 h 406494"/>
                  <a:gd name="connsiteX52" fmla="*/ 300806 w 406494"/>
                  <a:gd name="connsiteY52" fmla="*/ 58716 h 406494"/>
                  <a:gd name="connsiteX53" fmla="*/ 346876 w 406494"/>
                  <a:gd name="connsiteY53" fmla="*/ 104785 h 406494"/>
                  <a:gd name="connsiteX54" fmla="*/ 324293 w 406494"/>
                  <a:gd name="connsiteY54" fmla="*/ 117432 h 406494"/>
                  <a:gd name="connsiteX55" fmla="*/ 319776 w 406494"/>
                  <a:gd name="connsiteY55" fmla="*/ 135498 h 406494"/>
                  <a:gd name="connsiteX56" fmla="*/ 331519 w 406494"/>
                  <a:gd name="connsiteY56" fmla="*/ 142725 h 406494"/>
                  <a:gd name="connsiteX57" fmla="*/ 337842 w 406494"/>
                  <a:gd name="connsiteY57" fmla="*/ 140918 h 406494"/>
                  <a:gd name="connsiteX58" fmla="*/ 360425 w 406494"/>
                  <a:gd name="connsiteY58" fmla="*/ 128271 h 406494"/>
                  <a:gd name="connsiteX59" fmla="*/ 377588 w 406494"/>
                  <a:gd name="connsiteY59" fmla="*/ 190601 h 406494"/>
                  <a:gd name="connsiteX60" fmla="*/ 351392 w 406494"/>
                  <a:gd name="connsiteY60" fmla="*/ 190601 h 406494"/>
                  <a:gd name="connsiteX61" fmla="*/ 337842 w 406494"/>
                  <a:gd name="connsiteY61" fmla="*/ 204150 h 406494"/>
                  <a:gd name="connsiteX62" fmla="*/ 351392 w 406494"/>
                  <a:gd name="connsiteY62" fmla="*/ 217700 h 406494"/>
                  <a:gd name="connsiteX63" fmla="*/ 377588 w 406494"/>
                  <a:gd name="connsiteY63" fmla="*/ 217700 h 406494"/>
                  <a:gd name="connsiteX64" fmla="*/ 360425 w 406494"/>
                  <a:gd name="connsiteY64" fmla="*/ 280030 h 406494"/>
                  <a:gd name="connsiteX65" fmla="*/ 337842 w 406494"/>
                  <a:gd name="connsiteY65" fmla="*/ 267383 h 406494"/>
                  <a:gd name="connsiteX66" fmla="*/ 319776 w 406494"/>
                  <a:gd name="connsiteY66" fmla="*/ 271900 h 406494"/>
                  <a:gd name="connsiteX67" fmla="*/ 324293 w 406494"/>
                  <a:gd name="connsiteY67" fmla="*/ 289966 h 406494"/>
                  <a:gd name="connsiteX68" fmla="*/ 346876 w 406494"/>
                  <a:gd name="connsiteY68" fmla="*/ 302613 h 406494"/>
                  <a:gd name="connsiteX69" fmla="*/ 303516 w 406494"/>
                  <a:gd name="connsiteY69" fmla="*/ 348682 h 406494"/>
                  <a:gd name="connsiteX70" fmla="*/ 303516 w 406494"/>
                  <a:gd name="connsiteY70" fmla="*/ 348682 h 406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06493" h="406493">
                    <a:moveTo>
                      <a:pt x="203247" y="0"/>
                    </a:moveTo>
                    <a:cubicBezTo>
                      <a:pt x="91235" y="0"/>
                      <a:pt x="0" y="91235"/>
                      <a:pt x="0" y="203247"/>
                    </a:cubicBezTo>
                    <a:cubicBezTo>
                      <a:pt x="0" y="315259"/>
                      <a:pt x="91235" y="406495"/>
                      <a:pt x="203247" y="406495"/>
                    </a:cubicBezTo>
                    <a:cubicBezTo>
                      <a:pt x="315259" y="406495"/>
                      <a:pt x="406495" y="315259"/>
                      <a:pt x="406495" y="203247"/>
                    </a:cubicBezTo>
                    <a:cubicBezTo>
                      <a:pt x="406495" y="91235"/>
                      <a:pt x="316163" y="0"/>
                      <a:pt x="203247" y="0"/>
                    </a:cubicBezTo>
                    <a:close/>
                    <a:moveTo>
                      <a:pt x="303516" y="348682"/>
                    </a:moveTo>
                    <a:lnTo>
                      <a:pt x="290870" y="326099"/>
                    </a:lnTo>
                    <a:cubicBezTo>
                      <a:pt x="287256" y="319775"/>
                      <a:pt x="279127" y="317066"/>
                      <a:pt x="272803" y="321582"/>
                    </a:cubicBezTo>
                    <a:cubicBezTo>
                      <a:pt x="266480" y="325196"/>
                      <a:pt x="263770" y="333325"/>
                      <a:pt x="268287" y="339649"/>
                    </a:cubicBezTo>
                    <a:lnTo>
                      <a:pt x="280933" y="362232"/>
                    </a:lnTo>
                    <a:cubicBezTo>
                      <a:pt x="261963" y="371265"/>
                      <a:pt x="240283" y="377588"/>
                      <a:pt x="218604" y="379395"/>
                    </a:cubicBezTo>
                    <a:lnTo>
                      <a:pt x="218604" y="353198"/>
                    </a:lnTo>
                    <a:cubicBezTo>
                      <a:pt x="218604" y="345972"/>
                      <a:pt x="212281" y="339649"/>
                      <a:pt x="205054" y="339649"/>
                    </a:cubicBezTo>
                    <a:cubicBezTo>
                      <a:pt x="197828" y="339649"/>
                      <a:pt x="191504" y="345972"/>
                      <a:pt x="191504" y="353198"/>
                    </a:cubicBezTo>
                    <a:lnTo>
                      <a:pt x="191504" y="379395"/>
                    </a:lnTo>
                    <a:cubicBezTo>
                      <a:pt x="168921" y="377588"/>
                      <a:pt x="148145" y="372168"/>
                      <a:pt x="129175" y="362232"/>
                    </a:cubicBezTo>
                    <a:lnTo>
                      <a:pt x="141822" y="339649"/>
                    </a:lnTo>
                    <a:cubicBezTo>
                      <a:pt x="145435" y="333325"/>
                      <a:pt x="143628" y="325196"/>
                      <a:pt x="137305" y="321582"/>
                    </a:cubicBezTo>
                    <a:cubicBezTo>
                      <a:pt x="130982" y="317969"/>
                      <a:pt x="122852" y="319775"/>
                      <a:pt x="119239" y="326099"/>
                    </a:cubicBezTo>
                    <a:lnTo>
                      <a:pt x="103882" y="348682"/>
                    </a:lnTo>
                    <a:cubicBezTo>
                      <a:pt x="85816" y="336035"/>
                      <a:pt x="70459" y="320679"/>
                      <a:pt x="57813" y="302613"/>
                    </a:cubicBezTo>
                    <a:lnTo>
                      <a:pt x="80396" y="289966"/>
                    </a:lnTo>
                    <a:cubicBezTo>
                      <a:pt x="86719" y="286352"/>
                      <a:pt x="89429" y="278223"/>
                      <a:pt x="84912" y="271900"/>
                    </a:cubicBezTo>
                    <a:cubicBezTo>
                      <a:pt x="81299" y="265576"/>
                      <a:pt x="73169" y="262866"/>
                      <a:pt x="66846" y="267383"/>
                    </a:cubicBezTo>
                    <a:lnTo>
                      <a:pt x="44263" y="280030"/>
                    </a:lnTo>
                    <a:cubicBezTo>
                      <a:pt x="35230" y="261060"/>
                      <a:pt x="28906" y="239380"/>
                      <a:pt x="27100" y="217700"/>
                    </a:cubicBezTo>
                    <a:lnTo>
                      <a:pt x="53296" y="217700"/>
                    </a:lnTo>
                    <a:cubicBezTo>
                      <a:pt x="60523" y="217700"/>
                      <a:pt x="66846" y="211377"/>
                      <a:pt x="66846" y="204150"/>
                    </a:cubicBezTo>
                    <a:cubicBezTo>
                      <a:pt x="66846" y="196924"/>
                      <a:pt x="60523" y="190601"/>
                      <a:pt x="53296" y="190601"/>
                    </a:cubicBezTo>
                    <a:lnTo>
                      <a:pt x="27100" y="190601"/>
                    </a:lnTo>
                    <a:cubicBezTo>
                      <a:pt x="28906" y="168018"/>
                      <a:pt x="34326" y="147241"/>
                      <a:pt x="44263" y="128271"/>
                    </a:cubicBezTo>
                    <a:lnTo>
                      <a:pt x="66846" y="140918"/>
                    </a:lnTo>
                    <a:cubicBezTo>
                      <a:pt x="68652" y="141821"/>
                      <a:pt x="71363" y="142725"/>
                      <a:pt x="73169" y="142725"/>
                    </a:cubicBezTo>
                    <a:cubicBezTo>
                      <a:pt x="77685" y="142725"/>
                      <a:pt x="82202" y="140015"/>
                      <a:pt x="84912" y="135498"/>
                    </a:cubicBezTo>
                    <a:cubicBezTo>
                      <a:pt x="88525" y="129175"/>
                      <a:pt x="86719" y="121045"/>
                      <a:pt x="80396" y="117432"/>
                    </a:cubicBezTo>
                    <a:lnTo>
                      <a:pt x="57813" y="104785"/>
                    </a:lnTo>
                    <a:cubicBezTo>
                      <a:pt x="70459" y="86719"/>
                      <a:pt x="85816" y="71362"/>
                      <a:pt x="103882" y="58716"/>
                    </a:cubicBezTo>
                    <a:lnTo>
                      <a:pt x="116529" y="81299"/>
                    </a:lnTo>
                    <a:cubicBezTo>
                      <a:pt x="119239" y="85816"/>
                      <a:pt x="123755" y="88525"/>
                      <a:pt x="128272" y="88525"/>
                    </a:cubicBezTo>
                    <a:cubicBezTo>
                      <a:pt x="130982" y="88525"/>
                      <a:pt x="132788" y="87622"/>
                      <a:pt x="134595" y="86719"/>
                    </a:cubicBezTo>
                    <a:cubicBezTo>
                      <a:pt x="140918" y="83105"/>
                      <a:pt x="143628" y="74976"/>
                      <a:pt x="139112" y="68652"/>
                    </a:cubicBezTo>
                    <a:lnTo>
                      <a:pt x="126465" y="46069"/>
                    </a:lnTo>
                    <a:cubicBezTo>
                      <a:pt x="145435" y="37036"/>
                      <a:pt x="167114" y="30713"/>
                      <a:pt x="188794" y="28906"/>
                    </a:cubicBezTo>
                    <a:lnTo>
                      <a:pt x="188794" y="55102"/>
                    </a:lnTo>
                    <a:cubicBezTo>
                      <a:pt x="188794" y="62329"/>
                      <a:pt x="195117" y="68652"/>
                      <a:pt x="202344" y="68652"/>
                    </a:cubicBezTo>
                    <a:cubicBezTo>
                      <a:pt x="209571" y="68652"/>
                      <a:pt x="215894" y="62329"/>
                      <a:pt x="215894" y="55102"/>
                    </a:cubicBezTo>
                    <a:lnTo>
                      <a:pt x="215894" y="28906"/>
                    </a:lnTo>
                    <a:cubicBezTo>
                      <a:pt x="238477" y="30713"/>
                      <a:pt x="259253" y="36133"/>
                      <a:pt x="278223" y="46069"/>
                    </a:cubicBezTo>
                    <a:lnTo>
                      <a:pt x="265577" y="68652"/>
                    </a:lnTo>
                    <a:cubicBezTo>
                      <a:pt x="261963" y="74976"/>
                      <a:pt x="263770" y="83105"/>
                      <a:pt x="270093" y="86719"/>
                    </a:cubicBezTo>
                    <a:cubicBezTo>
                      <a:pt x="271900" y="87622"/>
                      <a:pt x="274610" y="88525"/>
                      <a:pt x="276416" y="88525"/>
                    </a:cubicBezTo>
                    <a:cubicBezTo>
                      <a:pt x="280933" y="88525"/>
                      <a:pt x="285449" y="85816"/>
                      <a:pt x="288160" y="81299"/>
                    </a:cubicBezTo>
                    <a:lnTo>
                      <a:pt x="300806" y="58716"/>
                    </a:lnTo>
                    <a:cubicBezTo>
                      <a:pt x="318872" y="71362"/>
                      <a:pt x="334229" y="86719"/>
                      <a:pt x="346876" y="104785"/>
                    </a:cubicBezTo>
                    <a:lnTo>
                      <a:pt x="324293" y="117432"/>
                    </a:lnTo>
                    <a:cubicBezTo>
                      <a:pt x="317969" y="121045"/>
                      <a:pt x="315259" y="129175"/>
                      <a:pt x="319776" y="135498"/>
                    </a:cubicBezTo>
                    <a:cubicBezTo>
                      <a:pt x="322486" y="140015"/>
                      <a:pt x="327002" y="142725"/>
                      <a:pt x="331519" y="142725"/>
                    </a:cubicBezTo>
                    <a:cubicBezTo>
                      <a:pt x="334229" y="142725"/>
                      <a:pt x="336036" y="141821"/>
                      <a:pt x="337842" y="140918"/>
                    </a:cubicBezTo>
                    <a:lnTo>
                      <a:pt x="360425" y="128271"/>
                    </a:lnTo>
                    <a:cubicBezTo>
                      <a:pt x="369459" y="147241"/>
                      <a:pt x="375782" y="168921"/>
                      <a:pt x="377588" y="190601"/>
                    </a:cubicBezTo>
                    <a:lnTo>
                      <a:pt x="351392" y="190601"/>
                    </a:lnTo>
                    <a:cubicBezTo>
                      <a:pt x="344165" y="190601"/>
                      <a:pt x="337842" y="196924"/>
                      <a:pt x="337842" y="204150"/>
                    </a:cubicBezTo>
                    <a:cubicBezTo>
                      <a:pt x="337842" y="211377"/>
                      <a:pt x="344165" y="217700"/>
                      <a:pt x="351392" y="217700"/>
                    </a:cubicBezTo>
                    <a:lnTo>
                      <a:pt x="377588" y="217700"/>
                    </a:lnTo>
                    <a:cubicBezTo>
                      <a:pt x="375782" y="240283"/>
                      <a:pt x="370362" y="261060"/>
                      <a:pt x="360425" y="280030"/>
                    </a:cubicBezTo>
                    <a:lnTo>
                      <a:pt x="337842" y="267383"/>
                    </a:lnTo>
                    <a:cubicBezTo>
                      <a:pt x="331519" y="263769"/>
                      <a:pt x="323389" y="265576"/>
                      <a:pt x="319776" y="271900"/>
                    </a:cubicBezTo>
                    <a:cubicBezTo>
                      <a:pt x="316163" y="278223"/>
                      <a:pt x="317969" y="286352"/>
                      <a:pt x="324293" y="289966"/>
                    </a:cubicBezTo>
                    <a:lnTo>
                      <a:pt x="346876" y="302613"/>
                    </a:lnTo>
                    <a:cubicBezTo>
                      <a:pt x="336939" y="320679"/>
                      <a:pt x="320679" y="336035"/>
                      <a:pt x="303516" y="348682"/>
                    </a:cubicBezTo>
                    <a:lnTo>
                      <a:pt x="303516" y="348682"/>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0" name="Freeform 9">
                <a:extLst>
                  <a:ext uri="{FF2B5EF4-FFF2-40B4-BE49-F238E27FC236}">
                    <a16:creationId xmlns:a16="http://schemas.microsoft.com/office/drawing/2014/main" id="{77753D67-3E05-C6F6-0689-A07D233AFA6A}"/>
                  </a:ext>
                </a:extLst>
              </p:cNvPr>
              <p:cNvSpPr/>
              <p:nvPr/>
            </p:nvSpPr>
            <p:spPr>
              <a:xfrm>
                <a:off x="10799522" y="4177709"/>
                <a:ext cx="88977" cy="159888"/>
              </a:xfrm>
              <a:custGeom>
                <a:avLst/>
                <a:gdLst>
                  <a:gd name="connsiteX0" fmla="*/ 69556 w 88977"/>
                  <a:gd name="connsiteY0" fmla="*/ 121948 h 159888"/>
                  <a:gd name="connsiteX1" fmla="*/ 72266 w 88977"/>
                  <a:gd name="connsiteY1" fmla="*/ 108399 h 159888"/>
                  <a:gd name="connsiteX2" fmla="*/ 49683 w 88977"/>
                  <a:gd name="connsiteY2" fmla="*/ 74976 h 159888"/>
                  <a:gd name="connsiteX3" fmla="*/ 49683 w 88977"/>
                  <a:gd name="connsiteY3" fmla="*/ 13550 h 159888"/>
                  <a:gd name="connsiteX4" fmla="*/ 36133 w 88977"/>
                  <a:gd name="connsiteY4" fmla="*/ 0 h 159888"/>
                  <a:gd name="connsiteX5" fmla="*/ 22583 w 88977"/>
                  <a:gd name="connsiteY5" fmla="*/ 13550 h 159888"/>
                  <a:gd name="connsiteX6" fmla="*/ 22583 w 88977"/>
                  <a:gd name="connsiteY6" fmla="*/ 74976 h 159888"/>
                  <a:gd name="connsiteX7" fmla="*/ 0 w 88977"/>
                  <a:gd name="connsiteY7" fmla="*/ 108399 h 159888"/>
                  <a:gd name="connsiteX8" fmla="*/ 36133 w 88977"/>
                  <a:gd name="connsiteY8" fmla="*/ 144531 h 159888"/>
                  <a:gd name="connsiteX9" fmla="*/ 50586 w 88977"/>
                  <a:gd name="connsiteY9" fmla="*/ 141822 h 159888"/>
                  <a:gd name="connsiteX10" fmla="*/ 65039 w 88977"/>
                  <a:gd name="connsiteY10" fmla="*/ 156275 h 159888"/>
                  <a:gd name="connsiteX11" fmla="*/ 74976 w 88977"/>
                  <a:gd name="connsiteY11" fmla="*/ 159888 h 159888"/>
                  <a:gd name="connsiteX12" fmla="*/ 84912 w 88977"/>
                  <a:gd name="connsiteY12" fmla="*/ 156275 h 159888"/>
                  <a:gd name="connsiteX13" fmla="*/ 84912 w 88977"/>
                  <a:gd name="connsiteY13" fmla="*/ 137305 h 159888"/>
                  <a:gd name="connsiteX14" fmla="*/ 69556 w 88977"/>
                  <a:gd name="connsiteY14" fmla="*/ 121948 h 159888"/>
                  <a:gd name="connsiteX15" fmla="*/ 27100 w 88977"/>
                  <a:gd name="connsiteY15" fmla="*/ 107495 h 159888"/>
                  <a:gd name="connsiteX16" fmla="*/ 36133 w 88977"/>
                  <a:gd name="connsiteY16" fmla="*/ 98462 h 159888"/>
                  <a:gd name="connsiteX17" fmla="*/ 45166 w 88977"/>
                  <a:gd name="connsiteY17" fmla="*/ 107495 h 159888"/>
                  <a:gd name="connsiteX18" fmla="*/ 36133 w 88977"/>
                  <a:gd name="connsiteY18" fmla="*/ 116529 h 159888"/>
                  <a:gd name="connsiteX19" fmla="*/ 27100 w 88977"/>
                  <a:gd name="connsiteY19" fmla="*/ 107495 h 159888"/>
                  <a:gd name="connsiteX20" fmla="*/ 27100 w 88977"/>
                  <a:gd name="connsiteY20" fmla="*/ 107495 h 15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977" h="159888">
                    <a:moveTo>
                      <a:pt x="69556" y="121948"/>
                    </a:moveTo>
                    <a:cubicBezTo>
                      <a:pt x="71363" y="117432"/>
                      <a:pt x="72266" y="112915"/>
                      <a:pt x="72266" y="108399"/>
                    </a:cubicBezTo>
                    <a:cubicBezTo>
                      <a:pt x="72266" y="93042"/>
                      <a:pt x="63233" y="80396"/>
                      <a:pt x="49683" y="74976"/>
                    </a:cubicBezTo>
                    <a:lnTo>
                      <a:pt x="49683" y="13550"/>
                    </a:lnTo>
                    <a:cubicBezTo>
                      <a:pt x="49683" y="6323"/>
                      <a:pt x="43359" y="0"/>
                      <a:pt x="36133" y="0"/>
                    </a:cubicBezTo>
                    <a:cubicBezTo>
                      <a:pt x="28906" y="0"/>
                      <a:pt x="22583" y="6323"/>
                      <a:pt x="22583" y="13550"/>
                    </a:cubicBezTo>
                    <a:lnTo>
                      <a:pt x="22583" y="74976"/>
                    </a:lnTo>
                    <a:cubicBezTo>
                      <a:pt x="9033" y="80396"/>
                      <a:pt x="0" y="93042"/>
                      <a:pt x="0" y="108399"/>
                    </a:cubicBezTo>
                    <a:cubicBezTo>
                      <a:pt x="0" y="128272"/>
                      <a:pt x="16260" y="144531"/>
                      <a:pt x="36133" y="144531"/>
                    </a:cubicBezTo>
                    <a:cubicBezTo>
                      <a:pt x="41553" y="144531"/>
                      <a:pt x="46069" y="143628"/>
                      <a:pt x="50586" y="141822"/>
                    </a:cubicBezTo>
                    <a:lnTo>
                      <a:pt x="65039" y="156275"/>
                    </a:lnTo>
                    <a:cubicBezTo>
                      <a:pt x="67749" y="158984"/>
                      <a:pt x="71363" y="159888"/>
                      <a:pt x="74976" y="159888"/>
                    </a:cubicBezTo>
                    <a:cubicBezTo>
                      <a:pt x="78589" y="159888"/>
                      <a:pt x="82202" y="158984"/>
                      <a:pt x="84912" y="156275"/>
                    </a:cubicBezTo>
                    <a:cubicBezTo>
                      <a:pt x="90332" y="150855"/>
                      <a:pt x="90332" y="142725"/>
                      <a:pt x="84912" y="137305"/>
                    </a:cubicBezTo>
                    <a:lnTo>
                      <a:pt x="69556" y="121948"/>
                    </a:lnTo>
                    <a:close/>
                    <a:moveTo>
                      <a:pt x="27100" y="107495"/>
                    </a:moveTo>
                    <a:cubicBezTo>
                      <a:pt x="27100" y="102075"/>
                      <a:pt x="30713" y="98462"/>
                      <a:pt x="36133" y="98462"/>
                    </a:cubicBezTo>
                    <a:cubicBezTo>
                      <a:pt x="41553" y="98462"/>
                      <a:pt x="45166" y="102075"/>
                      <a:pt x="45166" y="107495"/>
                    </a:cubicBezTo>
                    <a:cubicBezTo>
                      <a:pt x="45166" y="112915"/>
                      <a:pt x="41553" y="116529"/>
                      <a:pt x="36133" y="116529"/>
                    </a:cubicBezTo>
                    <a:cubicBezTo>
                      <a:pt x="30713" y="116529"/>
                      <a:pt x="27100" y="112915"/>
                      <a:pt x="27100" y="107495"/>
                    </a:cubicBezTo>
                    <a:lnTo>
                      <a:pt x="27100" y="107495"/>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11" name="Group 10">
            <a:extLst>
              <a:ext uri="{FF2B5EF4-FFF2-40B4-BE49-F238E27FC236}">
                <a16:creationId xmlns:a16="http://schemas.microsoft.com/office/drawing/2014/main" id="{2B36B10D-BEBC-437D-DDF2-F2AC9B147DC2}"/>
              </a:ext>
            </a:extLst>
          </p:cNvPr>
          <p:cNvGrpSpPr/>
          <p:nvPr/>
        </p:nvGrpSpPr>
        <p:grpSpPr>
          <a:xfrm>
            <a:off x="4524216" y="596176"/>
            <a:ext cx="771630" cy="770652"/>
            <a:chOff x="4583522" y="477429"/>
            <a:chExt cx="1285857" cy="1284227"/>
          </a:xfrm>
          <a:solidFill>
            <a:srgbClr val="595959"/>
          </a:solidFill>
        </p:grpSpPr>
        <p:grpSp>
          <p:nvGrpSpPr>
            <p:cNvPr id="12" name="Graphic 24">
              <a:extLst>
                <a:ext uri="{FF2B5EF4-FFF2-40B4-BE49-F238E27FC236}">
                  <a16:creationId xmlns:a16="http://schemas.microsoft.com/office/drawing/2014/main" id="{75ECD209-F7EE-58A5-C803-64DFC15F0E2C}"/>
                </a:ext>
              </a:extLst>
            </p:cNvPr>
            <p:cNvGrpSpPr/>
            <p:nvPr/>
          </p:nvGrpSpPr>
          <p:grpSpPr>
            <a:xfrm>
              <a:off x="5099909" y="1002440"/>
              <a:ext cx="720240" cy="720592"/>
              <a:chOff x="5098372" y="991465"/>
              <a:chExt cx="720240" cy="720592"/>
            </a:xfrm>
            <a:grpFill/>
          </p:grpSpPr>
          <p:sp>
            <p:nvSpPr>
              <p:cNvPr id="23" name="Freeform 22">
                <a:extLst>
                  <a:ext uri="{FF2B5EF4-FFF2-40B4-BE49-F238E27FC236}">
                    <a16:creationId xmlns:a16="http://schemas.microsoft.com/office/drawing/2014/main" id="{3417F6DB-145A-9B87-B65C-6B1FE5C08058}"/>
                  </a:ext>
                </a:extLst>
              </p:cNvPr>
              <p:cNvSpPr/>
              <p:nvPr/>
            </p:nvSpPr>
            <p:spPr>
              <a:xfrm>
                <a:off x="5427325" y="991465"/>
                <a:ext cx="391287" cy="390774"/>
              </a:xfrm>
              <a:custGeom>
                <a:avLst/>
                <a:gdLst>
                  <a:gd name="connsiteX0" fmla="*/ 114183 w 391287"/>
                  <a:gd name="connsiteY0" fmla="*/ 382826 h 390774"/>
                  <a:gd name="connsiteX1" fmla="*/ 154792 w 391287"/>
                  <a:gd name="connsiteY1" fmla="*/ 344223 h 390774"/>
                  <a:gd name="connsiteX2" fmla="*/ 165777 w 391287"/>
                  <a:gd name="connsiteY2" fmla="*/ 340562 h 390774"/>
                  <a:gd name="connsiteX3" fmla="*/ 252987 w 391287"/>
                  <a:gd name="connsiteY3" fmla="*/ 302957 h 390774"/>
                  <a:gd name="connsiteX4" fmla="*/ 310240 w 391287"/>
                  <a:gd name="connsiteY4" fmla="*/ 245052 h 390774"/>
                  <a:gd name="connsiteX5" fmla="*/ 251323 w 391287"/>
                  <a:gd name="connsiteY5" fmla="*/ 54698 h 390774"/>
                  <a:gd name="connsiteX6" fmla="*/ 146471 w 391287"/>
                  <a:gd name="connsiteY6" fmla="*/ 81654 h 390774"/>
                  <a:gd name="connsiteX7" fmla="*/ 81562 w 391287"/>
                  <a:gd name="connsiteY7" fmla="*/ 146214 h 390774"/>
                  <a:gd name="connsiteX8" fmla="*/ 50606 w 391287"/>
                  <a:gd name="connsiteY8" fmla="*/ 223754 h 390774"/>
                  <a:gd name="connsiteX9" fmla="*/ 43282 w 391287"/>
                  <a:gd name="connsiteY9" fmla="*/ 240726 h 390774"/>
                  <a:gd name="connsiteX10" fmla="*/ 8997 w 391287"/>
                  <a:gd name="connsiteY10" fmla="*/ 276667 h 390774"/>
                  <a:gd name="connsiteX11" fmla="*/ 676 w 391287"/>
                  <a:gd name="connsiteY11" fmla="*/ 211108 h 390774"/>
                  <a:gd name="connsiteX12" fmla="*/ 49940 w 391287"/>
                  <a:gd name="connsiteY12" fmla="*/ 105282 h 390774"/>
                  <a:gd name="connsiteX13" fmla="*/ 106860 w 391287"/>
                  <a:gd name="connsiteY13" fmla="*/ 48708 h 390774"/>
                  <a:gd name="connsiteX14" fmla="*/ 292265 w 391287"/>
                  <a:gd name="connsiteY14" fmla="*/ 14430 h 390774"/>
                  <a:gd name="connsiteX15" fmla="*/ 391126 w 391287"/>
                  <a:gd name="connsiteY15" fmla="*/ 174834 h 390774"/>
                  <a:gd name="connsiteX16" fmla="*/ 347854 w 391287"/>
                  <a:gd name="connsiteY16" fmla="*/ 278997 h 390774"/>
                  <a:gd name="connsiteX17" fmla="*/ 278618 w 391287"/>
                  <a:gd name="connsiteY17" fmla="*/ 347884 h 390774"/>
                  <a:gd name="connsiteX18" fmla="*/ 114183 w 391287"/>
                  <a:gd name="connsiteY18" fmla="*/ 382826 h 39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1287" h="390774">
                    <a:moveTo>
                      <a:pt x="114183" y="382826"/>
                    </a:moveTo>
                    <a:cubicBezTo>
                      <a:pt x="129162" y="368184"/>
                      <a:pt x="141810" y="355871"/>
                      <a:pt x="154792" y="344223"/>
                    </a:cubicBezTo>
                    <a:cubicBezTo>
                      <a:pt x="157455" y="341894"/>
                      <a:pt x="162115" y="340562"/>
                      <a:pt x="165777" y="340562"/>
                    </a:cubicBezTo>
                    <a:cubicBezTo>
                      <a:pt x="200062" y="339897"/>
                      <a:pt x="229021" y="327584"/>
                      <a:pt x="252987" y="302957"/>
                    </a:cubicBezTo>
                    <a:cubicBezTo>
                      <a:pt x="271961" y="283656"/>
                      <a:pt x="291933" y="265020"/>
                      <a:pt x="310240" y="245052"/>
                    </a:cubicBezTo>
                    <a:cubicBezTo>
                      <a:pt x="369823" y="179493"/>
                      <a:pt x="337535" y="75331"/>
                      <a:pt x="251323" y="54698"/>
                    </a:cubicBezTo>
                    <a:cubicBezTo>
                      <a:pt x="212045" y="45380"/>
                      <a:pt x="176428" y="54365"/>
                      <a:pt x="146471" y="81654"/>
                    </a:cubicBezTo>
                    <a:cubicBezTo>
                      <a:pt x="123836" y="102286"/>
                      <a:pt x="102865" y="124250"/>
                      <a:pt x="81562" y="146214"/>
                    </a:cubicBezTo>
                    <a:cubicBezTo>
                      <a:pt x="60924" y="167846"/>
                      <a:pt x="51937" y="194136"/>
                      <a:pt x="50606" y="223754"/>
                    </a:cubicBezTo>
                    <a:cubicBezTo>
                      <a:pt x="50273" y="229744"/>
                      <a:pt x="47277" y="236400"/>
                      <a:pt x="43282" y="240726"/>
                    </a:cubicBezTo>
                    <a:cubicBezTo>
                      <a:pt x="32964" y="252706"/>
                      <a:pt x="21646" y="263688"/>
                      <a:pt x="8997" y="276667"/>
                    </a:cubicBezTo>
                    <a:cubicBezTo>
                      <a:pt x="1009" y="253705"/>
                      <a:pt x="-1321" y="232739"/>
                      <a:pt x="676" y="211108"/>
                    </a:cubicBezTo>
                    <a:cubicBezTo>
                      <a:pt x="4337" y="170175"/>
                      <a:pt x="20648" y="134567"/>
                      <a:pt x="49940" y="105282"/>
                    </a:cubicBezTo>
                    <a:cubicBezTo>
                      <a:pt x="68913" y="86313"/>
                      <a:pt x="87554" y="67344"/>
                      <a:pt x="106860" y="48708"/>
                    </a:cubicBezTo>
                    <a:cubicBezTo>
                      <a:pt x="157122" y="-212"/>
                      <a:pt x="229021" y="-13524"/>
                      <a:pt x="292265" y="14430"/>
                    </a:cubicBezTo>
                    <a:cubicBezTo>
                      <a:pt x="355177" y="42052"/>
                      <a:pt x="394122" y="104616"/>
                      <a:pt x="391126" y="174834"/>
                    </a:cubicBezTo>
                    <a:cubicBezTo>
                      <a:pt x="389462" y="214769"/>
                      <a:pt x="375149" y="250044"/>
                      <a:pt x="347854" y="278997"/>
                    </a:cubicBezTo>
                    <a:cubicBezTo>
                      <a:pt x="325552" y="302625"/>
                      <a:pt x="302917" y="326253"/>
                      <a:pt x="278618" y="347884"/>
                    </a:cubicBezTo>
                    <a:cubicBezTo>
                      <a:pt x="232017" y="389482"/>
                      <a:pt x="177760" y="400131"/>
                      <a:pt x="114183" y="382826"/>
                    </a:cubicBezTo>
                    <a:close/>
                  </a:path>
                </a:pathLst>
              </a:custGeom>
              <a:solidFill>
                <a:srgbClr val="F16924"/>
              </a:solidFill>
              <a:ln w="3314"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2119C3A7-0FA6-0776-6A0F-6A41F6F53063}"/>
                  </a:ext>
                </a:extLst>
              </p:cNvPr>
              <p:cNvSpPr/>
              <p:nvPr/>
            </p:nvSpPr>
            <p:spPr>
              <a:xfrm>
                <a:off x="5098372" y="1320880"/>
                <a:ext cx="391481" cy="391177"/>
              </a:xfrm>
              <a:custGeom>
                <a:avLst/>
                <a:gdLst>
                  <a:gd name="connsiteX0" fmla="*/ 383219 w 391481"/>
                  <a:gd name="connsiteY0" fmla="*/ 113646 h 391177"/>
                  <a:gd name="connsiteX1" fmla="*/ 354593 w 391481"/>
                  <a:gd name="connsiteY1" fmla="*/ 270056 h 391177"/>
                  <a:gd name="connsiteX2" fmla="*/ 271710 w 391481"/>
                  <a:gd name="connsiteY2" fmla="*/ 353586 h 391177"/>
                  <a:gd name="connsiteX3" fmla="*/ 45694 w 391481"/>
                  <a:gd name="connsiteY3" fmla="*/ 338611 h 391177"/>
                  <a:gd name="connsiteX4" fmla="*/ 43697 w 391481"/>
                  <a:gd name="connsiteY4" fmla="*/ 111982 h 391177"/>
                  <a:gd name="connsiteX5" fmla="*/ 113932 w 391481"/>
                  <a:gd name="connsiteY5" fmla="*/ 42097 h 391177"/>
                  <a:gd name="connsiteX6" fmla="*/ 276370 w 391481"/>
                  <a:gd name="connsiteY6" fmla="*/ 7820 h 391177"/>
                  <a:gd name="connsiteX7" fmla="*/ 235427 w 391481"/>
                  <a:gd name="connsiteY7" fmla="*/ 48420 h 391177"/>
                  <a:gd name="connsiteX8" fmla="*/ 224776 w 391481"/>
                  <a:gd name="connsiteY8" fmla="*/ 50749 h 391177"/>
                  <a:gd name="connsiteX9" fmla="*/ 142225 w 391481"/>
                  <a:gd name="connsiteY9" fmla="*/ 84694 h 391177"/>
                  <a:gd name="connsiteX10" fmla="*/ 84640 w 391481"/>
                  <a:gd name="connsiteY10" fmla="*/ 142266 h 391177"/>
                  <a:gd name="connsiteX11" fmla="*/ 84973 w 391481"/>
                  <a:gd name="connsiteY11" fmla="*/ 305997 h 391177"/>
                  <a:gd name="connsiteX12" fmla="*/ 248742 w 391481"/>
                  <a:gd name="connsiteY12" fmla="*/ 306663 h 391177"/>
                  <a:gd name="connsiteX13" fmla="*/ 306328 w 391481"/>
                  <a:gd name="connsiteY13" fmla="*/ 249091 h 391177"/>
                  <a:gd name="connsiteX14" fmla="*/ 340613 w 391481"/>
                  <a:gd name="connsiteY14" fmla="*/ 166559 h 391177"/>
                  <a:gd name="connsiteX15" fmla="*/ 344607 w 391481"/>
                  <a:gd name="connsiteY15" fmla="*/ 154246 h 391177"/>
                  <a:gd name="connsiteX16" fmla="*/ 383219 w 391481"/>
                  <a:gd name="connsiteY16" fmla="*/ 113646 h 39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1481" h="391177">
                    <a:moveTo>
                      <a:pt x="383219" y="113646"/>
                    </a:moveTo>
                    <a:cubicBezTo>
                      <a:pt x="399863" y="172882"/>
                      <a:pt x="391874" y="225130"/>
                      <a:pt x="354593" y="270056"/>
                    </a:cubicBezTo>
                    <a:cubicBezTo>
                      <a:pt x="329628" y="300007"/>
                      <a:pt x="301335" y="328294"/>
                      <a:pt x="271710" y="353586"/>
                    </a:cubicBezTo>
                    <a:cubicBezTo>
                      <a:pt x="205470" y="409494"/>
                      <a:pt x="105277" y="401840"/>
                      <a:pt x="45694" y="338611"/>
                    </a:cubicBezTo>
                    <a:cubicBezTo>
                      <a:pt x="-14221" y="275048"/>
                      <a:pt x="-15553" y="176543"/>
                      <a:pt x="43697" y="111982"/>
                    </a:cubicBezTo>
                    <a:cubicBezTo>
                      <a:pt x="65999" y="87689"/>
                      <a:pt x="89300" y="64061"/>
                      <a:pt x="113932" y="42097"/>
                    </a:cubicBezTo>
                    <a:cubicBezTo>
                      <a:pt x="160533" y="1164"/>
                      <a:pt x="214457" y="-9153"/>
                      <a:pt x="276370" y="7820"/>
                    </a:cubicBezTo>
                    <a:cubicBezTo>
                      <a:pt x="262057" y="22130"/>
                      <a:pt x="249075" y="35774"/>
                      <a:pt x="235427" y="48420"/>
                    </a:cubicBezTo>
                    <a:cubicBezTo>
                      <a:pt x="233097" y="50416"/>
                      <a:pt x="228437" y="50749"/>
                      <a:pt x="224776" y="50749"/>
                    </a:cubicBezTo>
                    <a:cubicBezTo>
                      <a:pt x="192821" y="51082"/>
                      <a:pt x="165193" y="62397"/>
                      <a:pt x="142225" y="84694"/>
                    </a:cubicBezTo>
                    <a:cubicBezTo>
                      <a:pt x="122919" y="103663"/>
                      <a:pt x="103280" y="122631"/>
                      <a:pt x="84640" y="142266"/>
                    </a:cubicBezTo>
                    <a:cubicBezTo>
                      <a:pt x="39370" y="189189"/>
                      <a:pt x="39703" y="260405"/>
                      <a:pt x="84973" y="305997"/>
                    </a:cubicBezTo>
                    <a:cubicBezTo>
                      <a:pt x="129576" y="351257"/>
                      <a:pt x="201475" y="351589"/>
                      <a:pt x="248742" y="306663"/>
                    </a:cubicBezTo>
                    <a:cubicBezTo>
                      <a:pt x="268381" y="288027"/>
                      <a:pt x="287354" y="268392"/>
                      <a:pt x="306328" y="249091"/>
                    </a:cubicBezTo>
                    <a:cubicBezTo>
                      <a:pt x="328630" y="226128"/>
                      <a:pt x="339614" y="198507"/>
                      <a:pt x="340613" y="166559"/>
                    </a:cubicBezTo>
                    <a:cubicBezTo>
                      <a:pt x="340613" y="162233"/>
                      <a:pt x="341944" y="157241"/>
                      <a:pt x="344607" y="154246"/>
                    </a:cubicBezTo>
                    <a:cubicBezTo>
                      <a:pt x="356257" y="140935"/>
                      <a:pt x="368906" y="128622"/>
                      <a:pt x="383219" y="113646"/>
                    </a:cubicBezTo>
                    <a:close/>
                  </a:path>
                </a:pathLst>
              </a:custGeom>
              <a:solidFill>
                <a:srgbClr val="F16924"/>
              </a:solidFill>
              <a:ln w="3314"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5FDF2B11-5B00-4C0F-6DDF-CA0E558DB91A}"/>
                  </a:ext>
                </a:extLst>
              </p:cNvPr>
              <p:cNvSpPr/>
              <p:nvPr/>
            </p:nvSpPr>
            <p:spPr>
              <a:xfrm>
                <a:off x="5330925" y="1222922"/>
                <a:ext cx="259181" cy="256678"/>
              </a:xfrm>
              <a:custGeom>
                <a:avLst/>
                <a:gdLst>
                  <a:gd name="connsiteX0" fmla="*/ 259181 w 259181"/>
                  <a:gd name="connsiteY0" fmla="*/ 23579 h 256678"/>
                  <a:gd name="connsiteX1" fmla="*/ 246865 w 259181"/>
                  <a:gd name="connsiteY1" fmla="*/ 45210 h 256678"/>
                  <a:gd name="connsiteX2" fmla="*/ 44816 w 259181"/>
                  <a:gd name="connsiteY2" fmla="*/ 247545 h 256678"/>
                  <a:gd name="connsiteX3" fmla="*/ 7868 w 259181"/>
                  <a:gd name="connsiteY3" fmla="*/ 249542 h 256678"/>
                  <a:gd name="connsiteX4" fmla="*/ 8867 w 259181"/>
                  <a:gd name="connsiteY4" fmla="*/ 211604 h 256678"/>
                  <a:gd name="connsiteX5" fmla="*/ 210916 w 259181"/>
                  <a:gd name="connsiteY5" fmla="*/ 9269 h 256678"/>
                  <a:gd name="connsiteX6" fmla="*/ 240541 w 259181"/>
                  <a:gd name="connsiteY6" fmla="*/ 2946 h 256678"/>
                  <a:gd name="connsiteX7" fmla="*/ 259181 w 259181"/>
                  <a:gd name="connsiteY7" fmla="*/ 23579 h 256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181" h="256677">
                    <a:moveTo>
                      <a:pt x="259181" y="23579"/>
                    </a:moveTo>
                    <a:cubicBezTo>
                      <a:pt x="254188" y="32897"/>
                      <a:pt x="251525" y="40219"/>
                      <a:pt x="246865" y="45210"/>
                    </a:cubicBezTo>
                    <a:cubicBezTo>
                      <a:pt x="179626" y="112766"/>
                      <a:pt x="112388" y="180322"/>
                      <a:pt x="44816" y="247545"/>
                    </a:cubicBezTo>
                    <a:cubicBezTo>
                      <a:pt x="33166" y="259193"/>
                      <a:pt x="18187" y="259526"/>
                      <a:pt x="7868" y="249542"/>
                    </a:cubicBezTo>
                    <a:cubicBezTo>
                      <a:pt x="-2784" y="239226"/>
                      <a:pt x="-2784" y="223585"/>
                      <a:pt x="8867" y="211604"/>
                    </a:cubicBezTo>
                    <a:cubicBezTo>
                      <a:pt x="76105" y="144048"/>
                      <a:pt x="143677" y="76825"/>
                      <a:pt x="210916" y="9269"/>
                    </a:cubicBezTo>
                    <a:cubicBezTo>
                      <a:pt x="219570" y="617"/>
                      <a:pt x="230222" y="-3044"/>
                      <a:pt x="240541" y="2946"/>
                    </a:cubicBezTo>
                    <a:cubicBezTo>
                      <a:pt x="247864" y="7605"/>
                      <a:pt x="252857" y="16258"/>
                      <a:pt x="259181" y="23579"/>
                    </a:cubicBezTo>
                    <a:close/>
                  </a:path>
                </a:pathLst>
              </a:custGeom>
              <a:solidFill>
                <a:srgbClr val="F16924"/>
              </a:solidFill>
              <a:ln w="3314" cap="flat">
                <a:noFill/>
                <a:prstDash val="solid"/>
                <a:miter/>
              </a:ln>
            </p:spPr>
            <p:txBody>
              <a:bodyPr rtlCol="0" anchor="ctr"/>
              <a:lstStyle/>
              <a:p>
                <a:endParaRPr lang="en-US"/>
              </a:p>
            </p:txBody>
          </p:sp>
        </p:grpSp>
        <p:grpSp>
          <p:nvGrpSpPr>
            <p:cNvPr id="13" name="Graphic 24">
              <a:extLst>
                <a:ext uri="{FF2B5EF4-FFF2-40B4-BE49-F238E27FC236}">
                  <a16:creationId xmlns:a16="http://schemas.microsoft.com/office/drawing/2014/main" id="{32B12CC2-1C4D-1EBB-C908-D1F644950324}"/>
                </a:ext>
              </a:extLst>
            </p:cNvPr>
            <p:cNvGrpSpPr/>
            <p:nvPr/>
          </p:nvGrpSpPr>
          <p:grpSpPr>
            <a:xfrm>
              <a:off x="4583522" y="477429"/>
              <a:ext cx="1285857" cy="1284227"/>
              <a:chOff x="4583522" y="477429"/>
              <a:chExt cx="1285857" cy="1284227"/>
            </a:xfrm>
            <a:grpFill/>
          </p:grpSpPr>
          <p:sp>
            <p:nvSpPr>
              <p:cNvPr id="14" name="Freeform 13">
                <a:extLst>
                  <a:ext uri="{FF2B5EF4-FFF2-40B4-BE49-F238E27FC236}">
                    <a16:creationId xmlns:a16="http://schemas.microsoft.com/office/drawing/2014/main" id="{EF4326B1-18B3-6F48-1601-DEB2685FD299}"/>
                  </a:ext>
                </a:extLst>
              </p:cNvPr>
              <p:cNvSpPr/>
              <p:nvPr/>
            </p:nvSpPr>
            <p:spPr>
              <a:xfrm>
                <a:off x="4583522" y="477429"/>
                <a:ext cx="1285857" cy="1284227"/>
              </a:xfrm>
              <a:custGeom>
                <a:avLst/>
                <a:gdLst>
                  <a:gd name="connsiteX0" fmla="*/ 666 w 1285857"/>
                  <a:gd name="connsiteY0" fmla="*/ 677223 h 1284227"/>
                  <a:gd name="connsiteX1" fmla="*/ 6324 w 1285857"/>
                  <a:gd name="connsiteY1" fmla="*/ 669236 h 1284227"/>
                  <a:gd name="connsiteX2" fmla="*/ 32288 w 1285857"/>
                  <a:gd name="connsiteY2" fmla="*/ 660584 h 1284227"/>
                  <a:gd name="connsiteX3" fmla="*/ 50595 w 1285857"/>
                  <a:gd name="connsiteY3" fmla="*/ 680884 h 1284227"/>
                  <a:gd name="connsiteX4" fmla="*/ 50928 w 1285857"/>
                  <a:gd name="connsiteY4" fmla="*/ 694528 h 1284227"/>
                  <a:gd name="connsiteX5" fmla="*/ 50928 w 1285857"/>
                  <a:gd name="connsiteY5" fmla="*/ 1099531 h 1284227"/>
                  <a:gd name="connsiteX6" fmla="*/ 85546 w 1285857"/>
                  <a:gd name="connsiteY6" fmla="*/ 1133808 h 1284227"/>
                  <a:gd name="connsiteX7" fmla="*/ 460685 w 1285857"/>
                  <a:gd name="connsiteY7" fmla="*/ 1133808 h 1284227"/>
                  <a:gd name="connsiteX8" fmla="*/ 475331 w 1285857"/>
                  <a:gd name="connsiteY8" fmla="*/ 1133808 h 1284227"/>
                  <a:gd name="connsiteX9" fmla="*/ 563540 w 1285857"/>
                  <a:gd name="connsiteY9" fmla="*/ 880556 h 1284227"/>
                  <a:gd name="connsiteX10" fmla="*/ 561543 w 1285857"/>
                  <a:gd name="connsiteY10" fmla="*/ 877894 h 1284227"/>
                  <a:gd name="connsiteX11" fmla="*/ 520934 w 1285857"/>
                  <a:gd name="connsiteY11" fmla="*/ 877894 h 1284227"/>
                  <a:gd name="connsiteX12" fmla="*/ 490643 w 1285857"/>
                  <a:gd name="connsiteY12" fmla="*/ 852270 h 1284227"/>
                  <a:gd name="connsiteX13" fmla="*/ 520934 w 1285857"/>
                  <a:gd name="connsiteY13" fmla="*/ 827643 h 1284227"/>
                  <a:gd name="connsiteX14" fmla="*/ 612471 w 1285857"/>
                  <a:gd name="connsiteY14" fmla="*/ 827643 h 1284227"/>
                  <a:gd name="connsiteX15" fmla="*/ 626785 w 1285857"/>
                  <a:gd name="connsiteY15" fmla="*/ 824648 h 1284227"/>
                  <a:gd name="connsiteX16" fmla="*/ 796878 w 1285857"/>
                  <a:gd name="connsiteY16" fmla="*/ 800687 h 1284227"/>
                  <a:gd name="connsiteX17" fmla="*/ 802537 w 1285857"/>
                  <a:gd name="connsiteY17" fmla="*/ 801686 h 1284227"/>
                  <a:gd name="connsiteX18" fmla="*/ 796213 w 1285857"/>
                  <a:gd name="connsiteY18" fmla="*/ 765745 h 1284227"/>
                  <a:gd name="connsiteX19" fmla="*/ 859124 w 1285857"/>
                  <a:gd name="connsiteY19" fmla="*/ 584375 h 1284227"/>
                  <a:gd name="connsiteX20" fmla="*/ 884755 w 1285857"/>
                  <a:gd name="connsiteY20" fmla="*/ 521478 h 1284227"/>
                  <a:gd name="connsiteX21" fmla="*/ 884089 w 1285857"/>
                  <a:gd name="connsiteY21" fmla="*/ 85194 h 1284227"/>
                  <a:gd name="connsiteX22" fmla="*/ 849138 w 1285857"/>
                  <a:gd name="connsiteY22" fmla="*/ 50251 h 1284227"/>
                  <a:gd name="connsiteX23" fmla="*/ 287262 w 1285857"/>
                  <a:gd name="connsiteY23" fmla="*/ 50251 h 1284227"/>
                  <a:gd name="connsiteX24" fmla="*/ 271951 w 1285857"/>
                  <a:gd name="connsiteY24" fmla="*/ 50251 h 1284227"/>
                  <a:gd name="connsiteX25" fmla="*/ 271951 w 1285857"/>
                  <a:gd name="connsiteY25" fmla="*/ 64228 h 1284227"/>
                  <a:gd name="connsiteX26" fmla="*/ 271951 w 1285857"/>
                  <a:gd name="connsiteY26" fmla="*/ 194681 h 1284227"/>
                  <a:gd name="connsiteX27" fmla="*/ 195725 w 1285857"/>
                  <a:gd name="connsiteY27" fmla="*/ 270889 h 1284227"/>
                  <a:gd name="connsiteX28" fmla="*/ 51261 w 1285857"/>
                  <a:gd name="connsiteY28" fmla="*/ 270889 h 1284227"/>
                  <a:gd name="connsiteX29" fmla="*/ 51261 w 1285857"/>
                  <a:gd name="connsiteY29" fmla="*/ 284866 h 1284227"/>
                  <a:gd name="connsiteX30" fmla="*/ 51261 w 1285857"/>
                  <a:gd name="connsiteY30" fmla="*/ 450262 h 1284227"/>
                  <a:gd name="connsiteX31" fmla="*/ 32621 w 1285857"/>
                  <a:gd name="connsiteY31" fmla="*/ 483208 h 1284227"/>
                  <a:gd name="connsiteX32" fmla="*/ 999 w 1285857"/>
                  <a:gd name="connsiteY32" fmla="*/ 466568 h 1284227"/>
                  <a:gd name="connsiteX33" fmla="*/ 999 w 1285857"/>
                  <a:gd name="connsiteY33" fmla="*/ 238276 h 1284227"/>
                  <a:gd name="connsiteX34" fmla="*/ 16976 w 1285857"/>
                  <a:gd name="connsiteY34" fmla="*/ 219307 h 1284227"/>
                  <a:gd name="connsiteX35" fmla="*/ 220357 w 1285857"/>
                  <a:gd name="connsiteY35" fmla="*/ 15974 h 1284227"/>
                  <a:gd name="connsiteX36" fmla="*/ 239330 w 1285857"/>
                  <a:gd name="connsiteY36" fmla="*/ 0 h 1284227"/>
                  <a:gd name="connsiteX37" fmla="*/ 871773 w 1285857"/>
                  <a:gd name="connsiteY37" fmla="*/ 0 h 1284227"/>
                  <a:gd name="connsiteX38" fmla="*/ 934352 w 1285857"/>
                  <a:gd name="connsiteY38" fmla="*/ 92182 h 1284227"/>
                  <a:gd name="connsiteX39" fmla="*/ 934352 w 1285857"/>
                  <a:gd name="connsiteY39" fmla="*/ 494855 h 1284227"/>
                  <a:gd name="connsiteX40" fmla="*/ 934352 w 1285857"/>
                  <a:gd name="connsiteY40" fmla="*/ 509831 h 1284227"/>
                  <a:gd name="connsiteX41" fmla="*/ 944338 w 1285857"/>
                  <a:gd name="connsiteY41" fmla="*/ 502842 h 1284227"/>
                  <a:gd name="connsiteX42" fmla="*/ 1279533 w 1285857"/>
                  <a:gd name="connsiteY42" fmla="*/ 629302 h 1284227"/>
                  <a:gd name="connsiteX43" fmla="*/ 1285857 w 1285857"/>
                  <a:gd name="connsiteY43" fmla="*/ 656923 h 1284227"/>
                  <a:gd name="connsiteX44" fmla="*/ 1285857 w 1285857"/>
                  <a:gd name="connsiteY44" fmla="*/ 704512 h 1284227"/>
                  <a:gd name="connsiteX45" fmla="*/ 1283527 w 1285857"/>
                  <a:gd name="connsiteY45" fmla="*/ 711500 h 1284227"/>
                  <a:gd name="connsiteX46" fmla="*/ 1226940 w 1285857"/>
                  <a:gd name="connsiteY46" fmla="*/ 829307 h 1284227"/>
                  <a:gd name="connsiteX47" fmla="*/ 1159368 w 1285857"/>
                  <a:gd name="connsiteY47" fmla="*/ 896530 h 1284227"/>
                  <a:gd name="connsiteX48" fmla="*/ 986611 w 1285857"/>
                  <a:gd name="connsiteY48" fmla="*/ 953437 h 1284227"/>
                  <a:gd name="connsiteX49" fmla="*/ 948665 w 1285857"/>
                  <a:gd name="connsiteY49" fmla="*/ 947114 h 1284227"/>
                  <a:gd name="connsiteX50" fmla="*/ 947999 w 1285857"/>
                  <a:gd name="connsiteY50" fmla="*/ 949443 h 1284227"/>
                  <a:gd name="connsiteX51" fmla="*/ 949664 w 1285857"/>
                  <a:gd name="connsiteY51" fmla="*/ 956765 h 1284227"/>
                  <a:gd name="connsiteX52" fmla="*/ 902397 w 1285857"/>
                  <a:gd name="connsiteY52" fmla="*/ 1152111 h 1284227"/>
                  <a:gd name="connsiteX53" fmla="*/ 824173 w 1285857"/>
                  <a:gd name="connsiteY53" fmla="*/ 1229984 h 1284227"/>
                  <a:gd name="connsiteX54" fmla="*/ 761595 w 1285857"/>
                  <a:gd name="connsiteY54" fmla="*/ 1268254 h 1284227"/>
                  <a:gd name="connsiteX55" fmla="*/ 705341 w 1285857"/>
                  <a:gd name="connsiteY55" fmla="*/ 1284228 h 1284227"/>
                  <a:gd name="connsiteX56" fmla="*/ 657741 w 1285857"/>
                  <a:gd name="connsiteY56" fmla="*/ 1284228 h 1284227"/>
                  <a:gd name="connsiteX57" fmla="*/ 650751 w 1285857"/>
                  <a:gd name="connsiteY57" fmla="*/ 1281898 h 1284227"/>
                  <a:gd name="connsiteX58" fmla="*/ 505955 w 1285857"/>
                  <a:gd name="connsiteY58" fmla="*/ 1194375 h 1284227"/>
                  <a:gd name="connsiteX59" fmla="*/ 484318 w 1285857"/>
                  <a:gd name="connsiteY59" fmla="*/ 1183726 h 1284227"/>
                  <a:gd name="connsiteX60" fmla="*/ 80886 w 1285857"/>
                  <a:gd name="connsiteY60" fmla="*/ 1184059 h 1284227"/>
                  <a:gd name="connsiteX61" fmla="*/ 1997 w 1285857"/>
                  <a:gd name="connsiteY61" fmla="*/ 1125821 h 1284227"/>
                  <a:gd name="connsiteX62" fmla="*/ 0 w 1285857"/>
                  <a:gd name="connsiteY62" fmla="*/ 1121162 h 1284227"/>
                  <a:gd name="connsiteX63" fmla="*/ 666 w 1285857"/>
                  <a:gd name="connsiteY63" fmla="*/ 677223 h 1284227"/>
                  <a:gd name="connsiteX64" fmla="*/ 957985 w 1285857"/>
                  <a:gd name="connsiteY64" fmla="*/ 896863 h 1284227"/>
                  <a:gd name="connsiteX65" fmla="*/ 1122753 w 1285857"/>
                  <a:gd name="connsiteY65" fmla="*/ 862253 h 1284227"/>
                  <a:gd name="connsiteX66" fmla="*/ 1191989 w 1285857"/>
                  <a:gd name="connsiteY66" fmla="*/ 793366 h 1284227"/>
                  <a:gd name="connsiteX67" fmla="*/ 1235262 w 1285857"/>
                  <a:gd name="connsiteY67" fmla="*/ 689204 h 1284227"/>
                  <a:gd name="connsiteX68" fmla="*/ 1136401 w 1285857"/>
                  <a:gd name="connsiteY68" fmla="*/ 528800 h 1284227"/>
                  <a:gd name="connsiteX69" fmla="*/ 950995 w 1285857"/>
                  <a:gd name="connsiteY69" fmla="*/ 563077 h 1284227"/>
                  <a:gd name="connsiteX70" fmla="*/ 894075 w 1285857"/>
                  <a:gd name="connsiteY70" fmla="*/ 619651 h 1284227"/>
                  <a:gd name="connsiteX71" fmla="*/ 844811 w 1285857"/>
                  <a:gd name="connsiteY71" fmla="*/ 725477 h 1284227"/>
                  <a:gd name="connsiteX72" fmla="*/ 853133 w 1285857"/>
                  <a:gd name="connsiteY72" fmla="*/ 791036 h 1284227"/>
                  <a:gd name="connsiteX73" fmla="*/ 887418 w 1285857"/>
                  <a:gd name="connsiteY73" fmla="*/ 755095 h 1284227"/>
                  <a:gd name="connsiteX74" fmla="*/ 894741 w 1285857"/>
                  <a:gd name="connsiteY74" fmla="*/ 738123 h 1284227"/>
                  <a:gd name="connsiteX75" fmla="*/ 925697 w 1285857"/>
                  <a:gd name="connsiteY75" fmla="*/ 660584 h 1284227"/>
                  <a:gd name="connsiteX76" fmla="*/ 990606 w 1285857"/>
                  <a:gd name="connsiteY76" fmla="*/ 596023 h 1284227"/>
                  <a:gd name="connsiteX77" fmla="*/ 1095458 w 1285857"/>
                  <a:gd name="connsiteY77" fmla="*/ 569067 h 1284227"/>
                  <a:gd name="connsiteX78" fmla="*/ 1154375 w 1285857"/>
                  <a:gd name="connsiteY78" fmla="*/ 759422 h 1284227"/>
                  <a:gd name="connsiteX79" fmla="*/ 1097123 w 1285857"/>
                  <a:gd name="connsiteY79" fmla="*/ 817327 h 1284227"/>
                  <a:gd name="connsiteX80" fmla="*/ 1009912 w 1285857"/>
                  <a:gd name="connsiteY80" fmla="*/ 854932 h 1284227"/>
                  <a:gd name="connsiteX81" fmla="*/ 998928 w 1285857"/>
                  <a:gd name="connsiteY81" fmla="*/ 858592 h 1284227"/>
                  <a:gd name="connsiteX82" fmla="*/ 957985 w 1285857"/>
                  <a:gd name="connsiteY82" fmla="*/ 896863 h 1284227"/>
                  <a:gd name="connsiteX83" fmla="*/ 898069 w 1285857"/>
                  <a:gd name="connsiteY83" fmla="*/ 957098 h 1284227"/>
                  <a:gd name="connsiteX84" fmla="*/ 859457 w 1285857"/>
                  <a:gd name="connsiteY84" fmla="*/ 997365 h 1284227"/>
                  <a:gd name="connsiteX85" fmla="*/ 855463 w 1285857"/>
                  <a:gd name="connsiteY85" fmla="*/ 1009678 h 1284227"/>
                  <a:gd name="connsiteX86" fmla="*/ 821178 w 1285857"/>
                  <a:gd name="connsiteY86" fmla="*/ 1092209 h 1284227"/>
                  <a:gd name="connsiteX87" fmla="*/ 763592 w 1285857"/>
                  <a:gd name="connsiteY87" fmla="*/ 1149782 h 1284227"/>
                  <a:gd name="connsiteX88" fmla="*/ 599823 w 1285857"/>
                  <a:gd name="connsiteY88" fmla="*/ 1149116 h 1284227"/>
                  <a:gd name="connsiteX89" fmla="*/ 599490 w 1285857"/>
                  <a:gd name="connsiteY89" fmla="*/ 985385 h 1284227"/>
                  <a:gd name="connsiteX90" fmla="*/ 657075 w 1285857"/>
                  <a:gd name="connsiteY90" fmla="*/ 927812 h 1284227"/>
                  <a:gd name="connsiteX91" fmla="*/ 739626 w 1285857"/>
                  <a:gd name="connsiteY91" fmla="*/ 893868 h 1284227"/>
                  <a:gd name="connsiteX92" fmla="*/ 750277 w 1285857"/>
                  <a:gd name="connsiteY92" fmla="*/ 891538 h 1284227"/>
                  <a:gd name="connsiteX93" fmla="*/ 791220 w 1285857"/>
                  <a:gd name="connsiteY93" fmla="*/ 850938 h 1284227"/>
                  <a:gd name="connsiteX94" fmla="*/ 628782 w 1285857"/>
                  <a:gd name="connsiteY94" fmla="*/ 885215 h 1284227"/>
                  <a:gd name="connsiteX95" fmla="*/ 558547 w 1285857"/>
                  <a:gd name="connsiteY95" fmla="*/ 955101 h 1284227"/>
                  <a:gd name="connsiteX96" fmla="*/ 560544 w 1285857"/>
                  <a:gd name="connsiteY96" fmla="*/ 1181729 h 1284227"/>
                  <a:gd name="connsiteX97" fmla="*/ 786560 w 1285857"/>
                  <a:gd name="connsiteY97" fmla="*/ 1196705 h 1284227"/>
                  <a:gd name="connsiteX98" fmla="*/ 869443 w 1285857"/>
                  <a:gd name="connsiteY98" fmla="*/ 1113175 h 1284227"/>
                  <a:gd name="connsiteX99" fmla="*/ 898069 w 1285857"/>
                  <a:gd name="connsiteY99" fmla="*/ 957098 h 1284227"/>
                  <a:gd name="connsiteX100" fmla="*/ 1006583 w 1285857"/>
                  <a:gd name="connsiteY100" fmla="*/ 769073 h 1284227"/>
                  <a:gd name="connsiteX101" fmla="*/ 987943 w 1285857"/>
                  <a:gd name="connsiteY101" fmla="*/ 748440 h 1284227"/>
                  <a:gd name="connsiteX102" fmla="*/ 958318 w 1285857"/>
                  <a:gd name="connsiteY102" fmla="*/ 754763 h 1284227"/>
                  <a:gd name="connsiteX103" fmla="*/ 756269 w 1285857"/>
                  <a:gd name="connsiteY103" fmla="*/ 957098 h 1284227"/>
                  <a:gd name="connsiteX104" fmla="*/ 755270 w 1285857"/>
                  <a:gd name="connsiteY104" fmla="*/ 995035 h 1284227"/>
                  <a:gd name="connsiteX105" fmla="*/ 792218 w 1285857"/>
                  <a:gd name="connsiteY105" fmla="*/ 993039 h 1284227"/>
                  <a:gd name="connsiteX106" fmla="*/ 994267 w 1285857"/>
                  <a:gd name="connsiteY106" fmla="*/ 790704 h 1284227"/>
                  <a:gd name="connsiteX107" fmla="*/ 1006583 w 1285857"/>
                  <a:gd name="connsiteY107" fmla="*/ 769073 h 1284227"/>
                  <a:gd name="connsiteX108" fmla="*/ 1053184 w 1285857"/>
                  <a:gd name="connsiteY108" fmla="*/ 788041 h 1284227"/>
                  <a:gd name="connsiteX109" fmla="*/ 1059509 w 1285857"/>
                  <a:gd name="connsiteY109" fmla="*/ 783382 h 1284227"/>
                  <a:gd name="connsiteX110" fmla="*/ 1115097 w 1285857"/>
                  <a:gd name="connsiteY110" fmla="*/ 727474 h 1284227"/>
                  <a:gd name="connsiteX111" fmla="*/ 1114432 w 1285857"/>
                  <a:gd name="connsiteY111" fmla="*/ 633961 h 1284227"/>
                  <a:gd name="connsiteX112" fmla="*/ 1020897 w 1285857"/>
                  <a:gd name="connsiteY112" fmla="*/ 634959 h 1284227"/>
                  <a:gd name="connsiteX113" fmla="*/ 981951 w 1285857"/>
                  <a:gd name="connsiteY113" fmla="*/ 673895 h 1284227"/>
                  <a:gd name="connsiteX114" fmla="*/ 959982 w 1285857"/>
                  <a:gd name="connsiteY114" fmla="*/ 696192 h 1284227"/>
                  <a:gd name="connsiteX115" fmla="*/ 1053184 w 1285857"/>
                  <a:gd name="connsiteY115" fmla="*/ 788041 h 1284227"/>
                  <a:gd name="connsiteX116" fmla="*/ 697685 w 1285857"/>
                  <a:gd name="connsiteY116" fmla="*/ 960426 h 1284227"/>
                  <a:gd name="connsiteX117" fmla="*/ 690695 w 1285857"/>
                  <a:gd name="connsiteY117" fmla="*/ 965750 h 1284227"/>
                  <a:gd name="connsiteX118" fmla="*/ 635772 w 1285857"/>
                  <a:gd name="connsiteY118" fmla="*/ 1020660 h 1284227"/>
                  <a:gd name="connsiteX119" fmla="*/ 635106 w 1285857"/>
                  <a:gd name="connsiteY119" fmla="*/ 1113175 h 1284227"/>
                  <a:gd name="connsiteX120" fmla="*/ 728641 w 1285857"/>
                  <a:gd name="connsiteY120" fmla="*/ 1113841 h 1284227"/>
                  <a:gd name="connsiteX121" fmla="*/ 783564 w 1285857"/>
                  <a:gd name="connsiteY121" fmla="*/ 1058931 h 1284227"/>
                  <a:gd name="connsiteX122" fmla="*/ 789223 w 1285857"/>
                  <a:gd name="connsiteY122" fmla="*/ 1051942 h 1284227"/>
                  <a:gd name="connsiteX123" fmla="*/ 697685 w 1285857"/>
                  <a:gd name="connsiteY123" fmla="*/ 960426 h 1284227"/>
                  <a:gd name="connsiteX124" fmla="*/ 90206 w 1285857"/>
                  <a:gd name="connsiteY124" fmla="*/ 220638 h 1284227"/>
                  <a:gd name="connsiteX125" fmla="*/ 198387 w 1285857"/>
                  <a:gd name="connsiteY125" fmla="*/ 220638 h 1284227"/>
                  <a:gd name="connsiteX126" fmla="*/ 221688 w 1285857"/>
                  <a:gd name="connsiteY126" fmla="*/ 197010 h 1284227"/>
                  <a:gd name="connsiteX127" fmla="*/ 221688 w 1285857"/>
                  <a:gd name="connsiteY127" fmla="*/ 135777 h 1284227"/>
                  <a:gd name="connsiteX128" fmla="*/ 221688 w 1285857"/>
                  <a:gd name="connsiteY128" fmla="*/ 88854 h 1284227"/>
                  <a:gd name="connsiteX129" fmla="*/ 90206 w 1285857"/>
                  <a:gd name="connsiteY129" fmla="*/ 220638 h 1284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1285857" h="1284227">
                    <a:moveTo>
                      <a:pt x="666" y="677223"/>
                    </a:moveTo>
                    <a:cubicBezTo>
                      <a:pt x="2663" y="674561"/>
                      <a:pt x="4327" y="671566"/>
                      <a:pt x="6324" y="669236"/>
                    </a:cubicBezTo>
                    <a:cubicBezTo>
                      <a:pt x="13315" y="661249"/>
                      <a:pt x="21969" y="657921"/>
                      <a:pt x="32288" y="660584"/>
                    </a:cubicBezTo>
                    <a:cubicBezTo>
                      <a:pt x="42274" y="663246"/>
                      <a:pt x="48598" y="670567"/>
                      <a:pt x="50595" y="680884"/>
                    </a:cubicBezTo>
                    <a:cubicBezTo>
                      <a:pt x="51261" y="685210"/>
                      <a:pt x="50928" y="690202"/>
                      <a:pt x="50928" y="694528"/>
                    </a:cubicBezTo>
                    <a:cubicBezTo>
                      <a:pt x="50928" y="829640"/>
                      <a:pt x="50928" y="964419"/>
                      <a:pt x="50928" y="1099531"/>
                    </a:cubicBezTo>
                    <a:cubicBezTo>
                      <a:pt x="50928" y="1126154"/>
                      <a:pt x="58584" y="1133808"/>
                      <a:pt x="85546" y="1133808"/>
                    </a:cubicBezTo>
                    <a:cubicBezTo>
                      <a:pt x="210703" y="1133808"/>
                      <a:pt x="335528" y="1133808"/>
                      <a:pt x="460685" y="1133808"/>
                    </a:cubicBezTo>
                    <a:cubicBezTo>
                      <a:pt x="465345" y="1133808"/>
                      <a:pt x="469672" y="1133808"/>
                      <a:pt x="475331" y="1133808"/>
                    </a:cubicBezTo>
                    <a:cubicBezTo>
                      <a:pt x="446372" y="1028980"/>
                      <a:pt x="482987" y="947114"/>
                      <a:pt x="563540" y="880556"/>
                    </a:cubicBezTo>
                    <a:cubicBezTo>
                      <a:pt x="562875" y="879558"/>
                      <a:pt x="562209" y="878893"/>
                      <a:pt x="561543" y="877894"/>
                    </a:cubicBezTo>
                    <a:cubicBezTo>
                      <a:pt x="547896" y="877894"/>
                      <a:pt x="534581" y="877894"/>
                      <a:pt x="520934" y="877894"/>
                    </a:cubicBezTo>
                    <a:cubicBezTo>
                      <a:pt x="501960" y="877894"/>
                      <a:pt x="489977" y="867578"/>
                      <a:pt x="490643" y="852270"/>
                    </a:cubicBezTo>
                    <a:cubicBezTo>
                      <a:pt x="490976" y="837294"/>
                      <a:pt x="502626" y="827643"/>
                      <a:pt x="520934" y="827643"/>
                    </a:cubicBezTo>
                    <a:cubicBezTo>
                      <a:pt x="551557" y="827643"/>
                      <a:pt x="581848" y="827643"/>
                      <a:pt x="612471" y="827643"/>
                    </a:cubicBezTo>
                    <a:cubicBezTo>
                      <a:pt x="617131" y="827643"/>
                      <a:pt x="622790" y="826978"/>
                      <a:pt x="626785" y="824648"/>
                    </a:cubicBezTo>
                    <a:cubicBezTo>
                      <a:pt x="680376" y="793366"/>
                      <a:pt x="736963" y="785379"/>
                      <a:pt x="796878" y="800687"/>
                    </a:cubicBezTo>
                    <a:cubicBezTo>
                      <a:pt x="798543" y="801020"/>
                      <a:pt x="799874" y="801353"/>
                      <a:pt x="802537" y="801686"/>
                    </a:cubicBezTo>
                    <a:cubicBezTo>
                      <a:pt x="800207" y="789373"/>
                      <a:pt x="797544" y="777725"/>
                      <a:pt x="796213" y="765745"/>
                    </a:cubicBezTo>
                    <a:cubicBezTo>
                      <a:pt x="787891" y="695194"/>
                      <a:pt x="808529" y="633961"/>
                      <a:pt x="859124" y="584375"/>
                    </a:cubicBezTo>
                    <a:cubicBezTo>
                      <a:pt x="878098" y="565739"/>
                      <a:pt x="885088" y="547769"/>
                      <a:pt x="884755" y="521478"/>
                    </a:cubicBezTo>
                    <a:cubicBezTo>
                      <a:pt x="883423" y="376050"/>
                      <a:pt x="884089" y="230622"/>
                      <a:pt x="884089" y="85194"/>
                    </a:cubicBezTo>
                    <a:cubicBezTo>
                      <a:pt x="884089" y="57905"/>
                      <a:pt x="876433" y="50251"/>
                      <a:pt x="849138" y="50251"/>
                    </a:cubicBezTo>
                    <a:cubicBezTo>
                      <a:pt x="661735" y="50251"/>
                      <a:pt x="474665" y="50251"/>
                      <a:pt x="287262" y="50251"/>
                    </a:cubicBezTo>
                    <a:cubicBezTo>
                      <a:pt x="282602" y="50251"/>
                      <a:pt x="278275" y="50251"/>
                      <a:pt x="271951" y="50251"/>
                    </a:cubicBezTo>
                    <a:cubicBezTo>
                      <a:pt x="271951" y="55576"/>
                      <a:pt x="271951" y="59902"/>
                      <a:pt x="271951" y="64228"/>
                    </a:cubicBezTo>
                    <a:cubicBezTo>
                      <a:pt x="271951" y="107823"/>
                      <a:pt x="271951" y="151086"/>
                      <a:pt x="271951" y="194681"/>
                    </a:cubicBezTo>
                    <a:cubicBezTo>
                      <a:pt x="271951" y="240606"/>
                      <a:pt x="241660" y="270889"/>
                      <a:pt x="195725" y="270889"/>
                    </a:cubicBezTo>
                    <a:cubicBezTo>
                      <a:pt x="148125" y="270889"/>
                      <a:pt x="100525" y="270889"/>
                      <a:pt x="51261" y="270889"/>
                    </a:cubicBezTo>
                    <a:cubicBezTo>
                      <a:pt x="51261" y="275881"/>
                      <a:pt x="51261" y="280540"/>
                      <a:pt x="51261" y="284866"/>
                    </a:cubicBezTo>
                    <a:cubicBezTo>
                      <a:pt x="51261" y="340109"/>
                      <a:pt x="51261" y="395352"/>
                      <a:pt x="51261" y="450262"/>
                    </a:cubicBezTo>
                    <a:cubicBezTo>
                      <a:pt x="51261" y="469564"/>
                      <a:pt x="45602" y="479214"/>
                      <a:pt x="32621" y="483208"/>
                    </a:cubicBezTo>
                    <a:cubicBezTo>
                      <a:pt x="20970" y="486536"/>
                      <a:pt x="11317" y="481544"/>
                      <a:pt x="999" y="466568"/>
                    </a:cubicBezTo>
                    <a:cubicBezTo>
                      <a:pt x="999" y="390360"/>
                      <a:pt x="999" y="314484"/>
                      <a:pt x="999" y="238276"/>
                    </a:cubicBezTo>
                    <a:cubicBezTo>
                      <a:pt x="6324" y="231953"/>
                      <a:pt x="11317" y="225297"/>
                      <a:pt x="16976" y="219307"/>
                    </a:cubicBezTo>
                    <a:cubicBezTo>
                      <a:pt x="84548" y="151418"/>
                      <a:pt x="152452" y="83530"/>
                      <a:pt x="220357" y="15974"/>
                    </a:cubicBezTo>
                    <a:cubicBezTo>
                      <a:pt x="226348" y="10316"/>
                      <a:pt x="233005" y="5325"/>
                      <a:pt x="239330" y="0"/>
                    </a:cubicBezTo>
                    <a:cubicBezTo>
                      <a:pt x="450033" y="0"/>
                      <a:pt x="661070" y="0"/>
                      <a:pt x="871773" y="0"/>
                    </a:cubicBezTo>
                    <a:cubicBezTo>
                      <a:pt x="921370" y="18969"/>
                      <a:pt x="934352" y="37938"/>
                      <a:pt x="934352" y="92182"/>
                    </a:cubicBezTo>
                    <a:cubicBezTo>
                      <a:pt x="934352" y="226296"/>
                      <a:pt x="934352" y="360742"/>
                      <a:pt x="934352" y="494855"/>
                    </a:cubicBezTo>
                    <a:cubicBezTo>
                      <a:pt x="934352" y="499182"/>
                      <a:pt x="934352" y="503508"/>
                      <a:pt x="934352" y="509831"/>
                    </a:cubicBezTo>
                    <a:cubicBezTo>
                      <a:pt x="939012" y="506503"/>
                      <a:pt x="941675" y="504839"/>
                      <a:pt x="944338" y="502842"/>
                    </a:cubicBezTo>
                    <a:cubicBezTo>
                      <a:pt x="1070826" y="416318"/>
                      <a:pt x="1242252" y="480878"/>
                      <a:pt x="1279533" y="629302"/>
                    </a:cubicBezTo>
                    <a:cubicBezTo>
                      <a:pt x="1281863" y="638620"/>
                      <a:pt x="1283860" y="647938"/>
                      <a:pt x="1285857" y="656923"/>
                    </a:cubicBezTo>
                    <a:cubicBezTo>
                      <a:pt x="1285857" y="672897"/>
                      <a:pt x="1285857" y="688538"/>
                      <a:pt x="1285857" y="704512"/>
                    </a:cubicBezTo>
                    <a:cubicBezTo>
                      <a:pt x="1285191" y="706841"/>
                      <a:pt x="1283860" y="709171"/>
                      <a:pt x="1283527" y="711500"/>
                    </a:cubicBezTo>
                    <a:cubicBezTo>
                      <a:pt x="1277203" y="756759"/>
                      <a:pt x="1258562" y="796028"/>
                      <a:pt x="1226940" y="829307"/>
                    </a:cubicBezTo>
                    <a:cubicBezTo>
                      <a:pt x="1204971" y="852270"/>
                      <a:pt x="1183002" y="875232"/>
                      <a:pt x="1159368" y="896530"/>
                    </a:cubicBezTo>
                    <a:cubicBezTo>
                      <a:pt x="1110437" y="941457"/>
                      <a:pt x="1052852" y="960758"/>
                      <a:pt x="986611" y="953437"/>
                    </a:cubicBezTo>
                    <a:cubicBezTo>
                      <a:pt x="973963" y="952106"/>
                      <a:pt x="961314" y="949443"/>
                      <a:pt x="948665" y="947114"/>
                    </a:cubicBezTo>
                    <a:cubicBezTo>
                      <a:pt x="948332" y="948112"/>
                      <a:pt x="947999" y="948778"/>
                      <a:pt x="947999" y="949443"/>
                    </a:cubicBezTo>
                    <a:cubicBezTo>
                      <a:pt x="948332" y="951773"/>
                      <a:pt x="948998" y="954435"/>
                      <a:pt x="949664" y="956765"/>
                    </a:cubicBezTo>
                    <a:cubicBezTo>
                      <a:pt x="966640" y="1029645"/>
                      <a:pt x="951328" y="1095537"/>
                      <a:pt x="902397" y="1152111"/>
                    </a:cubicBezTo>
                    <a:cubicBezTo>
                      <a:pt x="878430" y="1179733"/>
                      <a:pt x="852134" y="1206023"/>
                      <a:pt x="824173" y="1229984"/>
                    </a:cubicBezTo>
                    <a:cubicBezTo>
                      <a:pt x="805866" y="1245625"/>
                      <a:pt x="783564" y="1257938"/>
                      <a:pt x="761595" y="1268254"/>
                    </a:cubicBezTo>
                    <a:cubicBezTo>
                      <a:pt x="744286" y="1276241"/>
                      <a:pt x="724314" y="1278904"/>
                      <a:pt x="705341" y="1284228"/>
                    </a:cubicBezTo>
                    <a:cubicBezTo>
                      <a:pt x="689363" y="1284228"/>
                      <a:pt x="673718" y="1284228"/>
                      <a:pt x="657741" y="1284228"/>
                    </a:cubicBezTo>
                    <a:cubicBezTo>
                      <a:pt x="655411" y="1283562"/>
                      <a:pt x="653081" y="1282231"/>
                      <a:pt x="650751" y="1281898"/>
                    </a:cubicBezTo>
                    <a:cubicBezTo>
                      <a:pt x="590502" y="1272580"/>
                      <a:pt x="541904" y="1243628"/>
                      <a:pt x="505955" y="1194375"/>
                    </a:cubicBezTo>
                    <a:cubicBezTo>
                      <a:pt x="499963" y="1186056"/>
                      <a:pt x="493971" y="1183726"/>
                      <a:pt x="484318" y="1183726"/>
                    </a:cubicBezTo>
                    <a:cubicBezTo>
                      <a:pt x="349841" y="1184059"/>
                      <a:pt x="215364" y="1184059"/>
                      <a:pt x="80886" y="1184059"/>
                    </a:cubicBezTo>
                    <a:cubicBezTo>
                      <a:pt x="39944" y="1184059"/>
                      <a:pt x="13980" y="1164757"/>
                      <a:pt x="1997" y="1125821"/>
                    </a:cubicBezTo>
                    <a:cubicBezTo>
                      <a:pt x="1664" y="1124157"/>
                      <a:pt x="666" y="1122826"/>
                      <a:pt x="0" y="1121162"/>
                    </a:cubicBezTo>
                    <a:cubicBezTo>
                      <a:pt x="666" y="973071"/>
                      <a:pt x="666" y="824981"/>
                      <a:pt x="666" y="677223"/>
                    </a:cubicBezTo>
                    <a:close/>
                    <a:moveTo>
                      <a:pt x="957985" y="896863"/>
                    </a:moveTo>
                    <a:cubicBezTo>
                      <a:pt x="1021562" y="914168"/>
                      <a:pt x="1075819" y="903519"/>
                      <a:pt x="1122753" y="862253"/>
                    </a:cubicBezTo>
                    <a:cubicBezTo>
                      <a:pt x="1147052" y="840622"/>
                      <a:pt x="1169687" y="816994"/>
                      <a:pt x="1191989" y="793366"/>
                    </a:cubicBezTo>
                    <a:cubicBezTo>
                      <a:pt x="1219284" y="764413"/>
                      <a:pt x="1233597" y="728805"/>
                      <a:pt x="1235262" y="689204"/>
                    </a:cubicBezTo>
                    <a:cubicBezTo>
                      <a:pt x="1238257" y="618985"/>
                      <a:pt x="1199312" y="556421"/>
                      <a:pt x="1136401" y="528800"/>
                    </a:cubicBezTo>
                    <a:cubicBezTo>
                      <a:pt x="1072824" y="500846"/>
                      <a:pt x="1001258" y="513824"/>
                      <a:pt x="950995" y="563077"/>
                    </a:cubicBezTo>
                    <a:cubicBezTo>
                      <a:pt x="931689" y="581713"/>
                      <a:pt x="913048" y="600682"/>
                      <a:pt x="894075" y="619651"/>
                    </a:cubicBezTo>
                    <a:cubicBezTo>
                      <a:pt x="864783" y="648936"/>
                      <a:pt x="848805" y="684212"/>
                      <a:pt x="844811" y="725477"/>
                    </a:cubicBezTo>
                    <a:cubicBezTo>
                      <a:pt x="842814" y="747109"/>
                      <a:pt x="845144" y="768074"/>
                      <a:pt x="853133" y="791036"/>
                    </a:cubicBezTo>
                    <a:cubicBezTo>
                      <a:pt x="865782" y="778058"/>
                      <a:pt x="877099" y="767076"/>
                      <a:pt x="887418" y="755095"/>
                    </a:cubicBezTo>
                    <a:cubicBezTo>
                      <a:pt x="891412" y="750436"/>
                      <a:pt x="894408" y="743781"/>
                      <a:pt x="894741" y="738123"/>
                    </a:cubicBezTo>
                    <a:cubicBezTo>
                      <a:pt x="896072" y="708505"/>
                      <a:pt x="905392" y="682215"/>
                      <a:pt x="925697" y="660584"/>
                    </a:cubicBezTo>
                    <a:cubicBezTo>
                      <a:pt x="946668" y="638620"/>
                      <a:pt x="967971" y="616656"/>
                      <a:pt x="990606" y="596023"/>
                    </a:cubicBezTo>
                    <a:cubicBezTo>
                      <a:pt x="1020231" y="568734"/>
                      <a:pt x="1056180" y="559749"/>
                      <a:pt x="1095458" y="569067"/>
                    </a:cubicBezTo>
                    <a:cubicBezTo>
                      <a:pt x="1181670" y="589700"/>
                      <a:pt x="1213625" y="693863"/>
                      <a:pt x="1154375" y="759422"/>
                    </a:cubicBezTo>
                    <a:cubicBezTo>
                      <a:pt x="1136068" y="779389"/>
                      <a:pt x="1116096" y="798025"/>
                      <a:pt x="1097123" y="817327"/>
                    </a:cubicBezTo>
                    <a:cubicBezTo>
                      <a:pt x="1073156" y="841953"/>
                      <a:pt x="1044197" y="854266"/>
                      <a:pt x="1009912" y="854932"/>
                    </a:cubicBezTo>
                    <a:cubicBezTo>
                      <a:pt x="1006251" y="854932"/>
                      <a:pt x="1001590" y="856263"/>
                      <a:pt x="998928" y="858592"/>
                    </a:cubicBezTo>
                    <a:cubicBezTo>
                      <a:pt x="985613" y="869907"/>
                      <a:pt x="973297" y="882220"/>
                      <a:pt x="957985" y="896863"/>
                    </a:cubicBezTo>
                    <a:close/>
                    <a:moveTo>
                      <a:pt x="898069" y="957098"/>
                    </a:moveTo>
                    <a:cubicBezTo>
                      <a:pt x="883423" y="972073"/>
                      <a:pt x="871107" y="984386"/>
                      <a:pt x="859457" y="997365"/>
                    </a:cubicBezTo>
                    <a:cubicBezTo>
                      <a:pt x="856794" y="1000360"/>
                      <a:pt x="855796" y="1005685"/>
                      <a:pt x="855463" y="1009678"/>
                    </a:cubicBezTo>
                    <a:cubicBezTo>
                      <a:pt x="854797" y="1041626"/>
                      <a:pt x="843812" y="1069247"/>
                      <a:pt x="821178" y="1092209"/>
                    </a:cubicBezTo>
                    <a:cubicBezTo>
                      <a:pt x="802204" y="1111511"/>
                      <a:pt x="783231" y="1131146"/>
                      <a:pt x="763592" y="1149782"/>
                    </a:cubicBezTo>
                    <a:cubicBezTo>
                      <a:pt x="716658" y="1194708"/>
                      <a:pt x="644759" y="1194375"/>
                      <a:pt x="599823" y="1149116"/>
                    </a:cubicBezTo>
                    <a:cubicBezTo>
                      <a:pt x="554886" y="1103524"/>
                      <a:pt x="554553" y="1032641"/>
                      <a:pt x="599490" y="985385"/>
                    </a:cubicBezTo>
                    <a:cubicBezTo>
                      <a:pt x="618463" y="965750"/>
                      <a:pt x="637769" y="946781"/>
                      <a:pt x="657075" y="927812"/>
                    </a:cubicBezTo>
                    <a:cubicBezTo>
                      <a:pt x="680043" y="905516"/>
                      <a:pt x="707671" y="894201"/>
                      <a:pt x="739626" y="893868"/>
                    </a:cubicBezTo>
                    <a:cubicBezTo>
                      <a:pt x="743287" y="893868"/>
                      <a:pt x="747947" y="893868"/>
                      <a:pt x="750277" y="891538"/>
                    </a:cubicBezTo>
                    <a:cubicBezTo>
                      <a:pt x="763925" y="878560"/>
                      <a:pt x="776907" y="865248"/>
                      <a:pt x="791220" y="850938"/>
                    </a:cubicBezTo>
                    <a:cubicBezTo>
                      <a:pt x="729640" y="833966"/>
                      <a:pt x="675383" y="844283"/>
                      <a:pt x="628782" y="885215"/>
                    </a:cubicBezTo>
                    <a:cubicBezTo>
                      <a:pt x="604150" y="906847"/>
                      <a:pt x="580849" y="930807"/>
                      <a:pt x="558547" y="955101"/>
                    </a:cubicBezTo>
                    <a:cubicBezTo>
                      <a:pt x="499297" y="1019662"/>
                      <a:pt x="500629" y="1118167"/>
                      <a:pt x="560544" y="1181729"/>
                    </a:cubicBezTo>
                    <a:cubicBezTo>
                      <a:pt x="620127" y="1244959"/>
                      <a:pt x="719987" y="1252946"/>
                      <a:pt x="786560" y="1196705"/>
                    </a:cubicBezTo>
                    <a:cubicBezTo>
                      <a:pt x="816518" y="1171413"/>
                      <a:pt x="844478" y="1143459"/>
                      <a:pt x="869443" y="1113175"/>
                    </a:cubicBezTo>
                    <a:cubicBezTo>
                      <a:pt x="906724" y="1068582"/>
                      <a:pt x="914713" y="1016334"/>
                      <a:pt x="898069" y="957098"/>
                    </a:cubicBezTo>
                    <a:close/>
                    <a:moveTo>
                      <a:pt x="1006583" y="769073"/>
                    </a:moveTo>
                    <a:cubicBezTo>
                      <a:pt x="999926" y="761751"/>
                      <a:pt x="995266" y="752766"/>
                      <a:pt x="987943" y="748440"/>
                    </a:cubicBezTo>
                    <a:cubicBezTo>
                      <a:pt x="977624" y="742450"/>
                      <a:pt x="966972" y="746110"/>
                      <a:pt x="958318" y="754763"/>
                    </a:cubicBezTo>
                    <a:cubicBezTo>
                      <a:pt x="891079" y="821986"/>
                      <a:pt x="823508" y="889542"/>
                      <a:pt x="756269" y="957098"/>
                    </a:cubicBezTo>
                    <a:cubicBezTo>
                      <a:pt x="744619" y="969078"/>
                      <a:pt x="744286" y="984719"/>
                      <a:pt x="755270" y="995035"/>
                    </a:cubicBezTo>
                    <a:cubicBezTo>
                      <a:pt x="765589" y="1005019"/>
                      <a:pt x="780901" y="1004686"/>
                      <a:pt x="792218" y="993039"/>
                    </a:cubicBezTo>
                    <a:cubicBezTo>
                      <a:pt x="859790" y="925816"/>
                      <a:pt x="927029" y="858592"/>
                      <a:pt x="994267" y="790704"/>
                    </a:cubicBezTo>
                    <a:cubicBezTo>
                      <a:pt x="999260" y="786045"/>
                      <a:pt x="1001590" y="778391"/>
                      <a:pt x="1006583" y="769073"/>
                    </a:cubicBezTo>
                    <a:close/>
                    <a:moveTo>
                      <a:pt x="1053184" y="788041"/>
                    </a:moveTo>
                    <a:cubicBezTo>
                      <a:pt x="1055847" y="786045"/>
                      <a:pt x="1057845" y="785046"/>
                      <a:pt x="1059509" y="783382"/>
                    </a:cubicBezTo>
                    <a:cubicBezTo>
                      <a:pt x="1078149" y="764746"/>
                      <a:pt x="1097123" y="746443"/>
                      <a:pt x="1115097" y="727474"/>
                    </a:cubicBezTo>
                    <a:cubicBezTo>
                      <a:pt x="1141061" y="700185"/>
                      <a:pt x="1140728" y="659585"/>
                      <a:pt x="1114432" y="633961"/>
                    </a:cubicBezTo>
                    <a:cubicBezTo>
                      <a:pt x="1088468" y="608336"/>
                      <a:pt x="1048524" y="608669"/>
                      <a:pt x="1020897" y="634959"/>
                    </a:cubicBezTo>
                    <a:cubicBezTo>
                      <a:pt x="1007582" y="647605"/>
                      <a:pt x="994933" y="660917"/>
                      <a:pt x="981951" y="673895"/>
                    </a:cubicBezTo>
                    <a:cubicBezTo>
                      <a:pt x="974961" y="680884"/>
                      <a:pt x="968304" y="687872"/>
                      <a:pt x="959982" y="696192"/>
                    </a:cubicBezTo>
                    <a:cubicBezTo>
                      <a:pt x="1020231" y="689869"/>
                      <a:pt x="1059842" y="731135"/>
                      <a:pt x="1053184" y="788041"/>
                    </a:cubicBezTo>
                    <a:close/>
                    <a:moveTo>
                      <a:pt x="697685" y="960426"/>
                    </a:moveTo>
                    <a:cubicBezTo>
                      <a:pt x="695022" y="962422"/>
                      <a:pt x="692692" y="963753"/>
                      <a:pt x="690695" y="965750"/>
                    </a:cubicBezTo>
                    <a:cubicBezTo>
                      <a:pt x="672387" y="984053"/>
                      <a:pt x="653747" y="1002024"/>
                      <a:pt x="635772" y="1020660"/>
                    </a:cubicBezTo>
                    <a:cubicBezTo>
                      <a:pt x="609808" y="1047616"/>
                      <a:pt x="610141" y="1087218"/>
                      <a:pt x="635106" y="1113175"/>
                    </a:cubicBezTo>
                    <a:cubicBezTo>
                      <a:pt x="660737" y="1139133"/>
                      <a:pt x="701013" y="1139798"/>
                      <a:pt x="728641" y="1113841"/>
                    </a:cubicBezTo>
                    <a:cubicBezTo>
                      <a:pt x="747282" y="1095870"/>
                      <a:pt x="765256" y="1077234"/>
                      <a:pt x="783564" y="1058931"/>
                    </a:cubicBezTo>
                    <a:cubicBezTo>
                      <a:pt x="785561" y="1056934"/>
                      <a:pt x="786893" y="1054604"/>
                      <a:pt x="789223" y="1051942"/>
                    </a:cubicBezTo>
                    <a:cubicBezTo>
                      <a:pt x="720985" y="1049280"/>
                      <a:pt x="698351" y="1026650"/>
                      <a:pt x="697685" y="960426"/>
                    </a:cubicBezTo>
                    <a:close/>
                    <a:moveTo>
                      <a:pt x="90206" y="220638"/>
                    </a:moveTo>
                    <a:cubicBezTo>
                      <a:pt x="126489" y="220638"/>
                      <a:pt x="162438" y="220971"/>
                      <a:pt x="198387" y="220638"/>
                    </a:cubicBezTo>
                    <a:cubicBezTo>
                      <a:pt x="213366" y="220638"/>
                      <a:pt x="221688" y="211986"/>
                      <a:pt x="221688" y="197010"/>
                    </a:cubicBezTo>
                    <a:cubicBezTo>
                      <a:pt x="222021" y="176710"/>
                      <a:pt x="221688" y="156077"/>
                      <a:pt x="221688" y="135777"/>
                    </a:cubicBezTo>
                    <a:cubicBezTo>
                      <a:pt x="221688" y="120136"/>
                      <a:pt x="221688" y="104495"/>
                      <a:pt x="221688" y="88854"/>
                    </a:cubicBezTo>
                    <a:cubicBezTo>
                      <a:pt x="177417" y="133115"/>
                      <a:pt x="134145" y="176378"/>
                      <a:pt x="90206" y="220638"/>
                    </a:cubicBezTo>
                    <a:close/>
                  </a:path>
                </a:pathLst>
              </a:custGeom>
              <a:grpFill/>
              <a:ln w="3314"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76747616-8B1D-AE31-6A74-11BEB00B172A}"/>
                  </a:ext>
                </a:extLst>
              </p:cNvPr>
              <p:cNvSpPr/>
              <p:nvPr/>
            </p:nvSpPr>
            <p:spPr>
              <a:xfrm>
                <a:off x="4584188" y="1023905"/>
                <a:ext cx="50275" cy="49840"/>
              </a:xfrm>
              <a:custGeom>
                <a:avLst/>
                <a:gdLst>
                  <a:gd name="connsiteX0" fmla="*/ 0 w 50275"/>
                  <a:gd name="connsiteY0" fmla="*/ 17599 h 49840"/>
                  <a:gd name="connsiteX1" fmla="*/ 4327 w 50275"/>
                  <a:gd name="connsiteY1" fmla="*/ 11609 h 49840"/>
                  <a:gd name="connsiteX2" fmla="*/ 32621 w 50275"/>
                  <a:gd name="connsiteY2" fmla="*/ 1292 h 49840"/>
                  <a:gd name="connsiteX3" fmla="*/ 50263 w 50275"/>
                  <a:gd name="connsiteY3" fmla="*/ 25586 h 49840"/>
                  <a:gd name="connsiteX4" fmla="*/ 32621 w 50275"/>
                  <a:gd name="connsiteY4" fmla="*/ 48548 h 49840"/>
                  <a:gd name="connsiteX5" fmla="*/ 4327 w 50275"/>
                  <a:gd name="connsiteY5" fmla="*/ 38232 h 49840"/>
                  <a:gd name="connsiteX6" fmla="*/ 0 w 50275"/>
                  <a:gd name="connsiteY6" fmla="*/ 32242 h 49840"/>
                  <a:gd name="connsiteX7" fmla="*/ 0 w 50275"/>
                  <a:gd name="connsiteY7" fmla="*/ 17599 h 49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275" h="49840">
                    <a:moveTo>
                      <a:pt x="0" y="17599"/>
                    </a:moveTo>
                    <a:cubicBezTo>
                      <a:pt x="1331" y="15602"/>
                      <a:pt x="2663" y="13605"/>
                      <a:pt x="4327" y="11609"/>
                    </a:cubicBezTo>
                    <a:cubicBezTo>
                      <a:pt x="11317" y="1958"/>
                      <a:pt x="20970" y="-2368"/>
                      <a:pt x="32621" y="1292"/>
                    </a:cubicBezTo>
                    <a:cubicBezTo>
                      <a:pt x="44271" y="4953"/>
                      <a:pt x="50595" y="13605"/>
                      <a:pt x="50263" y="25586"/>
                    </a:cubicBezTo>
                    <a:cubicBezTo>
                      <a:pt x="49930" y="37233"/>
                      <a:pt x="43605" y="45220"/>
                      <a:pt x="32621" y="48548"/>
                    </a:cubicBezTo>
                    <a:cubicBezTo>
                      <a:pt x="20970" y="52209"/>
                      <a:pt x="11650" y="47883"/>
                      <a:pt x="4327" y="38232"/>
                    </a:cubicBezTo>
                    <a:cubicBezTo>
                      <a:pt x="2996" y="36235"/>
                      <a:pt x="1664" y="34238"/>
                      <a:pt x="0" y="32242"/>
                    </a:cubicBezTo>
                    <a:cubicBezTo>
                      <a:pt x="0" y="27915"/>
                      <a:pt x="0" y="22591"/>
                      <a:pt x="0" y="17599"/>
                    </a:cubicBezTo>
                    <a:close/>
                  </a:path>
                </a:pathLst>
              </a:custGeom>
              <a:grpFill/>
              <a:ln w="3314"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CFE3CEC6-0A28-0A2A-FF36-B4F93DDF60F1}"/>
                  </a:ext>
                </a:extLst>
              </p:cNvPr>
              <p:cNvSpPr/>
              <p:nvPr/>
            </p:nvSpPr>
            <p:spPr>
              <a:xfrm>
                <a:off x="4754948" y="883282"/>
                <a:ext cx="591842" cy="50482"/>
              </a:xfrm>
              <a:custGeom>
                <a:avLst/>
                <a:gdLst>
                  <a:gd name="connsiteX0" fmla="*/ 296250 w 591842"/>
                  <a:gd name="connsiteY0" fmla="*/ 50399 h 50482"/>
                  <a:gd name="connsiteX1" fmla="*/ 35617 w 591842"/>
                  <a:gd name="connsiteY1" fmla="*/ 50399 h 50482"/>
                  <a:gd name="connsiteX2" fmla="*/ 22968 w 591842"/>
                  <a:gd name="connsiteY2" fmla="*/ 50066 h 50482"/>
                  <a:gd name="connsiteX3" fmla="*/ 0 w 591842"/>
                  <a:gd name="connsiteY3" fmla="*/ 24774 h 50482"/>
                  <a:gd name="connsiteX4" fmla="*/ 23633 w 591842"/>
                  <a:gd name="connsiteY4" fmla="*/ 148 h 50482"/>
                  <a:gd name="connsiteX5" fmla="*/ 31289 w 591842"/>
                  <a:gd name="connsiteY5" fmla="*/ 148 h 50482"/>
                  <a:gd name="connsiteX6" fmla="*/ 560212 w 591842"/>
                  <a:gd name="connsiteY6" fmla="*/ 148 h 50482"/>
                  <a:gd name="connsiteX7" fmla="*/ 568866 w 591842"/>
                  <a:gd name="connsiteY7" fmla="*/ 148 h 50482"/>
                  <a:gd name="connsiteX8" fmla="*/ 591834 w 591842"/>
                  <a:gd name="connsiteY8" fmla="*/ 24109 h 50482"/>
                  <a:gd name="connsiteX9" fmla="*/ 570530 w 591842"/>
                  <a:gd name="connsiteY9" fmla="*/ 49733 h 50482"/>
                  <a:gd name="connsiteX10" fmla="*/ 556883 w 591842"/>
                  <a:gd name="connsiteY10" fmla="*/ 50066 h 50482"/>
                  <a:gd name="connsiteX11" fmla="*/ 296250 w 591842"/>
                  <a:gd name="connsiteY11" fmla="*/ 50399 h 5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1842" h="50482">
                    <a:moveTo>
                      <a:pt x="296250" y="50399"/>
                    </a:moveTo>
                    <a:cubicBezTo>
                      <a:pt x="209372" y="50399"/>
                      <a:pt x="122494" y="50399"/>
                      <a:pt x="35617" y="50399"/>
                    </a:cubicBezTo>
                    <a:cubicBezTo>
                      <a:pt x="31289" y="50399"/>
                      <a:pt x="27295" y="50732"/>
                      <a:pt x="22968" y="50066"/>
                    </a:cubicBezTo>
                    <a:cubicBezTo>
                      <a:pt x="9320" y="48402"/>
                      <a:pt x="0" y="37753"/>
                      <a:pt x="0" y="24774"/>
                    </a:cubicBezTo>
                    <a:cubicBezTo>
                      <a:pt x="333" y="11795"/>
                      <a:pt x="9986" y="1479"/>
                      <a:pt x="23633" y="148"/>
                    </a:cubicBezTo>
                    <a:cubicBezTo>
                      <a:pt x="25963" y="-185"/>
                      <a:pt x="28626" y="148"/>
                      <a:pt x="31289" y="148"/>
                    </a:cubicBezTo>
                    <a:cubicBezTo>
                      <a:pt x="207708" y="148"/>
                      <a:pt x="384126" y="148"/>
                      <a:pt x="560212" y="148"/>
                    </a:cubicBezTo>
                    <a:cubicBezTo>
                      <a:pt x="563207" y="148"/>
                      <a:pt x="566203" y="148"/>
                      <a:pt x="568866" y="148"/>
                    </a:cubicBezTo>
                    <a:cubicBezTo>
                      <a:pt x="581515" y="1479"/>
                      <a:pt x="591501" y="11795"/>
                      <a:pt x="591834" y="24109"/>
                    </a:cubicBezTo>
                    <a:cubicBezTo>
                      <a:pt x="592167" y="36422"/>
                      <a:pt x="583179" y="47737"/>
                      <a:pt x="570530" y="49733"/>
                    </a:cubicBezTo>
                    <a:cubicBezTo>
                      <a:pt x="565870" y="50399"/>
                      <a:pt x="561210" y="50066"/>
                      <a:pt x="556883" y="50066"/>
                    </a:cubicBezTo>
                    <a:cubicBezTo>
                      <a:pt x="470005" y="50399"/>
                      <a:pt x="383128" y="50399"/>
                      <a:pt x="296250" y="50399"/>
                    </a:cubicBezTo>
                    <a:close/>
                  </a:path>
                </a:pathLst>
              </a:custGeom>
              <a:grpFill/>
              <a:ln w="3314"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5E3D0E60-BEC0-7B9A-0C3B-C046503193EE}"/>
                  </a:ext>
                </a:extLst>
              </p:cNvPr>
              <p:cNvSpPr/>
              <p:nvPr/>
            </p:nvSpPr>
            <p:spPr>
              <a:xfrm>
                <a:off x="4754939" y="1164552"/>
                <a:ext cx="550909" cy="50417"/>
              </a:xfrm>
              <a:custGeom>
                <a:avLst/>
                <a:gdLst>
                  <a:gd name="connsiteX0" fmla="*/ 276287 w 550909"/>
                  <a:gd name="connsiteY0" fmla="*/ 83 h 50417"/>
                  <a:gd name="connsiteX1" fmla="*/ 516948 w 550909"/>
                  <a:gd name="connsiteY1" fmla="*/ 83 h 50417"/>
                  <a:gd name="connsiteX2" fmla="*/ 528266 w 550909"/>
                  <a:gd name="connsiteY2" fmla="*/ 416 h 50417"/>
                  <a:gd name="connsiteX3" fmla="*/ 550900 w 550909"/>
                  <a:gd name="connsiteY3" fmla="*/ 24709 h 50417"/>
                  <a:gd name="connsiteX4" fmla="*/ 529264 w 550909"/>
                  <a:gd name="connsiteY4" fmla="*/ 50001 h 50417"/>
                  <a:gd name="connsiteX5" fmla="*/ 516615 w 550909"/>
                  <a:gd name="connsiteY5" fmla="*/ 50334 h 50417"/>
                  <a:gd name="connsiteX6" fmla="*/ 33961 w 550909"/>
                  <a:gd name="connsiteY6" fmla="*/ 50334 h 50417"/>
                  <a:gd name="connsiteX7" fmla="*/ 21312 w 550909"/>
                  <a:gd name="connsiteY7" fmla="*/ 50001 h 50417"/>
                  <a:gd name="connsiteX8" fmla="*/ 9 w 550909"/>
                  <a:gd name="connsiteY8" fmla="*/ 24709 h 50417"/>
                  <a:gd name="connsiteX9" fmla="*/ 22644 w 550909"/>
                  <a:gd name="connsiteY9" fmla="*/ 416 h 50417"/>
                  <a:gd name="connsiteX10" fmla="*/ 33961 w 550909"/>
                  <a:gd name="connsiteY10" fmla="*/ 83 h 50417"/>
                  <a:gd name="connsiteX11" fmla="*/ 276287 w 550909"/>
                  <a:gd name="connsiteY11" fmla="*/ 83 h 50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0909" h="50417">
                    <a:moveTo>
                      <a:pt x="276287" y="83"/>
                    </a:moveTo>
                    <a:cubicBezTo>
                      <a:pt x="356507" y="83"/>
                      <a:pt x="436728" y="83"/>
                      <a:pt x="516948" y="83"/>
                    </a:cubicBezTo>
                    <a:cubicBezTo>
                      <a:pt x="520610" y="83"/>
                      <a:pt x="524604" y="-250"/>
                      <a:pt x="528266" y="416"/>
                    </a:cubicBezTo>
                    <a:cubicBezTo>
                      <a:pt x="541247" y="1747"/>
                      <a:pt x="550567" y="12064"/>
                      <a:pt x="550900" y="24709"/>
                    </a:cubicBezTo>
                    <a:cubicBezTo>
                      <a:pt x="551233" y="37355"/>
                      <a:pt x="542246" y="48005"/>
                      <a:pt x="529264" y="50001"/>
                    </a:cubicBezTo>
                    <a:cubicBezTo>
                      <a:pt x="525270" y="50667"/>
                      <a:pt x="520942" y="50334"/>
                      <a:pt x="516615" y="50334"/>
                    </a:cubicBezTo>
                    <a:cubicBezTo>
                      <a:pt x="355841" y="50334"/>
                      <a:pt x="194735" y="50334"/>
                      <a:pt x="33961" y="50334"/>
                    </a:cubicBezTo>
                    <a:cubicBezTo>
                      <a:pt x="29634" y="50334"/>
                      <a:pt x="25640" y="50667"/>
                      <a:pt x="21312" y="50001"/>
                    </a:cubicBezTo>
                    <a:cubicBezTo>
                      <a:pt x="8663" y="48005"/>
                      <a:pt x="-324" y="37023"/>
                      <a:pt x="9" y="24709"/>
                    </a:cubicBezTo>
                    <a:cubicBezTo>
                      <a:pt x="342" y="12064"/>
                      <a:pt x="9995" y="1747"/>
                      <a:pt x="22644" y="416"/>
                    </a:cubicBezTo>
                    <a:cubicBezTo>
                      <a:pt x="26305" y="83"/>
                      <a:pt x="30300" y="83"/>
                      <a:pt x="33961" y="83"/>
                    </a:cubicBezTo>
                    <a:cubicBezTo>
                      <a:pt x="114847" y="83"/>
                      <a:pt x="195401" y="83"/>
                      <a:pt x="276287" y="83"/>
                    </a:cubicBezTo>
                    <a:close/>
                  </a:path>
                </a:pathLst>
              </a:custGeom>
              <a:grpFill/>
              <a:ln w="3314"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1D4634F9-B204-C5FE-E5E3-E28E90C771F2}"/>
                  </a:ext>
                </a:extLst>
              </p:cNvPr>
              <p:cNvSpPr/>
              <p:nvPr/>
            </p:nvSpPr>
            <p:spPr>
              <a:xfrm>
                <a:off x="4755273" y="1024199"/>
                <a:ext cx="433874" cy="50334"/>
              </a:xfrm>
              <a:custGeom>
                <a:avLst/>
                <a:gdLst>
                  <a:gd name="connsiteX0" fmla="*/ 216703 w 433874"/>
                  <a:gd name="connsiteY0" fmla="*/ 0 h 50334"/>
                  <a:gd name="connsiteX1" fmla="*/ 404771 w 433874"/>
                  <a:gd name="connsiteY1" fmla="*/ 0 h 50334"/>
                  <a:gd name="connsiteX2" fmla="*/ 432399 w 433874"/>
                  <a:gd name="connsiteY2" fmla="*/ 17305 h 50334"/>
                  <a:gd name="connsiteX3" fmla="*/ 412427 w 433874"/>
                  <a:gd name="connsiteY3" fmla="*/ 49918 h 50334"/>
                  <a:gd name="connsiteX4" fmla="*/ 398780 w 433874"/>
                  <a:gd name="connsiteY4" fmla="*/ 50251 h 50334"/>
                  <a:gd name="connsiteX5" fmla="*/ 35291 w 433874"/>
                  <a:gd name="connsiteY5" fmla="*/ 50251 h 50334"/>
                  <a:gd name="connsiteX6" fmla="*/ 25305 w 433874"/>
                  <a:gd name="connsiteY6" fmla="*/ 50251 h 50334"/>
                  <a:gd name="connsiteX7" fmla="*/ 8 w 433874"/>
                  <a:gd name="connsiteY7" fmla="*/ 24626 h 50334"/>
                  <a:gd name="connsiteX8" fmla="*/ 25305 w 433874"/>
                  <a:gd name="connsiteY8" fmla="*/ 333 h 50334"/>
                  <a:gd name="connsiteX9" fmla="*/ 86885 w 433874"/>
                  <a:gd name="connsiteY9" fmla="*/ 333 h 50334"/>
                  <a:gd name="connsiteX10" fmla="*/ 216703 w 433874"/>
                  <a:gd name="connsiteY10" fmla="*/ 0 h 50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3874" h="50334">
                    <a:moveTo>
                      <a:pt x="216703" y="0"/>
                    </a:moveTo>
                    <a:cubicBezTo>
                      <a:pt x="279281" y="0"/>
                      <a:pt x="342193" y="0"/>
                      <a:pt x="404771" y="0"/>
                    </a:cubicBezTo>
                    <a:cubicBezTo>
                      <a:pt x="417753" y="0"/>
                      <a:pt x="427739" y="4659"/>
                      <a:pt x="432399" y="17305"/>
                    </a:cubicBezTo>
                    <a:cubicBezTo>
                      <a:pt x="437725" y="31615"/>
                      <a:pt x="428072" y="47589"/>
                      <a:pt x="412427" y="49918"/>
                    </a:cubicBezTo>
                    <a:cubicBezTo>
                      <a:pt x="407767" y="50584"/>
                      <a:pt x="403107" y="50251"/>
                      <a:pt x="398780" y="50251"/>
                    </a:cubicBezTo>
                    <a:cubicBezTo>
                      <a:pt x="277617" y="50251"/>
                      <a:pt x="156454" y="50251"/>
                      <a:pt x="35291" y="50251"/>
                    </a:cubicBezTo>
                    <a:cubicBezTo>
                      <a:pt x="31963" y="50251"/>
                      <a:pt x="28634" y="50251"/>
                      <a:pt x="25305" y="50251"/>
                    </a:cubicBezTo>
                    <a:cubicBezTo>
                      <a:pt x="10326" y="49253"/>
                      <a:pt x="-325" y="38603"/>
                      <a:pt x="8" y="24626"/>
                    </a:cubicBezTo>
                    <a:cubicBezTo>
                      <a:pt x="340" y="10982"/>
                      <a:pt x="10659" y="666"/>
                      <a:pt x="25305" y="333"/>
                    </a:cubicBezTo>
                    <a:cubicBezTo>
                      <a:pt x="45610" y="0"/>
                      <a:pt x="66248" y="333"/>
                      <a:pt x="86885" y="333"/>
                    </a:cubicBezTo>
                    <a:cubicBezTo>
                      <a:pt x="129825" y="0"/>
                      <a:pt x="173430" y="0"/>
                      <a:pt x="216703" y="0"/>
                    </a:cubicBezTo>
                    <a:close/>
                  </a:path>
                </a:pathLst>
              </a:custGeom>
              <a:grpFill/>
              <a:ln w="3314"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3119C0A3-2B4F-B525-BA25-77D6ACC5DB92}"/>
                  </a:ext>
                </a:extLst>
              </p:cNvPr>
              <p:cNvSpPr/>
              <p:nvPr/>
            </p:nvSpPr>
            <p:spPr>
              <a:xfrm>
                <a:off x="4944169" y="743076"/>
                <a:ext cx="397649" cy="50167"/>
              </a:xfrm>
              <a:custGeom>
                <a:avLst/>
                <a:gdLst>
                  <a:gd name="connsiteX0" fmla="*/ 198899 w 397649"/>
                  <a:gd name="connsiteY0" fmla="*/ 50168 h 50167"/>
                  <a:gd name="connsiteX1" fmla="*/ 29471 w 397649"/>
                  <a:gd name="connsiteY1" fmla="*/ 50168 h 50167"/>
                  <a:gd name="connsiteX2" fmla="*/ 2509 w 397649"/>
                  <a:gd name="connsiteY2" fmla="*/ 35525 h 50167"/>
                  <a:gd name="connsiteX3" fmla="*/ 23812 w 397649"/>
                  <a:gd name="connsiteY3" fmla="*/ 250 h 50167"/>
                  <a:gd name="connsiteX4" fmla="*/ 373986 w 397649"/>
                  <a:gd name="connsiteY4" fmla="*/ 250 h 50167"/>
                  <a:gd name="connsiteX5" fmla="*/ 397619 w 397649"/>
                  <a:gd name="connsiteY5" fmla="*/ 25874 h 50167"/>
                  <a:gd name="connsiteX6" fmla="*/ 371989 w 397649"/>
                  <a:gd name="connsiteY6" fmla="*/ 49835 h 50167"/>
                  <a:gd name="connsiteX7" fmla="*/ 281782 w 397649"/>
                  <a:gd name="connsiteY7" fmla="*/ 49835 h 50167"/>
                  <a:gd name="connsiteX8" fmla="*/ 198899 w 397649"/>
                  <a:gd name="connsiteY8" fmla="*/ 50168 h 50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649" h="50167">
                    <a:moveTo>
                      <a:pt x="198899" y="50168"/>
                    </a:moveTo>
                    <a:cubicBezTo>
                      <a:pt x="142312" y="50168"/>
                      <a:pt x="86058" y="50168"/>
                      <a:pt x="29471" y="50168"/>
                    </a:cubicBezTo>
                    <a:cubicBezTo>
                      <a:pt x="17488" y="50168"/>
                      <a:pt x="7835" y="46840"/>
                      <a:pt x="2509" y="35525"/>
                    </a:cubicBezTo>
                    <a:cubicBezTo>
                      <a:pt x="-5147" y="19551"/>
                      <a:pt x="5504" y="250"/>
                      <a:pt x="23812" y="250"/>
                    </a:cubicBezTo>
                    <a:cubicBezTo>
                      <a:pt x="140648" y="-83"/>
                      <a:pt x="257150" y="-83"/>
                      <a:pt x="373986" y="250"/>
                    </a:cubicBezTo>
                    <a:cubicBezTo>
                      <a:pt x="387966" y="250"/>
                      <a:pt x="398285" y="12563"/>
                      <a:pt x="397619" y="25874"/>
                    </a:cubicBezTo>
                    <a:cubicBezTo>
                      <a:pt x="396954" y="39186"/>
                      <a:pt x="386635" y="49502"/>
                      <a:pt x="371989" y="49835"/>
                    </a:cubicBezTo>
                    <a:cubicBezTo>
                      <a:pt x="342031" y="50168"/>
                      <a:pt x="311740" y="49835"/>
                      <a:pt x="281782" y="49835"/>
                    </a:cubicBezTo>
                    <a:cubicBezTo>
                      <a:pt x="254155" y="50168"/>
                      <a:pt x="226527" y="50168"/>
                      <a:pt x="198899" y="50168"/>
                    </a:cubicBezTo>
                    <a:close/>
                  </a:path>
                </a:pathLst>
              </a:custGeom>
              <a:grpFill/>
              <a:ln w="3314"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1E175D11-F268-28D2-FB67-729A11CCB2BA}"/>
                  </a:ext>
                </a:extLst>
              </p:cNvPr>
              <p:cNvSpPr/>
              <p:nvPr/>
            </p:nvSpPr>
            <p:spPr>
              <a:xfrm>
                <a:off x="4754941" y="1305405"/>
                <a:ext cx="239031" cy="49918"/>
              </a:xfrm>
              <a:custGeom>
                <a:avLst/>
                <a:gdLst>
                  <a:gd name="connsiteX0" fmla="*/ 119173 w 239031"/>
                  <a:gd name="connsiteY0" fmla="*/ 49918 h 49918"/>
                  <a:gd name="connsiteX1" fmla="*/ 28966 w 239031"/>
                  <a:gd name="connsiteY1" fmla="*/ 49918 h 49918"/>
                  <a:gd name="connsiteX2" fmla="*/ 7 w 239031"/>
                  <a:gd name="connsiteY2" fmla="*/ 24294 h 49918"/>
                  <a:gd name="connsiteX3" fmla="*/ 28966 w 239031"/>
                  <a:gd name="connsiteY3" fmla="*/ 0 h 49918"/>
                  <a:gd name="connsiteX4" fmla="*/ 210378 w 239031"/>
                  <a:gd name="connsiteY4" fmla="*/ 0 h 49918"/>
                  <a:gd name="connsiteX5" fmla="*/ 239004 w 239031"/>
                  <a:gd name="connsiteY5" fmla="*/ 25625 h 49918"/>
                  <a:gd name="connsiteX6" fmla="*/ 210378 w 239031"/>
                  <a:gd name="connsiteY6" fmla="*/ 49918 h 49918"/>
                  <a:gd name="connsiteX7" fmla="*/ 119173 w 239031"/>
                  <a:gd name="connsiteY7" fmla="*/ 49918 h 4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030" h="49918">
                    <a:moveTo>
                      <a:pt x="119173" y="49918"/>
                    </a:moveTo>
                    <a:cubicBezTo>
                      <a:pt x="89215" y="49918"/>
                      <a:pt x="58924" y="49918"/>
                      <a:pt x="28966" y="49918"/>
                    </a:cubicBezTo>
                    <a:cubicBezTo>
                      <a:pt x="10992" y="49918"/>
                      <a:pt x="-326" y="39602"/>
                      <a:pt x="7" y="24294"/>
                    </a:cubicBezTo>
                    <a:cubicBezTo>
                      <a:pt x="340" y="9318"/>
                      <a:pt x="11325" y="0"/>
                      <a:pt x="28966" y="0"/>
                    </a:cubicBezTo>
                    <a:cubicBezTo>
                      <a:pt x="89548" y="0"/>
                      <a:pt x="150129" y="0"/>
                      <a:pt x="210378" y="0"/>
                    </a:cubicBezTo>
                    <a:cubicBezTo>
                      <a:pt x="228352" y="0"/>
                      <a:pt x="239670" y="9984"/>
                      <a:pt x="239004" y="25625"/>
                    </a:cubicBezTo>
                    <a:cubicBezTo>
                      <a:pt x="238671" y="40600"/>
                      <a:pt x="228020" y="49918"/>
                      <a:pt x="210378" y="49918"/>
                    </a:cubicBezTo>
                    <a:cubicBezTo>
                      <a:pt x="180087" y="49918"/>
                      <a:pt x="149464" y="49918"/>
                      <a:pt x="119173" y="49918"/>
                    </a:cubicBezTo>
                    <a:close/>
                  </a:path>
                </a:pathLst>
              </a:custGeom>
              <a:grpFill/>
              <a:ln w="3314"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D0000074-94A0-1F5A-688E-02BD8BA31D65}"/>
                  </a:ext>
                </a:extLst>
              </p:cNvPr>
              <p:cNvSpPr/>
              <p:nvPr/>
            </p:nvSpPr>
            <p:spPr>
              <a:xfrm>
                <a:off x="5256242" y="1023949"/>
                <a:ext cx="90872" cy="50315"/>
              </a:xfrm>
              <a:custGeom>
                <a:avLst/>
                <a:gdLst>
                  <a:gd name="connsiteX0" fmla="*/ 45270 w 90872"/>
                  <a:gd name="connsiteY0" fmla="*/ 50168 h 50315"/>
                  <a:gd name="connsiteX1" fmla="*/ 25298 w 90872"/>
                  <a:gd name="connsiteY1" fmla="*/ 50168 h 50315"/>
                  <a:gd name="connsiteX2" fmla="*/ 0 w 90872"/>
                  <a:gd name="connsiteY2" fmla="*/ 24876 h 50315"/>
                  <a:gd name="connsiteX3" fmla="*/ 24632 w 90872"/>
                  <a:gd name="connsiteY3" fmla="*/ 250 h 50315"/>
                  <a:gd name="connsiteX4" fmla="*/ 65907 w 90872"/>
                  <a:gd name="connsiteY4" fmla="*/ 250 h 50315"/>
                  <a:gd name="connsiteX5" fmla="*/ 90872 w 90872"/>
                  <a:gd name="connsiteY5" fmla="*/ 24876 h 50315"/>
                  <a:gd name="connsiteX6" fmla="*/ 66573 w 90872"/>
                  <a:gd name="connsiteY6" fmla="*/ 50168 h 50315"/>
                  <a:gd name="connsiteX7" fmla="*/ 45270 w 90872"/>
                  <a:gd name="connsiteY7" fmla="*/ 50168 h 50315"/>
                  <a:gd name="connsiteX8" fmla="*/ 45270 w 90872"/>
                  <a:gd name="connsiteY8" fmla="*/ 50168 h 5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0872" h="50315">
                    <a:moveTo>
                      <a:pt x="45270" y="50168"/>
                    </a:moveTo>
                    <a:cubicBezTo>
                      <a:pt x="38612" y="50168"/>
                      <a:pt x="31955" y="50501"/>
                      <a:pt x="25298" y="50168"/>
                    </a:cubicBezTo>
                    <a:cubicBezTo>
                      <a:pt x="9986" y="49502"/>
                      <a:pt x="0" y="39186"/>
                      <a:pt x="0" y="24876"/>
                    </a:cubicBezTo>
                    <a:cubicBezTo>
                      <a:pt x="333" y="10899"/>
                      <a:pt x="9986" y="915"/>
                      <a:pt x="24632" y="250"/>
                    </a:cubicBezTo>
                    <a:cubicBezTo>
                      <a:pt x="38279" y="-83"/>
                      <a:pt x="52260" y="-83"/>
                      <a:pt x="65907" y="250"/>
                    </a:cubicBezTo>
                    <a:cubicBezTo>
                      <a:pt x="80220" y="915"/>
                      <a:pt x="90539" y="11564"/>
                      <a:pt x="90872" y="24876"/>
                    </a:cubicBezTo>
                    <a:cubicBezTo>
                      <a:pt x="90872" y="38187"/>
                      <a:pt x="80553" y="49169"/>
                      <a:pt x="66573" y="50168"/>
                    </a:cubicBezTo>
                    <a:cubicBezTo>
                      <a:pt x="59250" y="50501"/>
                      <a:pt x="52260" y="50168"/>
                      <a:pt x="45270" y="50168"/>
                    </a:cubicBezTo>
                    <a:cubicBezTo>
                      <a:pt x="45270" y="50168"/>
                      <a:pt x="45270" y="50168"/>
                      <a:pt x="45270" y="50168"/>
                    </a:cubicBezTo>
                    <a:close/>
                  </a:path>
                </a:pathLst>
              </a:custGeom>
              <a:grpFill/>
              <a:ln w="3314" cap="flat">
                <a:noFill/>
                <a:prstDash val="solid"/>
                <a:miter/>
              </a:ln>
            </p:spPr>
            <p:txBody>
              <a:bodyPr rtlCol="0" anchor="ctr"/>
              <a:lstStyle/>
              <a:p>
                <a:endParaRPr lang="en-US"/>
              </a:p>
            </p:txBody>
          </p:sp>
        </p:grpSp>
      </p:grpSp>
      <p:grpSp>
        <p:nvGrpSpPr>
          <p:cNvPr id="26" name="Graphic 3">
            <a:extLst>
              <a:ext uri="{FF2B5EF4-FFF2-40B4-BE49-F238E27FC236}">
                <a16:creationId xmlns:a16="http://schemas.microsoft.com/office/drawing/2014/main" id="{78FC8508-6DD1-DEF5-2B48-29824893A2B5}"/>
              </a:ext>
            </a:extLst>
          </p:cNvPr>
          <p:cNvGrpSpPr/>
          <p:nvPr/>
        </p:nvGrpSpPr>
        <p:grpSpPr>
          <a:xfrm>
            <a:off x="4348121" y="3848558"/>
            <a:ext cx="1004457" cy="731722"/>
            <a:chOff x="2616673" y="2155292"/>
            <a:chExt cx="1242473" cy="905111"/>
          </a:xfrm>
          <a:solidFill>
            <a:srgbClr val="595959"/>
          </a:solidFill>
        </p:grpSpPr>
        <p:sp>
          <p:nvSpPr>
            <p:cNvPr id="27" name="Freeform 26">
              <a:extLst>
                <a:ext uri="{FF2B5EF4-FFF2-40B4-BE49-F238E27FC236}">
                  <a16:creationId xmlns:a16="http://schemas.microsoft.com/office/drawing/2014/main" id="{8C70CE30-8ECB-F4C9-DE3A-2188D5421E40}"/>
                </a:ext>
              </a:extLst>
            </p:cNvPr>
            <p:cNvSpPr/>
            <p:nvPr/>
          </p:nvSpPr>
          <p:spPr>
            <a:xfrm>
              <a:off x="2655071" y="2371971"/>
              <a:ext cx="52113" cy="252334"/>
            </a:xfrm>
            <a:custGeom>
              <a:avLst/>
              <a:gdLst>
                <a:gd name="connsiteX0" fmla="*/ 52113 w 52113"/>
                <a:gd name="connsiteY0" fmla="*/ 238620 h 252334"/>
                <a:gd name="connsiteX1" fmla="*/ 38399 w 52113"/>
                <a:gd name="connsiteY1" fmla="*/ 252334 h 252334"/>
                <a:gd name="connsiteX2" fmla="*/ 13714 w 52113"/>
                <a:gd name="connsiteY2" fmla="*/ 252334 h 252334"/>
                <a:gd name="connsiteX3" fmla="*/ 0 w 52113"/>
                <a:gd name="connsiteY3" fmla="*/ 238620 h 252334"/>
                <a:gd name="connsiteX4" fmla="*/ 0 w 52113"/>
                <a:gd name="connsiteY4" fmla="*/ 238620 h 252334"/>
                <a:gd name="connsiteX5" fmla="*/ 0 w 52113"/>
                <a:gd name="connsiteY5" fmla="*/ 235877 h 252334"/>
                <a:gd name="connsiteX6" fmla="*/ 0 w 52113"/>
                <a:gd name="connsiteY6" fmla="*/ 13714 h 252334"/>
                <a:gd name="connsiteX7" fmla="*/ 13714 w 52113"/>
                <a:gd name="connsiteY7" fmla="*/ 0 h 252334"/>
                <a:gd name="connsiteX8" fmla="*/ 38399 w 52113"/>
                <a:gd name="connsiteY8" fmla="*/ 0 h 252334"/>
                <a:gd name="connsiteX9" fmla="*/ 52113 w 52113"/>
                <a:gd name="connsiteY9" fmla="*/ 13714 h 252334"/>
                <a:gd name="connsiteX10" fmla="*/ 52113 w 52113"/>
                <a:gd name="connsiteY10" fmla="*/ 238620 h 25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112" h="252334">
                  <a:moveTo>
                    <a:pt x="52113" y="238620"/>
                  </a:moveTo>
                  <a:cubicBezTo>
                    <a:pt x="52113" y="246849"/>
                    <a:pt x="46627" y="252334"/>
                    <a:pt x="38399" y="252334"/>
                  </a:cubicBezTo>
                  <a:lnTo>
                    <a:pt x="13714" y="252334"/>
                  </a:lnTo>
                  <a:cubicBezTo>
                    <a:pt x="5486" y="252334"/>
                    <a:pt x="0" y="246849"/>
                    <a:pt x="0" y="238620"/>
                  </a:cubicBezTo>
                  <a:cubicBezTo>
                    <a:pt x="0" y="238620"/>
                    <a:pt x="0" y="238620"/>
                    <a:pt x="0" y="238620"/>
                  </a:cubicBezTo>
                  <a:cubicBezTo>
                    <a:pt x="0" y="238620"/>
                    <a:pt x="0" y="238620"/>
                    <a:pt x="0" y="235877"/>
                  </a:cubicBezTo>
                  <a:lnTo>
                    <a:pt x="0" y="13714"/>
                  </a:lnTo>
                  <a:cubicBezTo>
                    <a:pt x="0" y="5485"/>
                    <a:pt x="5486" y="0"/>
                    <a:pt x="13714" y="0"/>
                  </a:cubicBezTo>
                  <a:lnTo>
                    <a:pt x="38399" y="0"/>
                  </a:lnTo>
                  <a:cubicBezTo>
                    <a:pt x="46627" y="0"/>
                    <a:pt x="52113" y="5485"/>
                    <a:pt x="52113" y="13714"/>
                  </a:cubicBezTo>
                  <a:lnTo>
                    <a:pt x="52113" y="238620"/>
                  </a:lnTo>
                  <a:close/>
                </a:path>
              </a:pathLst>
            </a:custGeom>
            <a:solidFill>
              <a:srgbClr val="F16924"/>
            </a:solidFill>
            <a:ln w="27426"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30C68746-54CA-72CD-1564-516F736F5355}"/>
                </a:ext>
              </a:extLst>
            </p:cNvPr>
            <p:cNvSpPr/>
            <p:nvPr/>
          </p:nvSpPr>
          <p:spPr>
            <a:xfrm>
              <a:off x="3763150" y="2720302"/>
              <a:ext cx="52111" cy="252334"/>
            </a:xfrm>
            <a:custGeom>
              <a:avLst/>
              <a:gdLst>
                <a:gd name="connsiteX0" fmla="*/ 52112 w 52111"/>
                <a:gd name="connsiteY0" fmla="*/ 238620 h 252334"/>
                <a:gd name="connsiteX1" fmla="*/ 38398 w 52111"/>
                <a:gd name="connsiteY1" fmla="*/ 252334 h 252334"/>
                <a:gd name="connsiteX2" fmla="*/ 13714 w 52111"/>
                <a:gd name="connsiteY2" fmla="*/ 252334 h 252334"/>
                <a:gd name="connsiteX3" fmla="*/ 0 w 52111"/>
                <a:gd name="connsiteY3" fmla="*/ 238620 h 252334"/>
                <a:gd name="connsiteX4" fmla="*/ 0 w 52111"/>
                <a:gd name="connsiteY4" fmla="*/ 238620 h 252334"/>
                <a:gd name="connsiteX5" fmla="*/ 0 w 52111"/>
                <a:gd name="connsiteY5" fmla="*/ 235878 h 252334"/>
                <a:gd name="connsiteX6" fmla="*/ 0 w 52111"/>
                <a:gd name="connsiteY6" fmla="*/ 13714 h 252334"/>
                <a:gd name="connsiteX7" fmla="*/ 13714 w 52111"/>
                <a:gd name="connsiteY7" fmla="*/ 0 h 252334"/>
                <a:gd name="connsiteX8" fmla="*/ 38398 w 52111"/>
                <a:gd name="connsiteY8" fmla="*/ 0 h 252334"/>
                <a:gd name="connsiteX9" fmla="*/ 52112 w 52111"/>
                <a:gd name="connsiteY9" fmla="*/ 13714 h 252334"/>
                <a:gd name="connsiteX10" fmla="*/ 52112 w 52111"/>
                <a:gd name="connsiteY10" fmla="*/ 238620 h 25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111" h="252334">
                  <a:moveTo>
                    <a:pt x="52112" y="238620"/>
                  </a:moveTo>
                  <a:cubicBezTo>
                    <a:pt x="52112" y="246849"/>
                    <a:pt x="46627" y="252334"/>
                    <a:pt x="38398" y="252334"/>
                  </a:cubicBezTo>
                  <a:lnTo>
                    <a:pt x="13714" y="252334"/>
                  </a:lnTo>
                  <a:cubicBezTo>
                    <a:pt x="5486" y="252334"/>
                    <a:pt x="0" y="246849"/>
                    <a:pt x="0" y="238620"/>
                  </a:cubicBezTo>
                  <a:cubicBezTo>
                    <a:pt x="0" y="238620"/>
                    <a:pt x="0" y="238620"/>
                    <a:pt x="0" y="238620"/>
                  </a:cubicBezTo>
                  <a:cubicBezTo>
                    <a:pt x="0" y="238620"/>
                    <a:pt x="0" y="238620"/>
                    <a:pt x="0" y="235878"/>
                  </a:cubicBezTo>
                  <a:lnTo>
                    <a:pt x="0" y="13714"/>
                  </a:lnTo>
                  <a:cubicBezTo>
                    <a:pt x="0" y="5485"/>
                    <a:pt x="5486" y="0"/>
                    <a:pt x="13714" y="0"/>
                  </a:cubicBezTo>
                  <a:lnTo>
                    <a:pt x="38398" y="0"/>
                  </a:lnTo>
                  <a:cubicBezTo>
                    <a:pt x="46627" y="0"/>
                    <a:pt x="52112" y="5485"/>
                    <a:pt x="52112" y="13714"/>
                  </a:cubicBezTo>
                  <a:lnTo>
                    <a:pt x="52112" y="238620"/>
                  </a:lnTo>
                  <a:close/>
                </a:path>
              </a:pathLst>
            </a:custGeom>
            <a:solidFill>
              <a:srgbClr val="F16924"/>
            </a:solidFill>
            <a:ln w="27426"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9D403FD9-AB82-E03A-2989-34D85DB9206C}"/>
                </a:ext>
              </a:extLst>
            </p:cNvPr>
            <p:cNvSpPr/>
            <p:nvPr/>
          </p:nvSpPr>
          <p:spPr>
            <a:xfrm>
              <a:off x="3406590" y="2215633"/>
              <a:ext cx="109710" cy="109710"/>
            </a:xfrm>
            <a:custGeom>
              <a:avLst/>
              <a:gdLst>
                <a:gd name="connsiteX0" fmla="*/ 0 w 109710"/>
                <a:gd name="connsiteY0" fmla="*/ 74054 h 109710"/>
                <a:gd name="connsiteX1" fmla="*/ 0 w 109710"/>
                <a:gd name="connsiteY1" fmla="*/ 0 h 109710"/>
                <a:gd name="connsiteX2" fmla="*/ 109711 w 109710"/>
                <a:gd name="connsiteY2" fmla="*/ 109710 h 109710"/>
                <a:gd name="connsiteX3" fmla="*/ 35656 w 109710"/>
                <a:gd name="connsiteY3" fmla="*/ 109710 h 109710"/>
                <a:gd name="connsiteX4" fmla="*/ 0 w 109710"/>
                <a:gd name="connsiteY4" fmla="*/ 74054 h 109710"/>
                <a:gd name="connsiteX5" fmla="*/ 0 w 109710"/>
                <a:gd name="connsiteY5" fmla="*/ 74054 h 1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710" h="109710">
                  <a:moveTo>
                    <a:pt x="0" y="74054"/>
                  </a:moveTo>
                  <a:lnTo>
                    <a:pt x="0" y="0"/>
                  </a:lnTo>
                  <a:cubicBezTo>
                    <a:pt x="16456" y="16456"/>
                    <a:pt x="93253" y="93254"/>
                    <a:pt x="109711" y="109710"/>
                  </a:cubicBezTo>
                  <a:lnTo>
                    <a:pt x="35656" y="109710"/>
                  </a:lnTo>
                  <a:cubicBezTo>
                    <a:pt x="16456" y="109710"/>
                    <a:pt x="0" y="93254"/>
                    <a:pt x="0" y="74054"/>
                  </a:cubicBezTo>
                  <a:lnTo>
                    <a:pt x="0" y="74054"/>
                  </a:lnTo>
                  <a:close/>
                </a:path>
              </a:pathLst>
            </a:custGeom>
            <a:solidFill>
              <a:srgbClr val="F16924"/>
            </a:solidFill>
            <a:ln w="27426" cap="flat">
              <a:noFill/>
              <a:prstDash val="solid"/>
              <a:miter/>
            </a:ln>
          </p:spPr>
          <p:txBody>
            <a:bodyPr rtlCol="0" anchor="ctr"/>
            <a:lstStyle/>
            <a:p>
              <a:endParaRPr lang="en-US"/>
            </a:p>
          </p:txBody>
        </p:sp>
        <p:grpSp>
          <p:nvGrpSpPr>
            <p:cNvPr id="30" name="Graphic 3">
              <a:extLst>
                <a:ext uri="{FF2B5EF4-FFF2-40B4-BE49-F238E27FC236}">
                  <a16:creationId xmlns:a16="http://schemas.microsoft.com/office/drawing/2014/main" id="{7229C47C-5C25-C89C-49D1-8C864008588A}"/>
                </a:ext>
              </a:extLst>
            </p:cNvPr>
            <p:cNvGrpSpPr/>
            <p:nvPr/>
          </p:nvGrpSpPr>
          <p:grpSpPr>
            <a:xfrm>
              <a:off x="2616673" y="2155292"/>
              <a:ext cx="1242473" cy="905111"/>
              <a:chOff x="2616673" y="2155292"/>
              <a:chExt cx="1242473" cy="905111"/>
            </a:xfrm>
            <a:grpFill/>
          </p:grpSpPr>
          <p:sp>
            <p:nvSpPr>
              <p:cNvPr id="31" name="Freeform 30">
                <a:extLst>
                  <a:ext uri="{FF2B5EF4-FFF2-40B4-BE49-F238E27FC236}">
                    <a16:creationId xmlns:a16="http://schemas.microsoft.com/office/drawing/2014/main" id="{CFA72CD6-807B-60FA-DF48-AA51A00C3A52}"/>
                  </a:ext>
                </a:extLst>
              </p:cNvPr>
              <p:cNvSpPr/>
              <p:nvPr/>
            </p:nvSpPr>
            <p:spPr>
              <a:xfrm>
                <a:off x="2992431" y="2805327"/>
                <a:ext cx="200223" cy="38398"/>
              </a:xfrm>
              <a:custGeom>
                <a:avLst/>
                <a:gdLst>
                  <a:gd name="connsiteX0" fmla="*/ 181024 w 200223"/>
                  <a:gd name="connsiteY0" fmla="*/ 0 h 38398"/>
                  <a:gd name="connsiteX1" fmla="*/ 19200 w 200223"/>
                  <a:gd name="connsiteY1" fmla="*/ 0 h 38398"/>
                  <a:gd name="connsiteX2" fmla="*/ 0 w 200223"/>
                  <a:gd name="connsiteY2" fmla="*/ 19199 h 38398"/>
                  <a:gd name="connsiteX3" fmla="*/ 19200 w 200223"/>
                  <a:gd name="connsiteY3" fmla="*/ 38399 h 38398"/>
                  <a:gd name="connsiteX4" fmla="*/ 181024 w 200223"/>
                  <a:gd name="connsiteY4" fmla="*/ 38399 h 38398"/>
                  <a:gd name="connsiteX5" fmla="*/ 200223 w 200223"/>
                  <a:gd name="connsiteY5" fmla="*/ 19199 h 38398"/>
                  <a:gd name="connsiteX6" fmla="*/ 181024 w 200223"/>
                  <a:gd name="connsiteY6" fmla="*/ 0 h 38398"/>
                  <a:gd name="connsiteX7" fmla="*/ 181024 w 200223"/>
                  <a:gd name="connsiteY7" fmla="*/ 0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223" h="38398">
                    <a:moveTo>
                      <a:pt x="181024" y="0"/>
                    </a:moveTo>
                    <a:lnTo>
                      <a:pt x="19200" y="0"/>
                    </a:lnTo>
                    <a:cubicBezTo>
                      <a:pt x="8230" y="0"/>
                      <a:pt x="0" y="8228"/>
                      <a:pt x="0" y="19199"/>
                    </a:cubicBezTo>
                    <a:cubicBezTo>
                      <a:pt x="0" y="30170"/>
                      <a:pt x="8230" y="38399"/>
                      <a:pt x="19200" y="38399"/>
                    </a:cubicBezTo>
                    <a:lnTo>
                      <a:pt x="181024" y="38399"/>
                    </a:lnTo>
                    <a:cubicBezTo>
                      <a:pt x="191994" y="38399"/>
                      <a:pt x="200223" y="30170"/>
                      <a:pt x="200223" y="19199"/>
                    </a:cubicBezTo>
                    <a:cubicBezTo>
                      <a:pt x="197480" y="8228"/>
                      <a:pt x="189252" y="0"/>
                      <a:pt x="181024" y="0"/>
                    </a:cubicBezTo>
                    <a:lnTo>
                      <a:pt x="181024" y="0"/>
                    </a:lnTo>
                    <a:close/>
                  </a:path>
                </a:pathLst>
              </a:custGeom>
              <a:grpFill/>
              <a:ln w="27426" cap="flat">
                <a:no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E155696C-9910-2690-6639-1C02EE264137}"/>
                  </a:ext>
                </a:extLst>
              </p:cNvPr>
              <p:cNvSpPr/>
              <p:nvPr/>
            </p:nvSpPr>
            <p:spPr>
              <a:xfrm>
                <a:off x="2992431" y="2882124"/>
                <a:ext cx="200223" cy="38398"/>
              </a:xfrm>
              <a:custGeom>
                <a:avLst/>
                <a:gdLst>
                  <a:gd name="connsiteX0" fmla="*/ 181024 w 200223"/>
                  <a:gd name="connsiteY0" fmla="*/ 0 h 38398"/>
                  <a:gd name="connsiteX1" fmla="*/ 19200 w 200223"/>
                  <a:gd name="connsiteY1" fmla="*/ 0 h 38398"/>
                  <a:gd name="connsiteX2" fmla="*/ 0 w 200223"/>
                  <a:gd name="connsiteY2" fmla="*/ 19200 h 38398"/>
                  <a:gd name="connsiteX3" fmla="*/ 19200 w 200223"/>
                  <a:gd name="connsiteY3" fmla="*/ 38399 h 38398"/>
                  <a:gd name="connsiteX4" fmla="*/ 181024 w 200223"/>
                  <a:gd name="connsiteY4" fmla="*/ 38399 h 38398"/>
                  <a:gd name="connsiteX5" fmla="*/ 200223 w 200223"/>
                  <a:gd name="connsiteY5" fmla="*/ 19200 h 38398"/>
                  <a:gd name="connsiteX6" fmla="*/ 181024 w 200223"/>
                  <a:gd name="connsiteY6" fmla="*/ 0 h 38398"/>
                  <a:gd name="connsiteX7" fmla="*/ 181024 w 200223"/>
                  <a:gd name="connsiteY7" fmla="*/ 0 h 3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223" h="38398">
                    <a:moveTo>
                      <a:pt x="181024" y="0"/>
                    </a:moveTo>
                    <a:lnTo>
                      <a:pt x="19200" y="0"/>
                    </a:lnTo>
                    <a:cubicBezTo>
                      <a:pt x="8230" y="0"/>
                      <a:pt x="0" y="8228"/>
                      <a:pt x="0" y="19200"/>
                    </a:cubicBezTo>
                    <a:cubicBezTo>
                      <a:pt x="0" y="30171"/>
                      <a:pt x="8230" y="38399"/>
                      <a:pt x="19200" y="38399"/>
                    </a:cubicBezTo>
                    <a:lnTo>
                      <a:pt x="181024" y="38399"/>
                    </a:lnTo>
                    <a:cubicBezTo>
                      <a:pt x="191994" y="38399"/>
                      <a:pt x="200223" y="30171"/>
                      <a:pt x="200223" y="19200"/>
                    </a:cubicBezTo>
                    <a:cubicBezTo>
                      <a:pt x="197480" y="8228"/>
                      <a:pt x="189252" y="0"/>
                      <a:pt x="181024" y="0"/>
                    </a:cubicBezTo>
                    <a:lnTo>
                      <a:pt x="181024" y="0"/>
                    </a:lnTo>
                    <a:close/>
                  </a:path>
                </a:pathLst>
              </a:custGeom>
              <a:grpFill/>
              <a:ln w="27426" cap="flat">
                <a:no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5C04B000-3673-8998-0EA7-C1BED4A72094}"/>
                  </a:ext>
                </a:extLst>
              </p:cNvPr>
              <p:cNvSpPr/>
              <p:nvPr/>
            </p:nvSpPr>
            <p:spPr>
              <a:xfrm>
                <a:off x="2616673" y="2155292"/>
                <a:ext cx="1242473" cy="905111"/>
              </a:xfrm>
              <a:custGeom>
                <a:avLst/>
                <a:gdLst>
                  <a:gd name="connsiteX0" fmla="*/ 1184874 w 1242473"/>
                  <a:gd name="connsiteY0" fmla="*/ 532096 h 905111"/>
                  <a:gd name="connsiteX1" fmla="*/ 1160190 w 1242473"/>
                  <a:gd name="connsiteY1" fmla="*/ 532096 h 905111"/>
                  <a:gd name="connsiteX2" fmla="*/ 1116305 w 1242473"/>
                  <a:gd name="connsiteY2" fmla="*/ 559524 h 905111"/>
                  <a:gd name="connsiteX3" fmla="*/ 1099849 w 1242473"/>
                  <a:gd name="connsiteY3" fmla="*/ 559524 h 905111"/>
                  <a:gd name="connsiteX4" fmla="*/ 968197 w 1242473"/>
                  <a:gd name="connsiteY4" fmla="*/ 471755 h 905111"/>
                  <a:gd name="connsiteX5" fmla="*/ 968197 w 1242473"/>
                  <a:gd name="connsiteY5" fmla="*/ 348331 h 905111"/>
                  <a:gd name="connsiteX6" fmla="*/ 948997 w 1242473"/>
                  <a:gd name="connsiteY6" fmla="*/ 329131 h 905111"/>
                  <a:gd name="connsiteX7" fmla="*/ 929797 w 1242473"/>
                  <a:gd name="connsiteY7" fmla="*/ 348331 h 905111"/>
                  <a:gd name="connsiteX8" fmla="*/ 929797 w 1242473"/>
                  <a:gd name="connsiteY8" fmla="*/ 507411 h 905111"/>
                  <a:gd name="connsiteX9" fmla="*/ 888656 w 1242473"/>
                  <a:gd name="connsiteY9" fmla="*/ 548552 h 905111"/>
                  <a:gd name="connsiteX10" fmla="*/ 828314 w 1242473"/>
                  <a:gd name="connsiteY10" fmla="*/ 548552 h 905111"/>
                  <a:gd name="connsiteX11" fmla="*/ 767975 w 1242473"/>
                  <a:gd name="connsiteY11" fmla="*/ 608894 h 905111"/>
                  <a:gd name="connsiteX12" fmla="*/ 828314 w 1242473"/>
                  <a:gd name="connsiteY12" fmla="*/ 669234 h 905111"/>
                  <a:gd name="connsiteX13" fmla="*/ 916083 w 1242473"/>
                  <a:gd name="connsiteY13" fmla="*/ 669234 h 905111"/>
                  <a:gd name="connsiteX14" fmla="*/ 929797 w 1242473"/>
                  <a:gd name="connsiteY14" fmla="*/ 671977 h 905111"/>
                  <a:gd name="connsiteX15" fmla="*/ 929797 w 1242473"/>
                  <a:gd name="connsiteY15" fmla="*/ 831057 h 905111"/>
                  <a:gd name="connsiteX16" fmla="*/ 894142 w 1242473"/>
                  <a:gd name="connsiteY16" fmla="*/ 866713 h 905111"/>
                  <a:gd name="connsiteX17" fmla="*/ 345588 w 1242473"/>
                  <a:gd name="connsiteY17" fmla="*/ 866713 h 905111"/>
                  <a:gd name="connsiteX18" fmla="*/ 309932 w 1242473"/>
                  <a:gd name="connsiteY18" fmla="*/ 831057 h 905111"/>
                  <a:gd name="connsiteX19" fmla="*/ 309932 w 1242473"/>
                  <a:gd name="connsiteY19" fmla="*/ 518382 h 905111"/>
                  <a:gd name="connsiteX20" fmla="*/ 436099 w 1242473"/>
                  <a:gd name="connsiteY20" fmla="*/ 521125 h 905111"/>
                  <a:gd name="connsiteX21" fmla="*/ 493698 w 1242473"/>
                  <a:gd name="connsiteY21" fmla="*/ 463527 h 905111"/>
                  <a:gd name="connsiteX22" fmla="*/ 485468 w 1242473"/>
                  <a:gd name="connsiteY22" fmla="*/ 433357 h 905111"/>
                  <a:gd name="connsiteX23" fmla="*/ 510154 w 1242473"/>
                  <a:gd name="connsiteY23" fmla="*/ 386730 h 905111"/>
                  <a:gd name="connsiteX24" fmla="*/ 501926 w 1242473"/>
                  <a:gd name="connsiteY24" fmla="*/ 356559 h 905111"/>
                  <a:gd name="connsiteX25" fmla="*/ 526610 w 1242473"/>
                  <a:gd name="connsiteY25" fmla="*/ 309932 h 905111"/>
                  <a:gd name="connsiteX26" fmla="*/ 512896 w 1242473"/>
                  <a:gd name="connsiteY26" fmla="*/ 271534 h 905111"/>
                  <a:gd name="connsiteX27" fmla="*/ 529354 w 1242473"/>
                  <a:gd name="connsiteY27" fmla="*/ 233135 h 905111"/>
                  <a:gd name="connsiteX28" fmla="*/ 529354 w 1242473"/>
                  <a:gd name="connsiteY28" fmla="*/ 233135 h 905111"/>
                  <a:gd name="connsiteX29" fmla="*/ 471755 w 1242473"/>
                  <a:gd name="connsiteY29" fmla="*/ 175537 h 905111"/>
                  <a:gd name="connsiteX30" fmla="*/ 326388 w 1242473"/>
                  <a:gd name="connsiteY30" fmla="*/ 175537 h 905111"/>
                  <a:gd name="connsiteX31" fmla="*/ 309932 w 1242473"/>
                  <a:gd name="connsiteY31" fmla="*/ 159080 h 905111"/>
                  <a:gd name="connsiteX32" fmla="*/ 309932 w 1242473"/>
                  <a:gd name="connsiteY32" fmla="*/ 71312 h 905111"/>
                  <a:gd name="connsiteX33" fmla="*/ 345588 w 1242473"/>
                  <a:gd name="connsiteY33" fmla="*/ 35656 h 905111"/>
                  <a:gd name="connsiteX34" fmla="*/ 757003 w 1242473"/>
                  <a:gd name="connsiteY34" fmla="*/ 35656 h 905111"/>
                  <a:gd name="connsiteX35" fmla="*/ 757003 w 1242473"/>
                  <a:gd name="connsiteY35" fmla="*/ 134396 h 905111"/>
                  <a:gd name="connsiteX36" fmla="*/ 831058 w 1242473"/>
                  <a:gd name="connsiteY36" fmla="*/ 208450 h 905111"/>
                  <a:gd name="connsiteX37" fmla="*/ 929797 w 1242473"/>
                  <a:gd name="connsiteY37" fmla="*/ 208450 h 905111"/>
                  <a:gd name="connsiteX38" fmla="*/ 929797 w 1242473"/>
                  <a:gd name="connsiteY38" fmla="*/ 263305 h 905111"/>
                  <a:gd name="connsiteX39" fmla="*/ 948997 w 1242473"/>
                  <a:gd name="connsiteY39" fmla="*/ 282505 h 905111"/>
                  <a:gd name="connsiteX40" fmla="*/ 968197 w 1242473"/>
                  <a:gd name="connsiteY40" fmla="*/ 263305 h 905111"/>
                  <a:gd name="connsiteX41" fmla="*/ 968197 w 1242473"/>
                  <a:gd name="connsiteY41" fmla="*/ 208450 h 905111"/>
                  <a:gd name="connsiteX42" fmla="*/ 951739 w 1242473"/>
                  <a:gd name="connsiteY42" fmla="*/ 170052 h 905111"/>
                  <a:gd name="connsiteX43" fmla="*/ 798145 w 1242473"/>
                  <a:gd name="connsiteY43" fmla="*/ 16457 h 905111"/>
                  <a:gd name="connsiteX44" fmla="*/ 759745 w 1242473"/>
                  <a:gd name="connsiteY44" fmla="*/ 0 h 905111"/>
                  <a:gd name="connsiteX45" fmla="*/ 345588 w 1242473"/>
                  <a:gd name="connsiteY45" fmla="*/ 0 h 905111"/>
                  <a:gd name="connsiteX46" fmla="*/ 271533 w 1242473"/>
                  <a:gd name="connsiteY46" fmla="*/ 74055 h 905111"/>
                  <a:gd name="connsiteX47" fmla="*/ 271533 w 1242473"/>
                  <a:gd name="connsiteY47" fmla="*/ 120682 h 905111"/>
                  <a:gd name="connsiteX48" fmla="*/ 137138 w 1242473"/>
                  <a:gd name="connsiteY48" fmla="*/ 208450 h 905111"/>
                  <a:gd name="connsiteX49" fmla="*/ 120681 w 1242473"/>
                  <a:gd name="connsiteY49" fmla="*/ 208450 h 905111"/>
                  <a:gd name="connsiteX50" fmla="*/ 76797 w 1242473"/>
                  <a:gd name="connsiteY50" fmla="*/ 181022 h 905111"/>
                  <a:gd name="connsiteX51" fmla="*/ 52112 w 1242473"/>
                  <a:gd name="connsiteY51" fmla="*/ 181022 h 905111"/>
                  <a:gd name="connsiteX52" fmla="*/ 0 w 1242473"/>
                  <a:gd name="connsiteY52" fmla="*/ 233135 h 905111"/>
                  <a:gd name="connsiteX53" fmla="*/ 0 w 1242473"/>
                  <a:gd name="connsiteY53" fmla="*/ 455299 h 905111"/>
                  <a:gd name="connsiteX54" fmla="*/ 52112 w 1242473"/>
                  <a:gd name="connsiteY54" fmla="*/ 507411 h 905111"/>
                  <a:gd name="connsiteX55" fmla="*/ 76797 w 1242473"/>
                  <a:gd name="connsiteY55" fmla="*/ 507411 h 905111"/>
                  <a:gd name="connsiteX56" fmla="*/ 123425 w 1242473"/>
                  <a:gd name="connsiteY56" fmla="*/ 479983 h 905111"/>
                  <a:gd name="connsiteX57" fmla="*/ 167308 w 1242473"/>
                  <a:gd name="connsiteY57" fmla="*/ 479983 h 905111"/>
                  <a:gd name="connsiteX58" fmla="*/ 241363 w 1242473"/>
                  <a:gd name="connsiteY58" fmla="*/ 504669 h 905111"/>
                  <a:gd name="connsiteX59" fmla="*/ 241363 w 1242473"/>
                  <a:gd name="connsiteY59" fmla="*/ 504669 h 905111"/>
                  <a:gd name="connsiteX60" fmla="*/ 274277 w 1242473"/>
                  <a:gd name="connsiteY60" fmla="*/ 512897 h 905111"/>
                  <a:gd name="connsiteX61" fmla="*/ 274277 w 1242473"/>
                  <a:gd name="connsiteY61" fmla="*/ 831057 h 905111"/>
                  <a:gd name="connsiteX62" fmla="*/ 348330 w 1242473"/>
                  <a:gd name="connsiteY62" fmla="*/ 905112 h 905111"/>
                  <a:gd name="connsiteX63" fmla="*/ 896884 w 1242473"/>
                  <a:gd name="connsiteY63" fmla="*/ 905112 h 905111"/>
                  <a:gd name="connsiteX64" fmla="*/ 959969 w 1242473"/>
                  <a:gd name="connsiteY64" fmla="*/ 866713 h 905111"/>
                  <a:gd name="connsiteX65" fmla="*/ 1055965 w 1242473"/>
                  <a:gd name="connsiteY65" fmla="*/ 833800 h 905111"/>
                  <a:gd name="connsiteX66" fmla="*/ 1119049 w 1242473"/>
                  <a:gd name="connsiteY66" fmla="*/ 831057 h 905111"/>
                  <a:gd name="connsiteX67" fmla="*/ 1165676 w 1242473"/>
                  <a:gd name="connsiteY67" fmla="*/ 858485 h 905111"/>
                  <a:gd name="connsiteX68" fmla="*/ 1190360 w 1242473"/>
                  <a:gd name="connsiteY68" fmla="*/ 858485 h 905111"/>
                  <a:gd name="connsiteX69" fmla="*/ 1242473 w 1242473"/>
                  <a:gd name="connsiteY69" fmla="*/ 806372 h 905111"/>
                  <a:gd name="connsiteX70" fmla="*/ 1242473 w 1242473"/>
                  <a:gd name="connsiteY70" fmla="*/ 584208 h 905111"/>
                  <a:gd name="connsiteX71" fmla="*/ 1184874 w 1242473"/>
                  <a:gd name="connsiteY71" fmla="*/ 532096 h 905111"/>
                  <a:gd name="connsiteX72" fmla="*/ 1184874 w 1242473"/>
                  <a:gd name="connsiteY72" fmla="*/ 532096 h 905111"/>
                  <a:gd name="connsiteX73" fmla="*/ 792659 w 1242473"/>
                  <a:gd name="connsiteY73" fmla="*/ 139881 h 905111"/>
                  <a:gd name="connsiteX74" fmla="*/ 792659 w 1242473"/>
                  <a:gd name="connsiteY74" fmla="*/ 65827 h 905111"/>
                  <a:gd name="connsiteX75" fmla="*/ 902369 w 1242473"/>
                  <a:gd name="connsiteY75" fmla="*/ 175537 h 905111"/>
                  <a:gd name="connsiteX76" fmla="*/ 828314 w 1242473"/>
                  <a:gd name="connsiteY76" fmla="*/ 175537 h 905111"/>
                  <a:gd name="connsiteX77" fmla="*/ 792659 w 1242473"/>
                  <a:gd name="connsiteY77" fmla="*/ 139881 h 905111"/>
                  <a:gd name="connsiteX78" fmla="*/ 792659 w 1242473"/>
                  <a:gd name="connsiteY78" fmla="*/ 139881 h 905111"/>
                  <a:gd name="connsiteX79" fmla="*/ 164566 w 1242473"/>
                  <a:gd name="connsiteY79" fmla="*/ 441585 h 905111"/>
                  <a:gd name="connsiteX80" fmla="*/ 126167 w 1242473"/>
                  <a:gd name="connsiteY80" fmla="*/ 441585 h 905111"/>
                  <a:gd name="connsiteX81" fmla="*/ 126167 w 1242473"/>
                  <a:gd name="connsiteY81" fmla="*/ 359302 h 905111"/>
                  <a:gd name="connsiteX82" fmla="*/ 106967 w 1242473"/>
                  <a:gd name="connsiteY82" fmla="*/ 340103 h 905111"/>
                  <a:gd name="connsiteX83" fmla="*/ 87767 w 1242473"/>
                  <a:gd name="connsiteY83" fmla="*/ 359302 h 905111"/>
                  <a:gd name="connsiteX84" fmla="*/ 87767 w 1242473"/>
                  <a:gd name="connsiteY84" fmla="*/ 455299 h 905111"/>
                  <a:gd name="connsiteX85" fmla="*/ 87767 w 1242473"/>
                  <a:gd name="connsiteY85" fmla="*/ 458042 h 905111"/>
                  <a:gd name="connsiteX86" fmla="*/ 87767 w 1242473"/>
                  <a:gd name="connsiteY86" fmla="*/ 458042 h 905111"/>
                  <a:gd name="connsiteX87" fmla="*/ 74053 w 1242473"/>
                  <a:gd name="connsiteY87" fmla="*/ 471755 h 905111"/>
                  <a:gd name="connsiteX88" fmla="*/ 49369 w 1242473"/>
                  <a:gd name="connsiteY88" fmla="*/ 471755 h 905111"/>
                  <a:gd name="connsiteX89" fmla="*/ 35656 w 1242473"/>
                  <a:gd name="connsiteY89" fmla="*/ 458042 h 905111"/>
                  <a:gd name="connsiteX90" fmla="*/ 35656 w 1242473"/>
                  <a:gd name="connsiteY90" fmla="*/ 235878 h 905111"/>
                  <a:gd name="connsiteX91" fmla="*/ 49369 w 1242473"/>
                  <a:gd name="connsiteY91" fmla="*/ 222164 h 905111"/>
                  <a:gd name="connsiteX92" fmla="*/ 74053 w 1242473"/>
                  <a:gd name="connsiteY92" fmla="*/ 222164 h 905111"/>
                  <a:gd name="connsiteX93" fmla="*/ 87767 w 1242473"/>
                  <a:gd name="connsiteY93" fmla="*/ 235878 h 905111"/>
                  <a:gd name="connsiteX94" fmla="*/ 87767 w 1242473"/>
                  <a:gd name="connsiteY94" fmla="*/ 277019 h 905111"/>
                  <a:gd name="connsiteX95" fmla="*/ 106967 w 1242473"/>
                  <a:gd name="connsiteY95" fmla="*/ 296218 h 905111"/>
                  <a:gd name="connsiteX96" fmla="*/ 126167 w 1242473"/>
                  <a:gd name="connsiteY96" fmla="*/ 277019 h 905111"/>
                  <a:gd name="connsiteX97" fmla="*/ 126167 w 1242473"/>
                  <a:gd name="connsiteY97" fmla="*/ 246849 h 905111"/>
                  <a:gd name="connsiteX98" fmla="*/ 137138 w 1242473"/>
                  <a:gd name="connsiteY98" fmla="*/ 246849 h 905111"/>
                  <a:gd name="connsiteX99" fmla="*/ 271533 w 1242473"/>
                  <a:gd name="connsiteY99" fmla="*/ 159080 h 905111"/>
                  <a:gd name="connsiteX100" fmla="*/ 271533 w 1242473"/>
                  <a:gd name="connsiteY100" fmla="*/ 161823 h 905111"/>
                  <a:gd name="connsiteX101" fmla="*/ 323646 w 1242473"/>
                  <a:gd name="connsiteY101" fmla="*/ 213936 h 905111"/>
                  <a:gd name="connsiteX102" fmla="*/ 469013 w 1242473"/>
                  <a:gd name="connsiteY102" fmla="*/ 213936 h 905111"/>
                  <a:gd name="connsiteX103" fmla="*/ 488212 w 1242473"/>
                  <a:gd name="connsiteY103" fmla="*/ 233135 h 905111"/>
                  <a:gd name="connsiteX104" fmla="*/ 488212 w 1242473"/>
                  <a:gd name="connsiteY104" fmla="*/ 233135 h 905111"/>
                  <a:gd name="connsiteX105" fmla="*/ 488212 w 1242473"/>
                  <a:gd name="connsiteY105" fmla="*/ 233135 h 905111"/>
                  <a:gd name="connsiteX106" fmla="*/ 469013 w 1242473"/>
                  <a:gd name="connsiteY106" fmla="*/ 252334 h 905111"/>
                  <a:gd name="connsiteX107" fmla="*/ 469013 w 1242473"/>
                  <a:gd name="connsiteY107" fmla="*/ 252334 h 905111"/>
                  <a:gd name="connsiteX108" fmla="*/ 469013 w 1242473"/>
                  <a:gd name="connsiteY108" fmla="*/ 252334 h 905111"/>
                  <a:gd name="connsiteX109" fmla="*/ 326388 w 1242473"/>
                  <a:gd name="connsiteY109" fmla="*/ 252334 h 905111"/>
                  <a:gd name="connsiteX110" fmla="*/ 307189 w 1242473"/>
                  <a:gd name="connsiteY110" fmla="*/ 271534 h 905111"/>
                  <a:gd name="connsiteX111" fmla="*/ 326388 w 1242473"/>
                  <a:gd name="connsiteY111" fmla="*/ 290733 h 905111"/>
                  <a:gd name="connsiteX112" fmla="*/ 469013 w 1242473"/>
                  <a:gd name="connsiteY112" fmla="*/ 290733 h 905111"/>
                  <a:gd name="connsiteX113" fmla="*/ 488212 w 1242473"/>
                  <a:gd name="connsiteY113" fmla="*/ 309932 h 905111"/>
                  <a:gd name="connsiteX114" fmla="*/ 469013 w 1242473"/>
                  <a:gd name="connsiteY114" fmla="*/ 329131 h 905111"/>
                  <a:gd name="connsiteX115" fmla="*/ 329132 w 1242473"/>
                  <a:gd name="connsiteY115" fmla="*/ 329131 h 905111"/>
                  <a:gd name="connsiteX116" fmla="*/ 309932 w 1242473"/>
                  <a:gd name="connsiteY116" fmla="*/ 348331 h 905111"/>
                  <a:gd name="connsiteX117" fmla="*/ 329132 w 1242473"/>
                  <a:gd name="connsiteY117" fmla="*/ 367530 h 905111"/>
                  <a:gd name="connsiteX118" fmla="*/ 452557 w 1242473"/>
                  <a:gd name="connsiteY118" fmla="*/ 367530 h 905111"/>
                  <a:gd name="connsiteX119" fmla="*/ 471755 w 1242473"/>
                  <a:gd name="connsiteY119" fmla="*/ 386730 h 905111"/>
                  <a:gd name="connsiteX120" fmla="*/ 452557 w 1242473"/>
                  <a:gd name="connsiteY120" fmla="*/ 405929 h 905111"/>
                  <a:gd name="connsiteX121" fmla="*/ 329132 w 1242473"/>
                  <a:gd name="connsiteY121" fmla="*/ 405929 h 905111"/>
                  <a:gd name="connsiteX122" fmla="*/ 309932 w 1242473"/>
                  <a:gd name="connsiteY122" fmla="*/ 425128 h 905111"/>
                  <a:gd name="connsiteX123" fmla="*/ 329132 w 1242473"/>
                  <a:gd name="connsiteY123" fmla="*/ 444328 h 905111"/>
                  <a:gd name="connsiteX124" fmla="*/ 436099 w 1242473"/>
                  <a:gd name="connsiteY124" fmla="*/ 444328 h 905111"/>
                  <a:gd name="connsiteX125" fmla="*/ 455299 w 1242473"/>
                  <a:gd name="connsiteY125" fmla="*/ 463527 h 905111"/>
                  <a:gd name="connsiteX126" fmla="*/ 436099 w 1242473"/>
                  <a:gd name="connsiteY126" fmla="*/ 482726 h 905111"/>
                  <a:gd name="connsiteX127" fmla="*/ 252333 w 1242473"/>
                  <a:gd name="connsiteY127" fmla="*/ 469013 h 905111"/>
                  <a:gd name="connsiteX128" fmla="*/ 164566 w 1242473"/>
                  <a:gd name="connsiteY128" fmla="*/ 441585 h 905111"/>
                  <a:gd name="connsiteX129" fmla="*/ 164566 w 1242473"/>
                  <a:gd name="connsiteY129" fmla="*/ 441585 h 905111"/>
                  <a:gd name="connsiteX130" fmla="*/ 1039508 w 1242473"/>
                  <a:gd name="connsiteY130" fmla="*/ 798144 h 905111"/>
                  <a:gd name="connsiteX131" fmla="*/ 965453 w 1242473"/>
                  <a:gd name="connsiteY131" fmla="*/ 825572 h 905111"/>
                  <a:gd name="connsiteX132" fmla="*/ 965453 w 1242473"/>
                  <a:gd name="connsiteY132" fmla="*/ 713118 h 905111"/>
                  <a:gd name="connsiteX133" fmla="*/ 1020308 w 1242473"/>
                  <a:gd name="connsiteY133" fmla="*/ 735060 h 905111"/>
                  <a:gd name="connsiteX134" fmla="*/ 1039508 w 1242473"/>
                  <a:gd name="connsiteY134" fmla="*/ 715861 h 905111"/>
                  <a:gd name="connsiteX135" fmla="*/ 1020308 w 1242473"/>
                  <a:gd name="connsiteY135" fmla="*/ 696662 h 905111"/>
                  <a:gd name="connsiteX136" fmla="*/ 979167 w 1242473"/>
                  <a:gd name="connsiteY136" fmla="*/ 671977 h 905111"/>
                  <a:gd name="connsiteX137" fmla="*/ 916083 w 1242473"/>
                  <a:gd name="connsiteY137" fmla="*/ 633578 h 905111"/>
                  <a:gd name="connsiteX138" fmla="*/ 828314 w 1242473"/>
                  <a:gd name="connsiteY138" fmla="*/ 633578 h 905111"/>
                  <a:gd name="connsiteX139" fmla="*/ 803631 w 1242473"/>
                  <a:gd name="connsiteY139" fmla="*/ 608894 h 905111"/>
                  <a:gd name="connsiteX140" fmla="*/ 828314 w 1242473"/>
                  <a:gd name="connsiteY140" fmla="*/ 584208 h 905111"/>
                  <a:gd name="connsiteX141" fmla="*/ 888656 w 1242473"/>
                  <a:gd name="connsiteY141" fmla="*/ 584208 h 905111"/>
                  <a:gd name="connsiteX142" fmla="*/ 965453 w 1242473"/>
                  <a:gd name="connsiteY142" fmla="*/ 507411 h 905111"/>
                  <a:gd name="connsiteX143" fmla="*/ 1097107 w 1242473"/>
                  <a:gd name="connsiteY143" fmla="*/ 595180 h 905111"/>
                  <a:gd name="connsiteX144" fmla="*/ 1108077 w 1242473"/>
                  <a:gd name="connsiteY144" fmla="*/ 595180 h 905111"/>
                  <a:gd name="connsiteX145" fmla="*/ 1108077 w 1242473"/>
                  <a:gd name="connsiteY145" fmla="*/ 789916 h 905111"/>
                  <a:gd name="connsiteX146" fmla="*/ 1039508 w 1242473"/>
                  <a:gd name="connsiteY146" fmla="*/ 798144 h 905111"/>
                  <a:gd name="connsiteX147" fmla="*/ 1039508 w 1242473"/>
                  <a:gd name="connsiteY147" fmla="*/ 798144 h 905111"/>
                  <a:gd name="connsiteX148" fmla="*/ 1201332 w 1242473"/>
                  <a:gd name="connsiteY148" fmla="*/ 806372 h 905111"/>
                  <a:gd name="connsiteX149" fmla="*/ 1187618 w 1242473"/>
                  <a:gd name="connsiteY149" fmla="*/ 820086 h 905111"/>
                  <a:gd name="connsiteX150" fmla="*/ 1162932 w 1242473"/>
                  <a:gd name="connsiteY150" fmla="*/ 820086 h 905111"/>
                  <a:gd name="connsiteX151" fmla="*/ 1149219 w 1242473"/>
                  <a:gd name="connsiteY151" fmla="*/ 806372 h 905111"/>
                  <a:gd name="connsiteX152" fmla="*/ 1149219 w 1242473"/>
                  <a:gd name="connsiteY152" fmla="*/ 806372 h 905111"/>
                  <a:gd name="connsiteX153" fmla="*/ 1149219 w 1242473"/>
                  <a:gd name="connsiteY153" fmla="*/ 803629 h 905111"/>
                  <a:gd name="connsiteX154" fmla="*/ 1149219 w 1242473"/>
                  <a:gd name="connsiteY154" fmla="*/ 581466 h 905111"/>
                  <a:gd name="connsiteX155" fmla="*/ 1162932 w 1242473"/>
                  <a:gd name="connsiteY155" fmla="*/ 567752 h 905111"/>
                  <a:gd name="connsiteX156" fmla="*/ 1187618 w 1242473"/>
                  <a:gd name="connsiteY156" fmla="*/ 567752 h 905111"/>
                  <a:gd name="connsiteX157" fmla="*/ 1201332 w 1242473"/>
                  <a:gd name="connsiteY157" fmla="*/ 581466 h 905111"/>
                  <a:gd name="connsiteX158" fmla="*/ 1201332 w 1242473"/>
                  <a:gd name="connsiteY158" fmla="*/ 806372 h 905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1242473" h="905111">
                    <a:moveTo>
                      <a:pt x="1184874" y="532096"/>
                    </a:moveTo>
                    <a:lnTo>
                      <a:pt x="1160190" y="532096"/>
                    </a:lnTo>
                    <a:cubicBezTo>
                      <a:pt x="1140991" y="532096"/>
                      <a:pt x="1124535" y="543067"/>
                      <a:pt x="1116305" y="559524"/>
                    </a:cubicBezTo>
                    <a:lnTo>
                      <a:pt x="1099849" y="559524"/>
                    </a:lnTo>
                    <a:cubicBezTo>
                      <a:pt x="1047736" y="559524"/>
                      <a:pt x="1055965" y="488212"/>
                      <a:pt x="968197" y="471755"/>
                    </a:cubicBezTo>
                    <a:lnTo>
                      <a:pt x="968197" y="348331"/>
                    </a:lnTo>
                    <a:cubicBezTo>
                      <a:pt x="968197" y="337360"/>
                      <a:pt x="959969" y="329131"/>
                      <a:pt x="948997" y="329131"/>
                    </a:cubicBezTo>
                    <a:cubicBezTo>
                      <a:pt x="938025" y="329131"/>
                      <a:pt x="929797" y="337360"/>
                      <a:pt x="929797" y="348331"/>
                    </a:cubicBezTo>
                    <a:lnTo>
                      <a:pt x="929797" y="507411"/>
                    </a:lnTo>
                    <a:cubicBezTo>
                      <a:pt x="929797" y="529353"/>
                      <a:pt x="910597" y="548552"/>
                      <a:pt x="888656" y="548552"/>
                    </a:cubicBezTo>
                    <a:lnTo>
                      <a:pt x="828314" y="548552"/>
                    </a:lnTo>
                    <a:cubicBezTo>
                      <a:pt x="795403" y="548552"/>
                      <a:pt x="767975" y="575980"/>
                      <a:pt x="767975" y="608894"/>
                    </a:cubicBezTo>
                    <a:cubicBezTo>
                      <a:pt x="767975" y="641807"/>
                      <a:pt x="795403" y="669234"/>
                      <a:pt x="828314" y="669234"/>
                    </a:cubicBezTo>
                    <a:lnTo>
                      <a:pt x="916083" y="669234"/>
                    </a:lnTo>
                    <a:cubicBezTo>
                      <a:pt x="921569" y="669234"/>
                      <a:pt x="924311" y="669234"/>
                      <a:pt x="929797" y="671977"/>
                    </a:cubicBezTo>
                    <a:lnTo>
                      <a:pt x="929797" y="831057"/>
                    </a:lnTo>
                    <a:cubicBezTo>
                      <a:pt x="929797" y="850256"/>
                      <a:pt x="913341" y="866713"/>
                      <a:pt x="894142" y="866713"/>
                    </a:cubicBezTo>
                    <a:lnTo>
                      <a:pt x="345588" y="866713"/>
                    </a:lnTo>
                    <a:cubicBezTo>
                      <a:pt x="326388" y="866713"/>
                      <a:pt x="309932" y="850256"/>
                      <a:pt x="309932" y="831057"/>
                    </a:cubicBezTo>
                    <a:lnTo>
                      <a:pt x="309932" y="518382"/>
                    </a:lnTo>
                    <a:cubicBezTo>
                      <a:pt x="334616" y="521125"/>
                      <a:pt x="389472" y="521125"/>
                      <a:pt x="436099" y="521125"/>
                    </a:cubicBezTo>
                    <a:cubicBezTo>
                      <a:pt x="466270" y="521125"/>
                      <a:pt x="493698" y="496440"/>
                      <a:pt x="493698" y="463527"/>
                    </a:cubicBezTo>
                    <a:cubicBezTo>
                      <a:pt x="493698" y="452556"/>
                      <a:pt x="490954" y="441585"/>
                      <a:pt x="485468" y="433357"/>
                    </a:cubicBezTo>
                    <a:cubicBezTo>
                      <a:pt x="499182" y="422386"/>
                      <a:pt x="510154" y="405929"/>
                      <a:pt x="510154" y="386730"/>
                    </a:cubicBezTo>
                    <a:cubicBezTo>
                      <a:pt x="510154" y="375759"/>
                      <a:pt x="507412" y="367530"/>
                      <a:pt x="501926" y="356559"/>
                    </a:cubicBezTo>
                    <a:cubicBezTo>
                      <a:pt x="518382" y="345588"/>
                      <a:pt x="526610" y="329131"/>
                      <a:pt x="526610" y="309932"/>
                    </a:cubicBezTo>
                    <a:cubicBezTo>
                      <a:pt x="526610" y="296218"/>
                      <a:pt x="521126" y="282505"/>
                      <a:pt x="512896" y="271534"/>
                    </a:cubicBezTo>
                    <a:cubicBezTo>
                      <a:pt x="523868" y="260562"/>
                      <a:pt x="529354" y="246849"/>
                      <a:pt x="529354" y="233135"/>
                    </a:cubicBezTo>
                    <a:cubicBezTo>
                      <a:pt x="529354" y="233135"/>
                      <a:pt x="529354" y="233135"/>
                      <a:pt x="529354" y="233135"/>
                    </a:cubicBezTo>
                    <a:cubicBezTo>
                      <a:pt x="529354" y="202965"/>
                      <a:pt x="504668" y="175537"/>
                      <a:pt x="471755" y="175537"/>
                    </a:cubicBezTo>
                    <a:lnTo>
                      <a:pt x="326388" y="175537"/>
                    </a:lnTo>
                    <a:cubicBezTo>
                      <a:pt x="318160" y="175537"/>
                      <a:pt x="309932" y="167309"/>
                      <a:pt x="309932" y="159080"/>
                    </a:cubicBezTo>
                    <a:cubicBezTo>
                      <a:pt x="309932" y="150852"/>
                      <a:pt x="309932" y="191993"/>
                      <a:pt x="309932" y="71312"/>
                    </a:cubicBezTo>
                    <a:cubicBezTo>
                      <a:pt x="309932" y="52113"/>
                      <a:pt x="326388" y="35656"/>
                      <a:pt x="345588" y="35656"/>
                    </a:cubicBezTo>
                    <a:lnTo>
                      <a:pt x="757003" y="35656"/>
                    </a:lnTo>
                    <a:lnTo>
                      <a:pt x="757003" y="134396"/>
                    </a:lnTo>
                    <a:cubicBezTo>
                      <a:pt x="757003" y="175537"/>
                      <a:pt x="789917" y="208450"/>
                      <a:pt x="831058" y="208450"/>
                    </a:cubicBezTo>
                    <a:lnTo>
                      <a:pt x="929797" y="208450"/>
                    </a:lnTo>
                    <a:lnTo>
                      <a:pt x="929797" y="263305"/>
                    </a:lnTo>
                    <a:cubicBezTo>
                      <a:pt x="929797" y="274276"/>
                      <a:pt x="938025" y="282505"/>
                      <a:pt x="948997" y="282505"/>
                    </a:cubicBezTo>
                    <a:cubicBezTo>
                      <a:pt x="959969" y="282505"/>
                      <a:pt x="968197" y="274276"/>
                      <a:pt x="968197" y="263305"/>
                    </a:cubicBezTo>
                    <a:lnTo>
                      <a:pt x="968197" y="208450"/>
                    </a:lnTo>
                    <a:cubicBezTo>
                      <a:pt x="968197" y="194736"/>
                      <a:pt x="962711" y="181022"/>
                      <a:pt x="951739" y="170052"/>
                    </a:cubicBezTo>
                    <a:lnTo>
                      <a:pt x="798145" y="16457"/>
                    </a:lnTo>
                    <a:cubicBezTo>
                      <a:pt x="789917" y="8228"/>
                      <a:pt x="776203" y="0"/>
                      <a:pt x="759745" y="0"/>
                    </a:cubicBezTo>
                    <a:lnTo>
                      <a:pt x="345588" y="0"/>
                    </a:lnTo>
                    <a:cubicBezTo>
                      <a:pt x="304447" y="0"/>
                      <a:pt x="271533" y="32913"/>
                      <a:pt x="271533" y="74055"/>
                    </a:cubicBezTo>
                    <a:lnTo>
                      <a:pt x="271533" y="120682"/>
                    </a:lnTo>
                    <a:cubicBezTo>
                      <a:pt x="183764" y="137138"/>
                      <a:pt x="189250" y="208450"/>
                      <a:pt x="137138" y="208450"/>
                    </a:cubicBezTo>
                    <a:lnTo>
                      <a:pt x="120681" y="208450"/>
                    </a:lnTo>
                    <a:cubicBezTo>
                      <a:pt x="112453" y="191993"/>
                      <a:pt x="95997" y="181022"/>
                      <a:pt x="76797" y="181022"/>
                    </a:cubicBezTo>
                    <a:lnTo>
                      <a:pt x="52112" y="181022"/>
                    </a:lnTo>
                    <a:cubicBezTo>
                      <a:pt x="24684" y="181022"/>
                      <a:pt x="0" y="202965"/>
                      <a:pt x="0" y="233135"/>
                    </a:cubicBezTo>
                    <a:lnTo>
                      <a:pt x="0" y="455299"/>
                    </a:lnTo>
                    <a:cubicBezTo>
                      <a:pt x="0" y="482726"/>
                      <a:pt x="21942" y="507411"/>
                      <a:pt x="52112" y="507411"/>
                    </a:cubicBezTo>
                    <a:lnTo>
                      <a:pt x="76797" y="507411"/>
                    </a:lnTo>
                    <a:cubicBezTo>
                      <a:pt x="95997" y="507411"/>
                      <a:pt x="115195" y="496440"/>
                      <a:pt x="123425" y="479983"/>
                    </a:cubicBezTo>
                    <a:lnTo>
                      <a:pt x="167308" y="479983"/>
                    </a:lnTo>
                    <a:cubicBezTo>
                      <a:pt x="183764" y="479983"/>
                      <a:pt x="189250" y="485469"/>
                      <a:pt x="241363" y="504669"/>
                    </a:cubicBezTo>
                    <a:cubicBezTo>
                      <a:pt x="241363" y="504669"/>
                      <a:pt x="241363" y="504669"/>
                      <a:pt x="241363" y="504669"/>
                    </a:cubicBezTo>
                    <a:cubicBezTo>
                      <a:pt x="252333" y="507411"/>
                      <a:pt x="263305" y="512897"/>
                      <a:pt x="274277" y="512897"/>
                    </a:cubicBezTo>
                    <a:lnTo>
                      <a:pt x="274277" y="831057"/>
                    </a:lnTo>
                    <a:cubicBezTo>
                      <a:pt x="274277" y="872198"/>
                      <a:pt x="307189" y="905112"/>
                      <a:pt x="348330" y="905112"/>
                    </a:cubicBezTo>
                    <a:lnTo>
                      <a:pt x="896884" y="905112"/>
                    </a:lnTo>
                    <a:cubicBezTo>
                      <a:pt x="924311" y="905112"/>
                      <a:pt x="948997" y="888655"/>
                      <a:pt x="959969" y="866713"/>
                    </a:cubicBezTo>
                    <a:cubicBezTo>
                      <a:pt x="1001110" y="858485"/>
                      <a:pt x="1017566" y="847514"/>
                      <a:pt x="1055965" y="833800"/>
                    </a:cubicBezTo>
                    <a:cubicBezTo>
                      <a:pt x="1069679" y="828315"/>
                      <a:pt x="1077907" y="831057"/>
                      <a:pt x="1119049" y="831057"/>
                    </a:cubicBezTo>
                    <a:cubicBezTo>
                      <a:pt x="1127277" y="847514"/>
                      <a:pt x="1143733" y="858485"/>
                      <a:pt x="1165676" y="858485"/>
                    </a:cubicBezTo>
                    <a:lnTo>
                      <a:pt x="1190360" y="858485"/>
                    </a:lnTo>
                    <a:cubicBezTo>
                      <a:pt x="1217788" y="858485"/>
                      <a:pt x="1242473" y="836542"/>
                      <a:pt x="1242473" y="806372"/>
                    </a:cubicBezTo>
                    <a:lnTo>
                      <a:pt x="1242473" y="584208"/>
                    </a:lnTo>
                    <a:cubicBezTo>
                      <a:pt x="1236987" y="556781"/>
                      <a:pt x="1212302" y="532096"/>
                      <a:pt x="1184874" y="532096"/>
                    </a:cubicBezTo>
                    <a:lnTo>
                      <a:pt x="1184874" y="532096"/>
                    </a:lnTo>
                    <a:close/>
                    <a:moveTo>
                      <a:pt x="792659" y="139881"/>
                    </a:moveTo>
                    <a:lnTo>
                      <a:pt x="792659" y="65827"/>
                    </a:lnTo>
                    <a:cubicBezTo>
                      <a:pt x="809116" y="82283"/>
                      <a:pt x="885914" y="159080"/>
                      <a:pt x="902369" y="175537"/>
                    </a:cubicBezTo>
                    <a:lnTo>
                      <a:pt x="828314" y="175537"/>
                    </a:lnTo>
                    <a:cubicBezTo>
                      <a:pt x="809116" y="175537"/>
                      <a:pt x="792659" y="159080"/>
                      <a:pt x="792659" y="139881"/>
                    </a:cubicBezTo>
                    <a:lnTo>
                      <a:pt x="792659" y="139881"/>
                    </a:lnTo>
                    <a:close/>
                    <a:moveTo>
                      <a:pt x="164566" y="441585"/>
                    </a:moveTo>
                    <a:lnTo>
                      <a:pt x="126167" y="441585"/>
                    </a:lnTo>
                    <a:lnTo>
                      <a:pt x="126167" y="359302"/>
                    </a:lnTo>
                    <a:cubicBezTo>
                      <a:pt x="126167" y="348331"/>
                      <a:pt x="117939" y="340103"/>
                      <a:pt x="106967" y="340103"/>
                    </a:cubicBezTo>
                    <a:cubicBezTo>
                      <a:pt x="95997" y="340103"/>
                      <a:pt x="87767" y="348331"/>
                      <a:pt x="87767" y="359302"/>
                    </a:cubicBezTo>
                    <a:lnTo>
                      <a:pt x="87767" y="455299"/>
                    </a:lnTo>
                    <a:cubicBezTo>
                      <a:pt x="87767" y="455299"/>
                      <a:pt x="87767" y="455299"/>
                      <a:pt x="87767" y="458042"/>
                    </a:cubicBezTo>
                    <a:cubicBezTo>
                      <a:pt x="87767" y="458042"/>
                      <a:pt x="87767" y="458042"/>
                      <a:pt x="87767" y="458042"/>
                    </a:cubicBezTo>
                    <a:cubicBezTo>
                      <a:pt x="87767" y="466270"/>
                      <a:pt x="79539" y="471755"/>
                      <a:pt x="74053" y="471755"/>
                    </a:cubicBezTo>
                    <a:lnTo>
                      <a:pt x="49369" y="471755"/>
                    </a:lnTo>
                    <a:cubicBezTo>
                      <a:pt x="41142" y="471755"/>
                      <a:pt x="35656" y="466270"/>
                      <a:pt x="35656" y="458042"/>
                    </a:cubicBezTo>
                    <a:lnTo>
                      <a:pt x="35656" y="235878"/>
                    </a:lnTo>
                    <a:cubicBezTo>
                      <a:pt x="35656" y="227649"/>
                      <a:pt x="41142" y="222164"/>
                      <a:pt x="49369" y="222164"/>
                    </a:cubicBezTo>
                    <a:lnTo>
                      <a:pt x="74053" y="222164"/>
                    </a:lnTo>
                    <a:cubicBezTo>
                      <a:pt x="82283" y="222164"/>
                      <a:pt x="87767" y="227649"/>
                      <a:pt x="87767" y="235878"/>
                    </a:cubicBezTo>
                    <a:lnTo>
                      <a:pt x="87767" y="277019"/>
                    </a:lnTo>
                    <a:cubicBezTo>
                      <a:pt x="87767" y="287990"/>
                      <a:pt x="95997" y="296218"/>
                      <a:pt x="106967" y="296218"/>
                    </a:cubicBezTo>
                    <a:cubicBezTo>
                      <a:pt x="117939" y="296218"/>
                      <a:pt x="126167" y="287990"/>
                      <a:pt x="126167" y="277019"/>
                    </a:cubicBezTo>
                    <a:lnTo>
                      <a:pt x="126167" y="246849"/>
                    </a:lnTo>
                    <a:lnTo>
                      <a:pt x="137138" y="246849"/>
                    </a:lnTo>
                    <a:cubicBezTo>
                      <a:pt x="213936" y="246849"/>
                      <a:pt x="202964" y="175537"/>
                      <a:pt x="271533" y="159080"/>
                    </a:cubicBezTo>
                    <a:lnTo>
                      <a:pt x="271533" y="161823"/>
                    </a:lnTo>
                    <a:cubicBezTo>
                      <a:pt x="271533" y="191993"/>
                      <a:pt x="296219" y="213936"/>
                      <a:pt x="323646" y="213936"/>
                    </a:cubicBezTo>
                    <a:lnTo>
                      <a:pt x="469013" y="213936"/>
                    </a:lnTo>
                    <a:cubicBezTo>
                      <a:pt x="479984" y="213936"/>
                      <a:pt x="488212" y="222164"/>
                      <a:pt x="488212" y="233135"/>
                    </a:cubicBezTo>
                    <a:cubicBezTo>
                      <a:pt x="488212" y="233135"/>
                      <a:pt x="488212" y="233135"/>
                      <a:pt x="488212" y="233135"/>
                    </a:cubicBezTo>
                    <a:cubicBezTo>
                      <a:pt x="488212" y="233135"/>
                      <a:pt x="488212" y="233135"/>
                      <a:pt x="488212" y="233135"/>
                    </a:cubicBezTo>
                    <a:cubicBezTo>
                      <a:pt x="488212" y="244106"/>
                      <a:pt x="479984" y="252334"/>
                      <a:pt x="469013" y="252334"/>
                    </a:cubicBezTo>
                    <a:lnTo>
                      <a:pt x="469013" y="252334"/>
                    </a:lnTo>
                    <a:cubicBezTo>
                      <a:pt x="469013" y="252334"/>
                      <a:pt x="469013" y="252334"/>
                      <a:pt x="469013" y="252334"/>
                    </a:cubicBezTo>
                    <a:cubicBezTo>
                      <a:pt x="466270" y="252334"/>
                      <a:pt x="477241" y="252334"/>
                      <a:pt x="326388" y="252334"/>
                    </a:cubicBezTo>
                    <a:cubicBezTo>
                      <a:pt x="315418" y="252334"/>
                      <a:pt x="307189" y="260562"/>
                      <a:pt x="307189" y="271534"/>
                    </a:cubicBezTo>
                    <a:cubicBezTo>
                      <a:pt x="307189" y="282505"/>
                      <a:pt x="315418" y="290733"/>
                      <a:pt x="326388" y="290733"/>
                    </a:cubicBezTo>
                    <a:cubicBezTo>
                      <a:pt x="362044" y="290733"/>
                      <a:pt x="466270" y="290733"/>
                      <a:pt x="469013" y="290733"/>
                    </a:cubicBezTo>
                    <a:cubicBezTo>
                      <a:pt x="479984" y="290733"/>
                      <a:pt x="488212" y="298961"/>
                      <a:pt x="488212" y="309932"/>
                    </a:cubicBezTo>
                    <a:cubicBezTo>
                      <a:pt x="488212" y="320904"/>
                      <a:pt x="479984" y="329131"/>
                      <a:pt x="469013" y="329131"/>
                    </a:cubicBezTo>
                    <a:cubicBezTo>
                      <a:pt x="438843" y="329131"/>
                      <a:pt x="359302" y="329131"/>
                      <a:pt x="329132" y="329131"/>
                    </a:cubicBezTo>
                    <a:cubicBezTo>
                      <a:pt x="318160" y="329131"/>
                      <a:pt x="309932" y="337360"/>
                      <a:pt x="309932" y="348331"/>
                    </a:cubicBezTo>
                    <a:cubicBezTo>
                      <a:pt x="309932" y="359302"/>
                      <a:pt x="318160" y="367530"/>
                      <a:pt x="329132" y="367530"/>
                    </a:cubicBezTo>
                    <a:lnTo>
                      <a:pt x="452557" y="367530"/>
                    </a:lnTo>
                    <a:cubicBezTo>
                      <a:pt x="463527" y="367530"/>
                      <a:pt x="471755" y="375759"/>
                      <a:pt x="471755" y="386730"/>
                    </a:cubicBezTo>
                    <a:cubicBezTo>
                      <a:pt x="471755" y="397701"/>
                      <a:pt x="463527" y="405929"/>
                      <a:pt x="452557" y="405929"/>
                    </a:cubicBezTo>
                    <a:cubicBezTo>
                      <a:pt x="425129" y="405929"/>
                      <a:pt x="373016" y="405929"/>
                      <a:pt x="329132" y="405929"/>
                    </a:cubicBezTo>
                    <a:cubicBezTo>
                      <a:pt x="318160" y="405929"/>
                      <a:pt x="309932" y="414157"/>
                      <a:pt x="309932" y="425128"/>
                    </a:cubicBezTo>
                    <a:cubicBezTo>
                      <a:pt x="309932" y="436099"/>
                      <a:pt x="318160" y="444328"/>
                      <a:pt x="329132" y="444328"/>
                    </a:cubicBezTo>
                    <a:lnTo>
                      <a:pt x="436099" y="444328"/>
                    </a:lnTo>
                    <a:cubicBezTo>
                      <a:pt x="447071" y="444328"/>
                      <a:pt x="455299" y="452556"/>
                      <a:pt x="455299" y="463527"/>
                    </a:cubicBezTo>
                    <a:cubicBezTo>
                      <a:pt x="455299" y="474498"/>
                      <a:pt x="447071" y="482726"/>
                      <a:pt x="436099" y="482726"/>
                    </a:cubicBezTo>
                    <a:cubicBezTo>
                      <a:pt x="334616" y="482726"/>
                      <a:pt x="301704" y="485469"/>
                      <a:pt x="252333" y="469013"/>
                    </a:cubicBezTo>
                    <a:cubicBezTo>
                      <a:pt x="202964" y="452556"/>
                      <a:pt x="191994" y="441585"/>
                      <a:pt x="164566" y="441585"/>
                    </a:cubicBezTo>
                    <a:lnTo>
                      <a:pt x="164566" y="441585"/>
                    </a:lnTo>
                    <a:close/>
                    <a:moveTo>
                      <a:pt x="1039508" y="798144"/>
                    </a:moveTo>
                    <a:cubicBezTo>
                      <a:pt x="995624" y="814601"/>
                      <a:pt x="990138" y="820086"/>
                      <a:pt x="965453" y="825572"/>
                    </a:cubicBezTo>
                    <a:lnTo>
                      <a:pt x="965453" y="713118"/>
                    </a:lnTo>
                    <a:cubicBezTo>
                      <a:pt x="979167" y="726832"/>
                      <a:pt x="1001110" y="735060"/>
                      <a:pt x="1020308" y="735060"/>
                    </a:cubicBezTo>
                    <a:cubicBezTo>
                      <a:pt x="1031280" y="735060"/>
                      <a:pt x="1039508" y="726832"/>
                      <a:pt x="1039508" y="715861"/>
                    </a:cubicBezTo>
                    <a:cubicBezTo>
                      <a:pt x="1039508" y="704890"/>
                      <a:pt x="1031280" y="696662"/>
                      <a:pt x="1020308" y="696662"/>
                    </a:cubicBezTo>
                    <a:cubicBezTo>
                      <a:pt x="1003852" y="696662"/>
                      <a:pt x="987396" y="685691"/>
                      <a:pt x="979167" y="671977"/>
                    </a:cubicBezTo>
                    <a:cubicBezTo>
                      <a:pt x="968197" y="647292"/>
                      <a:pt x="943511" y="633578"/>
                      <a:pt x="916083" y="633578"/>
                    </a:cubicBezTo>
                    <a:lnTo>
                      <a:pt x="828314" y="633578"/>
                    </a:lnTo>
                    <a:cubicBezTo>
                      <a:pt x="814601" y="633578"/>
                      <a:pt x="803631" y="622607"/>
                      <a:pt x="803631" y="608894"/>
                    </a:cubicBezTo>
                    <a:cubicBezTo>
                      <a:pt x="803631" y="595180"/>
                      <a:pt x="814601" y="584208"/>
                      <a:pt x="828314" y="584208"/>
                    </a:cubicBezTo>
                    <a:lnTo>
                      <a:pt x="888656" y="584208"/>
                    </a:lnTo>
                    <a:cubicBezTo>
                      <a:pt x="929797" y="584208"/>
                      <a:pt x="965453" y="548552"/>
                      <a:pt x="965453" y="507411"/>
                    </a:cubicBezTo>
                    <a:cubicBezTo>
                      <a:pt x="1031280" y="523868"/>
                      <a:pt x="1023052" y="595180"/>
                      <a:pt x="1097107" y="595180"/>
                    </a:cubicBezTo>
                    <a:lnTo>
                      <a:pt x="1108077" y="595180"/>
                    </a:lnTo>
                    <a:lnTo>
                      <a:pt x="1108077" y="789916"/>
                    </a:lnTo>
                    <a:cubicBezTo>
                      <a:pt x="1077907" y="792659"/>
                      <a:pt x="1061450" y="789916"/>
                      <a:pt x="1039508" y="798144"/>
                    </a:cubicBezTo>
                    <a:lnTo>
                      <a:pt x="1039508" y="798144"/>
                    </a:lnTo>
                    <a:close/>
                    <a:moveTo>
                      <a:pt x="1201332" y="806372"/>
                    </a:moveTo>
                    <a:cubicBezTo>
                      <a:pt x="1201332" y="814601"/>
                      <a:pt x="1195846" y="820086"/>
                      <a:pt x="1187618" y="820086"/>
                    </a:cubicBezTo>
                    <a:lnTo>
                      <a:pt x="1162932" y="820086"/>
                    </a:lnTo>
                    <a:cubicBezTo>
                      <a:pt x="1154704" y="820086"/>
                      <a:pt x="1149219" y="814601"/>
                      <a:pt x="1149219" y="806372"/>
                    </a:cubicBezTo>
                    <a:cubicBezTo>
                      <a:pt x="1149219" y="806372"/>
                      <a:pt x="1149219" y="806372"/>
                      <a:pt x="1149219" y="806372"/>
                    </a:cubicBezTo>
                    <a:cubicBezTo>
                      <a:pt x="1149219" y="806372"/>
                      <a:pt x="1149219" y="806372"/>
                      <a:pt x="1149219" y="803629"/>
                    </a:cubicBezTo>
                    <a:lnTo>
                      <a:pt x="1149219" y="581466"/>
                    </a:lnTo>
                    <a:cubicBezTo>
                      <a:pt x="1149219" y="573238"/>
                      <a:pt x="1154704" y="567752"/>
                      <a:pt x="1162932" y="567752"/>
                    </a:cubicBezTo>
                    <a:lnTo>
                      <a:pt x="1187618" y="567752"/>
                    </a:lnTo>
                    <a:cubicBezTo>
                      <a:pt x="1195846" y="567752"/>
                      <a:pt x="1201332" y="573238"/>
                      <a:pt x="1201332" y="581466"/>
                    </a:cubicBezTo>
                    <a:lnTo>
                      <a:pt x="1201332" y="806372"/>
                    </a:lnTo>
                    <a:close/>
                  </a:path>
                </a:pathLst>
              </a:custGeom>
              <a:grpFill/>
              <a:ln w="27426" cap="flat">
                <a:noFill/>
                <a:prstDash val="solid"/>
                <a:miter/>
              </a:ln>
            </p:spPr>
            <p:txBody>
              <a:bodyPr rtlCol="0" anchor="ctr"/>
              <a:lstStyle/>
              <a:p>
                <a:endParaRPr lang="en-US"/>
              </a:p>
            </p:txBody>
          </p:sp>
        </p:grpSp>
      </p:grpSp>
      <p:grpSp>
        <p:nvGrpSpPr>
          <p:cNvPr id="34" name="Graphic 3">
            <a:extLst>
              <a:ext uri="{FF2B5EF4-FFF2-40B4-BE49-F238E27FC236}">
                <a16:creationId xmlns:a16="http://schemas.microsoft.com/office/drawing/2014/main" id="{6B441AA2-51AA-9874-A335-E2D6F70D3B82}"/>
              </a:ext>
            </a:extLst>
          </p:cNvPr>
          <p:cNvGrpSpPr/>
          <p:nvPr/>
        </p:nvGrpSpPr>
        <p:grpSpPr>
          <a:xfrm>
            <a:off x="4490519" y="5360275"/>
            <a:ext cx="744248" cy="839839"/>
            <a:chOff x="4643578" y="432838"/>
            <a:chExt cx="1028134" cy="1160188"/>
          </a:xfrm>
          <a:solidFill>
            <a:srgbClr val="595959"/>
          </a:solidFill>
        </p:grpSpPr>
        <p:sp>
          <p:nvSpPr>
            <p:cNvPr id="35" name="Freeform 34">
              <a:extLst>
                <a:ext uri="{FF2B5EF4-FFF2-40B4-BE49-F238E27FC236}">
                  <a16:creationId xmlns:a16="http://schemas.microsoft.com/office/drawing/2014/main" id="{6F96778C-2591-96A1-4822-96D2A1C81792}"/>
                </a:ext>
              </a:extLst>
            </p:cNvPr>
            <p:cNvSpPr/>
            <p:nvPr/>
          </p:nvSpPr>
          <p:spPr>
            <a:xfrm>
              <a:off x="5046765" y="465751"/>
              <a:ext cx="419643" cy="433356"/>
            </a:xfrm>
            <a:custGeom>
              <a:avLst/>
              <a:gdLst>
                <a:gd name="connsiteX0" fmla="*/ 416901 w 419643"/>
                <a:gd name="connsiteY0" fmla="*/ 257819 h 433356"/>
                <a:gd name="connsiteX1" fmla="*/ 416901 w 419643"/>
                <a:gd name="connsiteY1" fmla="*/ 433356 h 433356"/>
                <a:gd name="connsiteX2" fmla="*/ 35656 w 419643"/>
                <a:gd name="connsiteY2" fmla="*/ 433356 h 433356"/>
                <a:gd name="connsiteX3" fmla="*/ 35656 w 419643"/>
                <a:gd name="connsiteY3" fmla="*/ 301704 h 433356"/>
                <a:gd name="connsiteX4" fmla="*/ 0 w 419643"/>
                <a:gd name="connsiteY4" fmla="*/ 164566 h 433356"/>
                <a:gd name="connsiteX5" fmla="*/ 0 w 419643"/>
                <a:gd name="connsiteY5" fmla="*/ 24685 h 433356"/>
                <a:gd name="connsiteX6" fmla="*/ 24686 w 419643"/>
                <a:gd name="connsiteY6" fmla="*/ 0 h 433356"/>
                <a:gd name="connsiteX7" fmla="*/ 287991 w 419643"/>
                <a:gd name="connsiteY7" fmla="*/ 0 h 433356"/>
                <a:gd name="connsiteX8" fmla="*/ 287991 w 419643"/>
                <a:gd name="connsiteY8" fmla="*/ 71312 h 433356"/>
                <a:gd name="connsiteX9" fmla="*/ 345588 w 419643"/>
                <a:gd name="connsiteY9" fmla="*/ 128910 h 433356"/>
                <a:gd name="connsiteX10" fmla="*/ 416901 w 419643"/>
                <a:gd name="connsiteY10" fmla="*/ 128910 h 433356"/>
                <a:gd name="connsiteX11" fmla="*/ 416901 w 419643"/>
                <a:gd name="connsiteY11" fmla="*/ 178280 h 433356"/>
                <a:gd name="connsiteX12" fmla="*/ 419643 w 419643"/>
                <a:gd name="connsiteY12" fmla="*/ 189250 h 433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643" h="433356">
                  <a:moveTo>
                    <a:pt x="416901" y="257819"/>
                  </a:moveTo>
                  <a:lnTo>
                    <a:pt x="416901" y="433356"/>
                  </a:lnTo>
                  <a:cubicBezTo>
                    <a:pt x="381245" y="433356"/>
                    <a:pt x="74055" y="433356"/>
                    <a:pt x="35656" y="433356"/>
                  </a:cubicBezTo>
                  <a:lnTo>
                    <a:pt x="35656" y="301704"/>
                  </a:lnTo>
                  <a:cubicBezTo>
                    <a:pt x="35656" y="227649"/>
                    <a:pt x="5486" y="181022"/>
                    <a:pt x="0" y="164566"/>
                  </a:cubicBezTo>
                  <a:lnTo>
                    <a:pt x="0" y="24685"/>
                  </a:lnTo>
                  <a:cubicBezTo>
                    <a:pt x="0" y="10971"/>
                    <a:pt x="10972" y="0"/>
                    <a:pt x="24686" y="0"/>
                  </a:cubicBezTo>
                  <a:lnTo>
                    <a:pt x="287991" y="0"/>
                  </a:lnTo>
                  <a:lnTo>
                    <a:pt x="287991" y="71312"/>
                  </a:lnTo>
                  <a:cubicBezTo>
                    <a:pt x="287991" y="104225"/>
                    <a:pt x="315418" y="128910"/>
                    <a:pt x="345588" y="128910"/>
                  </a:cubicBezTo>
                  <a:lnTo>
                    <a:pt x="416901" y="128910"/>
                  </a:lnTo>
                  <a:lnTo>
                    <a:pt x="416901" y="178280"/>
                  </a:lnTo>
                  <a:cubicBezTo>
                    <a:pt x="416901" y="181022"/>
                    <a:pt x="416901" y="186508"/>
                    <a:pt x="419643" y="189250"/>
                  </a:cubicBezTo>
                </a:path>
              </a:pathLst>
            </a:custGeom>
            <a:solidFill>
              <a:srgbClr val="F16924"/>
            </a:solidFill>
            <a:ln w="27426" cap="flat">
              <a:noFill/>
              <a:prstDash val="solid"/>
              <a:miter/>
            </a:ln>
          </p:spPr>
          <p:txBody>
            <a:bodyPr rtlCol="0" anchor="ctr"/>
            <a:lstStyle/>
            <a:p>
              <a:endParaRPr lang="en-US"/>
            </a:p>
          </p:txBody>
        </p:sp>
        <p:grpSp>
          <p:nvGrpSpPr>
            <p:cNvPr id="36" name="Graphic 3">
              <a:extLst>
                <a:ext uri="{FF2B5EF4-FFF2-40B4-BE49-F238E27FC236}">
                  <a16:creationId xmlns:a16="http://schemas.microsoft.com/office/drawing/2014/main" id="{097622EF-D87D-497D-527C-073DBFCD600E}"/>
                </a:ext>
              </a:extLst>
            </p:cNvPr>
            <p:cNvGrpSpPr/>
            <p:nvPr/>
          </p:nvGrpSpPr>
          <p:grpSpPr>
            <a:xfrm>
              <a:off x="4643578" y="432838"/>
              <a:ext cx="1028134" cy="1160188"/>
              <a:chOff x="4643578" y="432838"/>
              <a:chExt cx="1028134" cy="1160188"/>
            </a:xfrm>
            <a:grpFill/>
          </p:grpSpPr>
          <p:sp>
            <p:nvSpPr>
              <p:cNvPr id="37" name="Freeform 36">
                <a:extLst>
                  <a:ext uri="{FF2B5EF4-FFF2-40B4-BE49-F238E27FC236}">
                    <a16:creationId xmlns:a16="http://schemas.microsoft.com/office/drawing/2014/main" id="{60B84749-D723-7A0D-DAD8-FA795166C8B8}"/>
                  </a:ext>
                </a:extLst>
              </p:cNvPr>
              <p:cNvSpPr/>
              <p:nvPr/>
            </p:nvSpPr>
            <p:spPr>
              <a:xfrm>
                <a:off x="5115334" y="53157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5"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grpSp>
            <p:nvGrpSpPr>
              <p:cNvPr id="38" name="Graphic 3">
                <a:extLst>
                  <a:ext uri="{FF2B5EF4-FFF2-40B4-BE49-F238E27FC236}">
                    <a16:creationId xmlns:a16="http://schemas.microsoft.com/office/drawing/2014/main" id="{2EA07441-11D2-5C1E-E8B0-569A899709BA}"/>
                  </a:ext>
                </a:extLst>
              </p:cNvPr>
              <p:cNvGrpSpPr/>
              <p:nvPr/>
            </p:nvGrpSpPr>
            <p:grpSpPr>
              <a:xfrm>
                <a:off x="4643578" y="432838"/>
                <a:ext cx="1028134" cy="1160188"/>
                <a:chOff x="4643578" y="432838"/>
                <a:chExt cx="1028134" cy="1160188"/>
              </a:xfrm>
              <a:grpFill/>
            </p:grpSpPr>
            <p:sp>
              <p:nvSpPr>
                <p:cNvPr id="39" name="Freeform 38">
                  <a:extLst>
                    <a:ext uri="{FF2B5EF4-FFF2-40B4-BE49-F238E27FC236}">
                      <a16:creationId xmlns:a16="http://schemas.microsoft.com/office/drawing/2014/main" id="{D6B3BEB1-4CE7-579B-EDBB-46D170309C7D}"/>
                    </a:ext>
                  </a:extLst>
                </p:cNvPr>
                <p:cNvSpPr/>
                <p:nvPr/>
              </p:nvSpPr>
              <p:spPr>
                <a:xfrm>
                  <a:off x="5115334" y="611117"/>
                  <a:ext cx="115196" cy="32913"/>
                </a:xfrm>
                <a:custGeom>
                  <a:avLst/>
                  <a:gdLst>
                    <a:gd name="connsiteX0" fmla="*/ 98739 w 115196"/>
                    <a:gd name="connsiteY0" fmla="*/ 0 h 32913"/>
                    <a:gd name="connsiteX1" fmla="*/ 16456 w 115196"/>
                    <a:gd name="connsiteY1" fmla="*/ 0 h 32913"/>
                    <a:gd name="connsiteX2" fmla="*/ 0 w 115196"/>
                    <a:gd name="connsiteY2" fmla="*/ 16457 h 32913"/>
                    <a:gd name="connsiteX3" fmla="*/ 16456 w 115196"/>
                    <a:gd name="connsiteY3" fmla="*/ 32913 h 32913"/>
                    <a:gd name="connsiteX4" fmla="*/ 98739 w 115196"/>
                    <a:gd name="connsiteY4" fmla="*/ 32913 h 32913"/>
                    <a:gd name="connsiteX5" fmla="*/ 115197 w 115196"/>
                    <a:gd name="connsiteY5" fmla="*/ 16457 h 32913"/>
                    <a:gd name="connsiteX6" fmla="*/ 98739 w 115196"/>
                    <a:gd name="connsiteY6" fmla="*/ 0 h 32913"/>
                    <a:gd name="connsiteX7" fmla="*/ 98739 w 115196"/>
                    <a:gd name="connsiteY7" fmla="*/ 0 h 3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95" h="32913">
                      <a:moveTo>
                        <a:pt x="98739" y="0"/>
                      </a:moveTo>
                      <a:lnTo>
                        <a:pt x="16456" y="0"/>
                      </a:lnTo>
                      <a:cubicBezTo>
                        <a:pt x="8228" y="0"/>
                        <a:pt x="0" y="8228"/>
                        <a:pt x="0" y="16457"/>
                      </a:cubicBezTo>
                      <a:cubicBezTo>
                        <a:pt x="0" y="24685"/>
                        <a:pt x="8228" y="32913"/>
                        <a:pt x="16456" y="32913"/>
                      </a:cubicBezTo>
                      <a:lnTo>
                        <a:pt x="98739" y="32913"/>
                      </a:lnTo>
                      <a:cubicBezTo>
                        <a:pt x="106969" y="32913"/>
                        <a:pt x="115197" y="24685"/>
                        <a:pt x="115197" y="16457"/>
                      </a:cubicBezTo>
                      <a:cubicBezTo>
                        <a:pt x="115197" y="8228"/>
                        <a:pt x="106969" y="0"/>
                        <a:pt x="98739" y="0"/>
                      </a:cubicBezTo>
                      <a:lnTo>
                        <a:pt x="98739" y="0"/>
                      </a:lnTo>
                      <a:close/>
                    </a:path>
                  </a:pathLst>
                </a:custGeom>
                <a:grpFill/>
                <a:ln w="27426"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420E66A3-D16C-02B5-A801-EF0056259802}"/>
                    </a:ext>
                  </a:extLst>
                </p:cNvPr>
                <p:cNvSpPr/>
                <p:nvPr/>
              </p:nvSpPr>
              <p:spPr>
                <a:xfrm>
                  <a:off x="4643578" y="432838"/>
                  <a:ext cx="1028134" cy="1160188"/>
                </a:xfrm>
                <a:custGeom>
                  <a:avLst/>
                  <a:gdLst>
                    <a:gd name="connsiteX0" fmla="*/ 1017568 w 1028134"/>
                    <a:gd name="connsiteY0" fmla="*/ 661006 h 1160188"/>
                    <a:gd name="connsiteX1" fmla="*/ 935285 w 1028134"/>
                    <a:gd name="connsiteY1" fmla="*/ 515639 h 1160188"/>
                    <a:gd name="connsiteX2" fmla="*/ 935285 w 1028134"/>
                    <a:gd name="connsiteY2" fmla="*/ 515639 h 1160188"/>
                    <a:gd name="connsiteX3" fmla="*/ 880429 w 1028134"/>
                    <a:gd name="connsiteY3" fmla="*/ 469012 h 1160188"/>
                    <a:gd name="connsiteX4" fmla="*/ 855744 w 1028134"/>
                    <a:gd name="connsiteY4" fmla="*/ 469012 h 1160188"/>
                    <a:gd name="connsiteX5" fmla="*/ 855744 w 1028134"/>
                    <a:gd name="connsiteY5" fmla="*/ 293476 h 1160188"/>
                    <a:gd name="connsiteX6" fmla="*/ 839288 w 1028134"/>
                    <a:gd name="connsiteY6" fmla="*/ 277019 h 1160188"/>
                    <a:gd name="connsiteX7" fmla="*/ 822830 w 1028134"/>
                    <a:gd name="connsiteY7" fmla="*/ 293476 h 1160188"/>
                    <a:gd name="connsiteX8" fmla="*/ 822830 w 1028134"/>
                    <a:gd name="connsiteY8" fmla="*/ 469012 h 1160188"/>
                    <a:gd name="connsiteX9" fmla="*/ 441587 w 1028134"/>
                    <a:gd name="connsiteY9" fmla="*/ 469012 h 1160188"/>
                    <a:gd name="connsiteX10" fmla="*/ 441587 w 1028134"/>
                    <a:gd name="connsiteY10" fmla="*/ 337360 h 1160188"/>
                    <a:gd name="connsiteX11" fmla="*/ 405929 w 1028134"/>
                    <a:gd name="connsiteY11" fmla="*/ 200222 h 1160188"/>
                    <a:gd name="connsiteX12" fmla="*/ 405929 w 1028134"/>
                    <a:gd name="connsiteY12" fmla="*/ 60341 h 1160188"/>
                    <a:gd name="connsiteX13" fmla="*/ 430615 w 1028134"/>
                    <a:gd name="connsiteY13" fmla="*/ 35656 h 1160188"/>
                    <a:gd name="connsiteX14" fmla="*/ 693920 w 1028134"/>
                    <a:gd name="connsiteY14" fmla="*/ 35656 h 1160188"/>
                    <a:gd name="connsiteX15" fmla="*/ 693920 w 1028134"/>
                    <a:gd name="connsiteY15" fmla="*/ 106968 h 1160188"/>
                    <a:gd name="connsiteX16" fmla="*/ 751519 w 1028134"/>
                    <a:gd name="connsiteY16" fmla="*/ 164566 h 1160188"/>
                    <a:gd name="connsiteX17" fmla="*/ 822830 w 1028134"/>
                    <a:gd name="connsiteY17" fmla="*/ 164566 h 1160188"/>
                    <a:gd name="connsiteX18" fmla="*/ 822830 w 1028134"/>
                    <a:gd name="connsiteY18" fmla="*/ 213936 h 1160188"/>
                    <a:gd name="connsiteX19" fmla="*/ 839288 w 1028134"/>
                    <a:gd name="connsiteY19" fmla="*/ 230392 h 1160188"/>
                    <a:gd name="connsiteX20" fmla="*/ 855744 w 1028134"/>
                    <a:gd name="connsiteY20" fmla="*/ 213936 h 1160188"/>
                    <a:gd name="connsiteX21" fmla="*/ 855744 w 1028134"/>
                    <a:gd name="connsiteY21" fmla="*/ 159080 h 1160188"/>
                    <a:gd name="connsiteX22" fmla="*/ 842030 w 1028134"/>
                    <a:gd name="connsiteY22" fmla="*/ 128910 h 1160188"/>
                    <a:gd name="connsiteX23" fmla="*/ 726833 w 1028134"/>
                    <a:gd name="connsiteY23" fmla="*/ 13714 h 1160188"/>
                    <a:gd name="connsiteX24" fmla="*/ 696664 w 1028134"/>
                    <a:gd name="connsiteY24" fmla="*/ 0 h 1160188"/>
                    <a:gd name="connsiteX25" fmla="*/ 430615 w 1028134"/>
                    <a:gd name="connsiteY25" fmla="*/ 0 h 1160188"/>
                    <a:gd name="connsiteX26" fmla="*/ 373017 w 1028134"/>
                    <a:gd name="connsiteY26" fmla="*/ 57598 h 1160188"/>
                    <a:gd name="connsiteX27" fmla="*/ 373017 w 1028134"/>
                    <a:gd name="connsiteY27" fmla="*/ 120682 h 1160188"/>
                    <a:gd name="connsiteX28" fmla="*/ 329132 w 1028134"/>
                    <a:gd name="connsiteY28" fmla="*/ 24685 h 1160188"/>
                    <a:gd name="connsiteX29" fmla="*/ 255077 w 1028134"/>
                    <a:gd name="connsiteY29" fmla="*/ 24685 h 1160188"/>
                    <a:gd name="connsiteX30" fmla="*/ 200222 w 1028134"/>
                    <a:gd name="connsiteY30" fmla="*/ 145366 h 1160188"/>
                    <a:gd name="connsiteX31" fmla="*/ 200222 w 1028134"/>
                    <a:gd name="connsiteY31" fmla="*/ 145366 h 1160188"/>
                    <a:gd name="connsiteX32" fmla="*/ 142624 w 1028134"/>
                    <a:gd name="connsiteY32" fmla="*/ 334617 h 1160188"/>
                    <a:gd name="connsiteX33" fmla="*/ 142624 w 1028134"/>
                    <a:gd name="connsiteY33" fmla="*/ 466270 h 1160188"/>
                    <a:gd name="connsiteX34" fmla="*/ 57599 w 1028134"/>
                    <a:gd name="connsiteY34" fmla="*/ 466270 h 1160188"/>
                    <a:gd name="connsiteX35" fmla="*/ 2744 w 1028134"/>
                    <a:gd name="connsiteY35" fmla="*/ 512897 h 1160188"/>
                    <a:gd name="connsiteX36" fmla="*/ 0 w 1028134"/>
                    <a:gd name="connsiteY36" fmla="*/ 554038 h 1160188"/>
                    <a:gd name="connsiteX37" fmla="*/ 85027 w 1028134"/>
                    <a:gd name="connsiteY37" fmla="*/ 877684 h 1160188"/>
                    <a:gd name="connsiteX38" fmla="*/ 85027 w 1028134"/>
                    <a:gd name="connsiteY38" fmla="*/ 1044992 h 1160188"/>
                    <a:gd name="connsiteX39" fmla="*/ 41142 w 1028134"/>
                    <a:gd name="connsiteY39" fmla="*/ 1102591 h 1160188"/>
                    <a:gd name="connsiteX40" fmla="*/ 98741 w 1028134"/>
                    <a:gd name="connsiteY40" fmla="*/ 1160189 h 1160188"/>
                    <a:gd name="connsiteX41" fmla="*/ 693920 w 1028134"/>
                    <a:gd name="connsiteY41" fmla="*/ 1160189 h 1160188"/>
                    <a:gd name="connsiteX42" fmla="*/ 751519 w 1028134"/>
                    <a:gd name="connsiteY42" fmla="*/ 1102591 h 1160188"/>
                    <a:gd name="connsiteX43" fmla="*/ 707634 w 1028134"/>
                    <a:gd name="connsiteY43" fmla="*/ 1044992 h 1160188"/>
                    <a:gd name="connsiteX44" fmla="*/ 707634 w 1028134"/>
                    <a:gd name="connsiteY44" fmla="*/ 998366 h 1160188"/>
                    <a:gd name="connsiteX45" fmla="*/ 729577 w 1028134"/>
                    <a:gd name="connsiteY45" fmla="*/ 979166 h 1160188"/>
                    <a:gd name="connsiteX46" fmla="*/ 844772 w 1028134"/>
                    <a:gd name="connsiteY46" fmla="*/ 987394 h 1160188"/>
                    <a:gd name="connsiteX47" fmla="*/ 935285 w 1028134"/>
                    <a:gd name="connsiteY47" fmla="*/ 905112 h 1160188"/>
                    <a:gd name="connsiteX48" fmla="*/ 935285 w 1028134"/>
                    <a:gd name="connsiteY48" fmla="*/ 789916 h 1160188"/>
                    <a:gd name="connsiteX49" fmla="*/ 951741 w 1028134"/>
                    <a:gd name="connsiteY49" fmla="*/ 765231 h 1160188"/>
                    <a:gd name="connsiteX50" fmla="*/ 990140 w 1028134"/>
                    <a:gd name="connsiteY50" fmla="*/ 751517 h 1160188"/>
                    <a:gd name="connsiteX51" fmla="*/ 1017568 w 1028134"/>
                    <a:gd name="connsiteY51" fmla="*/ 661006 h 1160188"/>
                    <a:gd name="connsiteX52" fmla="*/ 1017568 w 1028134"/>
                    <a:gd name="connsiteY52" fmla="*/ 661006 h 1160188"/>
                    <a:gd name="connsiteX53" fmla="*/ 798146 w 1028134"/>
                    <a:gd name="connsiteY53" fmla="*/ 131653 h 1160188"/>
                    <a:gd name="connsiteX54" fmla="*/ 748775 w 1028134"/>
                    <a:gd name="connsiteY54" fmla="*/ 131653 h 1160188"/>
                    <a:gd name="connsiteX55" fmla="*/ 724091 w 1028134"/>
                    <a:gd name="connsiteY55" fmla="*/ 106968 h 1160188"/>
                    <a:gd name="connsiteX56" fmla="*/ 724091 w 1028134"/>
                    <a:gd name="connsiteY56" fmla="*/ 57598 h 1160188"/>
                    <a:gd name="connsiteX57" fmla="*/ 798146 w 1028134"/>
                    <a:gd name="connsiteY57" fmla="*/ 131653 h 1160188"/>
                    <a:gd name="connsiteX58" fmla="*/ 285248 w 1028134"/>
                    <a:gd name="connsiteY58" fmla="*/ 38399 h 1160188"/>
                    <a:gd name="connsiteX59" fmla="*/ 298962 w 1028134"/>
                    <a:gd name="connsiteY59" fmla="*/ 38399 h 1160188"/>
                    <a:gd name="connsiteX60" fmla="*/ 342846 w 1028134"/>
                    <a:gd name="connsiteY60" fmla="*/ 137138 h 1160188"/>
                    <a:gd name="connsiteX61" fmla="*/ 244107 w 1028134"/>
                    <a:gd name="connsiteY61" fmla="*/ 137138 h 1160188"/>
                    <a:gd name="connsiteX62" fmla="*/ 285248 w 1028134"/>
                    <a:gd name="connsiteY62" fmla="*/ 38399 h 1160188"/>
                    <a:gd name="connsiteX63" fmla="*/ 224907 w 1028134"/>
                    <a:gd name="connsiteY63" fmla="*/ 170051 h 1160188"/>
                    <a:gd name="connsiteX64" fmla="*/ 353818 w 1028134"/>
                    <a:gd name="connsiteY64" fmla="*/ 170051 h 1160188"/>
                    <a:gd name="connsiteX65" fmla="*/ 400445 w 1028134"/>
                    <a:gd name="connsiteY65" fmla="*/ 287990 h 1160188"/>
                    <a:gd name="connsiteX66" fmla="*/ 178280 w 1028134"/>
                    <a:gd name="connsiteY66" fmla="*/ 287990 h 1160188"/>
                    <a:gd name="connsiteX67" fmla="*/ 224907 w 1028134"/>
                    <a:gd name="connsiteY67" fmla="*/ 170051 h 1160188"/>
                    <a:gd name="connsiteX68" fmla="*/ 224907 w 1028134"/>
                    <a:gd name="connsiteY68" fmla="*/ 170051 h 1160188"/>
                    <a:gd name="connsiteX69" fmla="*/ 175538 w 1028134"/>
                    <a:gd name="connsiteY69" fmla="*/ 337360 h 1160188"/>
                    <a:gd name="connsiteX70" fmla="*/ 175538 w 1028134"/>
                    <a:gd name="connsiteY70" fmla="*/ 323646 h 1160188"/>
                    <a:gd name="connsiteX71" fmla="*/ 405929 w 1028134"/>
                    <a:gd name="connsiteY71" fmla="*/ 323646 h 1160188"/>
                    <a:gd name="connsiteX72" fmla="*/ 405929 w 1028134"/>
                    <a:gd name="connsiteY72" fmla="*/ 337360 h 1160188"/>
                    <a:gd name="connsiteX73" fmla="*/ 405929 w 1028134"/>
                    <a:gd name="connsiteY73" fmla="*/ 469012 h 1160188"/>
                    <a:gd name="connsiteX74" fmla="*/ 172794 w 1028134"/>
                    <a:gd name="connsiteY74" fmla="*/ 469012 h 1160188"/>
                    <a:gd name="connsiteX75" fmla="*/ 172794 w 1028134"/>
                    <a:gd name="connsiteY75" fmla="*/ 337360 h 1160188"/>
                    <a:gd name="connsiteX76" fmla="*/ 74055 w 1028134"/>
                    <a:gd name="connsiteY76" fmla="*/ 1105333 h 1160188"/>
                    <a:gd name="connsiteX77" fmla="*/ 98741 w 1028134"/>
                    <a:gd name="connsiteY77" fmla="*/ 1080648 h 1160188"/>
                    <a:gd name="connsiteX78" fmla="*/ 145366 w 1028134"/>
                    <a:gd name="connsiteY78" fmla="*/ 1080648 h 1160188"/>
                    <a:gd name="connsiteX79" fmla="*/ 161824 w 1028134"/>
                    <a:gd name="connsiteY79" fmla="*/ 1064192 h 1160188"/>
                    <a:gd name="connsiteX80" fmla="*/ 145366 w 1028134"/>
                    <a:gd name="connsiteY80" fmla="*/ 1047735 h 1160188"/>
                    <a:gd name="connsiteX81" fmla="*/ 117939 w 1028134"/>
                    <a:gd name="connsiteY81" fmla="*/ 1047735 h 1160188"/>
                    <a:gd name="connsiteX82" fmla="*/ 117939 w 1028134"/>
                    <a:gd name="connsiteY82" fmla="*/ 883170 h 1160188"/>
                    <a:gd name="connsiteX83" fmla="*/ 32914 w 1028134"/>
                    <a:gd name="connsiteY83" fmla="*/ 559524 h 1160188"/>
                    <a:gd name="connsiteX84" fmla="*/ 35656 w 1028134"/>
                    <a:gd name="connsiteY84" fmla="*/ 523868 h 1160188"/>
                    <a:gd name="connsiteX85" fmla="*/ 54855 w 1028134"/>
                    <a:gd name="connsiteY85" fmla="*/ 507411 h 1160188"/>
                    <a:gd name="connsiteX86" fmla="*/ 611637 w 1028134"/>
                    <a:gd name="connsiteY86" fmla="*/ 507411 h 1160188"/>
                    <a:gd name="connsiteX87" fmla="*/ 614381 w 1028134"/>
                    <a:gd name="connsiteY87" fmla="*/ 526610 h 1160188"/>
                    <a:gd name="connsiteX88" fmla="*/ 704892 w 1028134"/>
                    <a:gd name="connsiteY88" fmla="*/ 688433 h 1160188"/>
                    <a:gd name="connsiteX89" fmla="*/ 693920 w 1028134"/>
                    <a:gd name="connsiteY89" fmla="*/ 726832 h 1160188"/>
                    <a:gd name="connsiteX90" fmla="*/ 655522 w 1028134"/>
                    <a:gd name="connsiteY90" fmla="*/ 740546 h 1160188"/>
                    <a:gd name="connsiteX91" fmla="*/ 617123 w 1028134"/>
                    <a:gd name="connsiteY91" fmla="*/ 795401 h 1160188"/>
                    <a:gd name="connsiteX92" fmla="*/ 617123 w 1028134"/>
                    <a:gd name="connsiteY92" fmla="*/ 910597 h 1160188"/>
                    <a:gd name="connsiteX93" fmla="*/ 562267 w 1028134"/>
                    <a:gd name="connsiteY93" fmla="*/ 959967 h 1160188"/>
                    <a:gd name="connsiteX94" fmla="*/ 447071 w 1028134"/>
                    <a:gd name="connsiteY94" fmla="*/ 951739 h 1160188"/>
                    <a:gd name="connsiteX95" fmla="*/ 389473 w 1028134"/>
                    <a:gd name="connsiteY95" fmla="*/ 1006594 h 1160188"/>
                    <a:gd name="connsiteX96" fmla="*/ 389473 w 1028134"/>
                    <a:gd name="connsiteY96" fmla="*/ 1050478 h 1160188"/>
                    <a:gd name="connsiteX97" fmla="*/ 224907 w 1028134"/>
                    <a:gd name="connsiteY97" fmla="*/ 1050478 h 1160188"/>
                    <a:gd name="connsiteX98" fmla="*/ 208451 w 1028134"/>
                    <a:gd name="connsiteY98" fmla="*/ 1066935 h 1160188"/>
                    <a:gd name="connsiteX99" fmla="*/ 224907 w 1028134"/>
                    <a:gd name="connsiteY99" fmla="*/ 1083391 h 1160188"/>
                    <a:gd name="connsiteX100" fmla="*/ 408673 w 1028134"/>
                    <a:gd name="connsiteY100" fmla="*/ 1083391 h 1160188"/>
                    <a:gd name="connsiteX101" fmla="*/ 433357 w 1028134"/>
                    <a:gd name="connsiteY101" fmla="*/ 1108076 h 1160188"/>
                    <a:gd name="connsiteX102" fmla="*/ 408673 w 1028134"/>
                    <a:gd name="connsiteY102" fmla="*/ 1132761 h 1160188"/>
                    <a:gd name="connsiteX103" fmla="*/ 98741 w 1028134"/>
                    <a:gd name="connsiteY103" fmla="*/ 1132761 h 1160188"/>
                    <a:gd name="connsiteX104" fmla="*/ 74055 w 1028134"/>
                    <a:gd name="connsiteY104" fmla="*/ 1105333 h 1160188"/>
                    <a:gd name="connsiteX105" fmla="*/ 74055 w 1028134"/>
                    <a:gd name="connsiteY105" fmla="*/ 1105333 h 1160188"/>
                    <a:gd name="connsiteX106" fmla="*/ 718605 w 1028134"/>
                    <a:gd name="connsiteY106" fmla="*/ 1105333 h 1160188"/>
                    <a:gd name="connsiteX107" fmla="*/ 693920 w 1028134"/>
                    <a:gd name="connsiteY107" fmla="*/ 1130018 h 1160188"/>
                    <a:gd name="connsiteX108" fmla="*/ 460785 w 1028134"/>
                    <a:gd name="connsiteY108" fmla="*/ 1130018 h 1160188"/>
                    <a:gd name="connsiteX109" fmla="*/ 466270 w 1028134"/>
                    <a:gd name="connsiteY109" fmla="*/ 1105333 h 1160188"/>
                    <a:gd name="connsiteX110" fmla="*/ 460785 w 1028134"/>
                    <a:gd name="connsiteY110" fmla="*/ 1080648 h 1160188"/>
                    <a:gd name="connsiteX111" fmla="*/ 693920 w 1028134"/>
                    <a:gd name="connsiteY111" fmla="*/ 1080648 h 1160188"/>
                    <a:gd name="connsiteX112" fmla="*/ 718605 w 1028134"/>
                    <a:gd name="connsiteY112" fmla="*/ 1105333 h 1160188"/>
                    <a:gd name="connsiteX113" fmla="*/ 718605 w 1028134"/>
                    <a:gd name="connsiteY113" fmla="*/ 1105333 h 1160188"/>
                    <a:gd name="connsiteX114" fmla="*/ 976426 w 1028134"/>
                    <a:gd name="connsiteY114" fmla="*/ 721347 h 1160188"/>
                    <a:gd name="connsiteX115" fmla="*/ 938027 w 1028134"/>
                    <a:gd name="connsiteY115" fmla="*/ 735060 h 1160188"/>
                    <a:gd name="connsiteX116" fmla="*/ 899627 w 1028134"/>
                    <a:gd name="connsiteY116" fmla="*/ 789916 h 1160188"/>
                    <a:gd name="connsiteX117" fmla="*/ 899627 w 1028134"/>
                    <a:gd name="connsiteY117" fmla="*/ 905112 h 1160188"/>
                    <a:gd name="connsiteX118" fmla="*/ 844772 w 1028134"/>
                    <a:gd name="connsiteY118" fmla="*/ 954481 h 1160188"/>
                    <a:gd name="connsiteX119" fmla="*/ 729577 w 1028134"/>
                    <a:gd name="connsiteY119" fmla="*/ 946253 h 1160188"/>
                    <a:gd name="connsiteX120" fmla="*/ 671978 w 1028134"/>
                    <a:gd name="connsiteY120" fmla="*/ 1001108 h 1160188"/>
                    <a:gd name="connsiteX121" fmla="*/ 671978 w 1028134"/>
                    <a:gd name="connsiteY121" fmla="*/ 1044992 h 1160188"/>
                    <a:gd name="connsiteX122" fmla="*/ 419643 w 1028134"/>
                    <a:gd name="connsiteY122" fmla="*/ 1044992 h 1160188"/>
                    <a:gd name="connsiteX123" fmla="*/ 419643 w 1028134"/>
                    <a:gd name="connsiteY123" fmla="*/ 1001108 h 1160188"/>
                    <a:gd name="connsiteX124" fmla="*/ 441587 w 1028134"/>
                    <a:gd name="connsiteY124" fmla="*/ 981909 h 1160188"/>
                    <a:gd name="connsiteX125" fmla="*/ 556781 w 1028134"/>
                    <a:gd name="connsiteY125" fmla="*/ 990137 h 1160188"/>
                    <a:gd name="connsiteX126" fmla="*/ 647294 w 1028134"/>
                    <a:gd name="connsiteY126" fmla="*/ 907854 h 1160188"/>
                    <a:gd name="connsiteX127" fmla="*/ 647294 w 1028134"/>
                    <a:gd name="connsiteY127" fmla="*/ 792658 h 1160188"/>
                    <a:gd name="connsiteX128" fmla="*/ 663750 w 1028134"/>
                    <a:gd name="connsiteY128" fmla="*/ 767973 h 1160188"/>
                    <a:gd name="connsiteX129" fmla="*/ 702149 w 1028134"/>
                    <a:gd name="connsiteY129" fmla="*/ 754260 h 1160188"/>
                    <a:gd name="connsiteX130" fmla="*/ 729577 w 1028134"/>
                    <a:gd name="connsiteY130" fmla="*/ 663749 h 1160188"/>
                    <a:gd name="connsiteX131" fmla="*/ 647294 w 1028134"/>
                    <a:gd name="connsiteY131" fmla="*/ 518382 h 1160188"/>
                    <a:gd name="connsiteX132" fmla="*/ 644550 w 1028134"/>
                    <a:gd name="connsiteY132" fmla="*/ 504668 h 1160188"/>
                    <a:gd name="connsiteX133" fmla="*/ 877686 w 1028134"/>
                    <a:gd name="connsiteY133" fmla="*/ 504668 h 1160188"/>
                    <a:gd name="connsiteX134" fmla="*/ 896885 w 1028134"/>
                    <a:gd name="connsiteY134" fmla="*/ 521125 h 1160188"/>
                    <a:gd name="connsiteX135" fmla="*/ 896885 w 1028134"/>
                    <a:gd name="connsiteY135" fmla="*/ 521125 h 1160188"/>
                    <a:gd name="connsiteX136" fmla="*/ 987396 w 1028134"/>
                    <a:gd name="connsiteY136" fmla="*/ 682948 h 1160188"/>
                    <a:gd name="connsiteX137" fmla="*/ 976426 w 1028134"/>
                    <a:gd name="connsiteY137" fmla="*/ 721347 h 1160188"/>
                    <a:gd name="connsiteX138" fmla="*/ 976426 w 1028134"/>
                    <a:gd name="connsiteY138" fmla="*/ 721347 h 116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028133" h="1160188">
                      <a:moveTo>
                        <a:pt x="1017568" y="661006"/>
                      </a:moveTo>
                      <a:cubicBezTo>
                        <a:pt x="973682" y="592437"/>
                        <a:pt x="940769" y="567752"/>
                        <a:pt x="935285" y="515639"/>
                      </a:cubicBezTo>
                      <a:lnTo>
                        <a:pt x="935285" y="515639"/>
                      </a:lnTo>
                      <a:cubicBezTo>
                        <a:pt x="932541" y="488212"/>
                        <a:pt x="907857" y="469012"/>
                        <a:pt x="880429" y="469012"/>
                      </a:cubicBezTo>
                      <a:lnTo>
                        <a:pt x="855744" y="469012"/>
                      </a:lnTo>
                      <a:lnTo>
                        <a:pt x="855744" y="293476"/>
                      </a:lnTo>
                      <a:cubicBezTo>
                        <a:pt x="855744" y="285247"/>
                        <a:pt x="847516" y="277019"/>
                        <a:pt x="839288" y="277019"/>
                      </a:cubicBezTo>
                      <a:cubicBezTo>
                        <a:pt x="831058" y="277019"/>
                        <a:pt x="822830" y="285247"/>
                        <a:pt x="822830" y="293476"/>
                      </a:cubicBezTo>
                      <a:lnTo>
                        <a:pt x="822830" y="469012"/>
                      </a:lnTo>
                      <a:cubicBezTo>
                        <a:pt x="787175" y="469012"/>
                        <a:pt x="479984" y="469012"/>
                        <a:pt x="441587" y="469012"/>
                      </a:cubicBezTo>
                      <a:lnTo>
                        <a:pt x="441587" y="337360"/>
                      </a:lnTo>
                      <a:cubicBezTo>
                        <a:pt x="441587" y="263305"/>
                        <a:pt x="411415" y="216678"/>
                        <a:pt x="405929" y="200222"/>
                      </a:cubicBezTo>
                      <a:lnTo>
                        <a:pt x="405929" y="60341"/>
                      </a:lnTo>
                      <a:cubicBezTo>
                        <a:pt x="405929" y="46627"/>
                        <a:pt x="416901" y="35656"/>
                        <a:pt x="430615" y="35656"/>
                      </a:cubicBezTo>
                      <a:lnTo>
                        <a:pt x="693920" y="35656"/>
                      </a:lnTo>
                      <a:lnTo>
                        <a:pt x="693920" y="106968"/>
                      </a:lnTo>
                      <a:cubicBezTo>
                        <a:pt x="693920" y="139881"/>
                        <a:pt x="721348" y="164566"/>
                        <a:pt x="751519" y="164566"/>
                      </a:cubicBezTo>
                      <a:lnTo>
                        <a:pt x="822830" y="164566"/>
                      </a:lnTo>
                      <a:lnTo>
                        <a:pt x="822830" y="213936"/>
                      </a:lnTo>
                      <a:cubicBezTo>
                        <a:pt x="822830" y="222164"/>
                        <a:pt x="831058" y="230392"/>
                        <a:pt x="839288" y="230392"/>
                      </a:cubicBezTo>
                      <a:cubicBezTo>
                        <a:pt x="847516" y="230392"/>
                        <a:pt x="855744" y="222164"/>
                        <a:pt x="855744" y="213936"/>
                      </a:cubicBezTo>
                      <a:lnTo>
                        <a:pt x="855744" y="159080"/>
                      </a:lnTo>
                      <a:cubicBezTo>
                        <a:pt x="855744" y="148109"/>
                        <a:pt x="850258" y="137138"/>
                        <a:pt x="842030" y="128910"/>
                      </a:cubicBezTo>
                      <a:lnTo>
                        <a:pt x="726833" y="13714"/>
                      </a:lnTo>
                      <a:cubicBezTo>
                        <a:pt x="718605" y="5486"/>
                        <a:pt x="707634" y="0"/>
                        <a:pt x="696664" y="0"/>
                      </a:cubicBezTo>
                      <a:lnTo>
                        <a:pt x="430615" y="0"/>
                      </a:lnTo>
                      <a:cubicBezTo>
                        <a:pt x="397701" y="0"/>
                        <a:pt x="373017" y="27428"/>
                        <a:pt x="373017" y="57598"/>
                      </a:cubicBezTo>
                      <a:lnTo>
                        <a:pt x="373017" y="120682"/>
                      </a:lnTo>
                      <a:lnTo>
                        <a:pt x="329132" y="24685"/>
                      </a:lnTo>
                      <a:cubicBezTo>
                        <a:pt x="315418" y="-8228"/>
                        <a:pt x="268791" y="-8228"/>
                        <a:pt x="255077" y="24685"/>
                      </a:cubicBezTo>
                      <a:lnTo>
                        <a:pt x="200222" y="145366"/>
                      </a:lnTo>
                      <a:cubicBezTo>
                        <a:pt x="200222" y="145366"/>
                        <a:pt x="200222" y="145366"/>
                        <a:pt x="200222" y="145366"/>
                      </a:cubicBezTo>
                      <a:cubicBezTo>
                        <a:pt x="175538" y="205707"/>
                        <a:pt x="142624" y="252334"/>
                        <a:pt x="142624" y="334617"/>
                      </a:cubicBezTo>
                      <a:lnTo>
                        <a:pt x="142624" y="466270"/>
                      </a:lnTo>
                      <a:lnTo>
                        <a:pt x="57599" y="466270"/>
                      </a:lnTo>
                      <a:cubicBezTo>
                        <a:pt x="30171" y="466270"/>
                        <a:pt x="8228" y="485469"/>
                        <a:pt x="2744" y="512897"/>
                      </a:cubicBezTo>
                      <a:cubicBezTo>
                        <a:pt x="0" y="526610"/>
                        <a:pt x="0" y="540324"/>
                        <a:pt x="0" y="554038"/>
                      </a:cubicBezTo>
                      <a:cubicBezTo>
                        <a:pt x="2744" y="702147"/>
                        <a:pt x="85027" y="724089"/>
                        <a:pt x="85027" y="877684"/>
                      </a:cubicBezTo>
                      <a:lnTo>
                        <a:pt x="85027" y="1044992"/>
                      </a:lnTo>
                      <a:cubicBezTo>
                        <a:pt x="60341" y="1050478"/>
                        <a:pt x="41142" y="1075163"/>
                        <a:pt x="41142" y="1102591"/>
                      </a:cubicBezTo>
                      <a:cubicBezTo>
                        <a:pt x="41142" y="1135504"/>
                        <a:pt x="68569" y="1160189"/>
                        <a:pt x="98741" y="1160189"/>
                      </a:cubicBezTo>
                      <a:lnTo>
                        <a:pt x="693920" y="1160189"/>
                      </a:lnTo>
                      <a:cubicBezTo>
                        <a:pt x="726833" y="1160189"/>
                        <a:pt x="751519" y="1132761"/>
                        <a:pt x="751519" y="1102591"/>
                      </a:cubicBezTo>
                      <a:cubicBezTo>
                        <a:pt x="751519" y="1075163"/>
                        <a:pt x="732319" y="1053221"/>
                        <a:pt x="707634" y="1044992"/>
                      </a:cubicBezTo>
                      <a:lnTo>
                        <a:pt x="707634" y="998366"/>
                      </a:lnTo>
                      <a:cubicBezTo>
                        <a:pt x="707634" y="987394"/>
                        <a:pt x="718605" y="976423"/>
                        <a:pt x="729577" y="979166"/>
                      </a:cubicBezTo>
                      <a:lnTo>
                        <a:pt x="844772" y="987394"/>
                      </a:lnTo>
                      <a:cubicBezTo>
                        <a:pt x="894143" y="990137"/>
                        <a:pt x="935285" y="951739"/>
                        <a:pt x="935285" y="905112"/>
                      </a:cubicBezTo>
                      <a:lnTo>
                        <a:pt x="935285" y="789916"/>
                      </a:lnTo>
                      <a:cubicBezTo>
                        <a:pt x="935285" y="778945"/>
                        <a:pt x="940769" y="770716"/>
                        <a:pt x="951741" y="765231"/>
                      </a:cubicBezTo>
                      <a:lnTo>
                        <a:pt x="990140" y="751517"/>
                      </a:lnTo>
                      <a:cubicBezTo>
                        <a:pt x="1025796" y="737803"/>
                        <a:pt x="1039510" y="693919"/>
                        <a:pt x="1017568" y="661006"/>
                      </a:cubicBezTo>
                      <a:lnTo>
                        <a:pt x="1017568" y="661006"/>
                      </a:lnTo>
                      <a:close/>
                      <a:moveTo>
                        <a:pt x="798146" y="131653"/>
                      </a:moveTo>
                      <a:lnTo>
                        <a:pt x="748775" y="131653"/>
                      </a:lnTo>
                      <a:cubicBezTo>
                        <a:pt x="735061" y="131653"/>
                        <a:pt x="724091" y="120682"/>
                        <a:pt x="724091" y="106968"/>
                      </a:cubicBezTo>
                      <a:lnTo>
                        <a:pt x="724091" y="57598"/>
                      </a:lnTo>
                      <a:lnTo>
                        <a:pt x="798146" y="131653"/>
                      </a:lnTo>
                      <a:close/>
                      <a:moveTo>
                        <a:pt x="285248" y="38399"/>
                      </a:moveTo>
                      <a:cubicBezTo>
                        <a:pt x="287991" y="32913"/>
                        <a:pt x="296219" y="32913"/>
                        <a:pt x="298962" y="38399"/>
                      </a:cubicBezTo>
                      <a:lnTo>
                        <a:pt x="342846" y="137138"/>
                      </a:lnTo>
                      <a:lnTo>
                        <a:pt x="244107" y="137138"/>
                      </a:lnTo>
                      <a:lnTo>
                        <a:pt x="285248" y="38399"/>
                      </a:lnTo>
                      <a:close/>
                      <a:moveTo>
                        <a:pt x="224907" y="170051"/>
                      </a:moveTo>
                      <a:lnTo>
                        <a:pt x="353818" y="170051"/>
                      </a:lnTo>
                      <a:cubicBezTo>
                        <a:pt x="383987" y="238620"/>
                        <a:pt x="392215" y="255077"/>
                        <a:pt x="400445" y="287990"/>
                      </a:cubicBezTo>
                      <a:lnTo>
                        <a:pt x="178280" y="287990"/>
                      </a:lnTo>
                      <a:cubicBezTo>
                        <a:pt x="189252" y="246849"/>
                        <a:pt x="200222" y="227649"/>
                        <a:pt x="224907" y="170051"/>
                      </a:cubicBezTo>
                      <a:lnTo>
                        <a:pt x="224907" y="170051"/>
                      </a:lnTo>
                      <a:close/>
                      <a:moveTo>
                        <a:pt x="175538" y="337360"/>
                      </a:moveTo>
                      <a:cubicBezTo>
                        <a:pt x="175538" y="331874"/>
                        <a:pt x="175538" y="326389"/>
                        <a:pt x="175538" y="323646"/>
                      </a:cubicBezTo>
                      <a:lnTo>
                        <a:pt x="405929" y="323646"/>
                      </a:lnTo>
                      <a:cubicBezTo>
                        <a:pt x="405929" y="329131"/>
                        <a:pt x="405929" y="334617"/>
                        <a:pt x="405929" y="337360"/>
                      </a:cubicBezTo>
                      <a:lnTo>
                        <a:pt x="405929" y="469012"/>
                      </a:lnTo>
                      <a:lnTo>
                        <a:pt x="172794" y="469012"/>
                      </a:lnTo>
                      <a:lnTo>
                        <a:pt x="172794" y="337360"/>
                      </a:lnTo>
                      <a:close/>
                      <a:moveTo>
                        <a:pt x="74055" y="1105333"/>
                      </a:moveTo>
                      <a:cubicBezTo>
                        <a:pt x="74055" y="1091619"/>
                        <a:pt x="85027" y="1080648"/>
                        <a:pt x="98741" y="1080648"/>
                      </a:cubicBezTo>
                      <a:lnTo>
                        <a:pt x="145366" y="1080648"/>
                      </a:lnTo>
                      <a:cubicBezTo>
                        <a:pt x="153596" y="1080648"/>
                        <a:pt x="161824" y="1072420"/>
                        <a:pt x="161824" y="1064192"/>
                      </a:cubicBezTo>
                      <a:cubicBezTo>
                        <a:pt x="161824" y="1055964"/>
                        <a:pt x="153596" y="1047735"/>
                        <a:pt x="145366" y="1047735"/>
                      </a:cubicBezTo>
                      <a:lnTo>
                        <a:pt x="117939" y="1047735"/>
                      </a:lnTo>
                      <a:lnTo>
                        <a:pt x="117939" y="883170"/>
                      </a:lnTo>
                      <a:cubicBezTo>
                        <a:pt x="117939" y="718604"/>
                        <a:pt x="32914" y="696662"/>
                        <a:pt x="32914" y="559524"/>
                      </a:cubicBezTo>
                      <a:cubicBezTo>
                        <a:pt x="32914" y="545810"/>
                        <a:pt x="32914" y="534839"/>
                        <a:pt x="35656" y="523868"/>
                      </a:cubicBezTo>
                      <a:cubicBezTo>
                        <a:pt x="35656" y="512897"/>
                        <a:pt x="46627" y="507411"/>
                        <a:pt x="54855" y="507411"/>
                      </a:cubicBezTo>
                      <a:lnTo>
                        <a:pt x="611637" y="507411"/>
                      </a:lnTo>
                      <a:cubicBezTo>
                        <a:pt x="611637" y="512897"/>
                        <a:pt x="614381" y="518382"/>
                        <a:pt x="614381" y="526610"/>
                      </a:cubicBezTo>
                      <a:cubicBezTo>
                        <a:pt x="622609" y="592437"/>
                        <a:pt x="661008" y="622607"/>
                        <a:pt x="704892" y="688433"/>
                      </a:cubicBezTo>
                      <a:cubicBezTo>
                        <a:pt x="715863" y="702147"/>
                        <a:pt x="707634" y="721347"/>
                        <a:pt x="693920" y="726832"/>
                      </a:cubicBezTo>
                      <a:lnTo>
                        <a:pt x="655522" y="740546"/>
                      </a:lnTo>
                      <a:cubicBezTo>
                        <a:pt x="633580" y="748774"/>
                        <a:pt x="617123" y="770716"/>
                        <a:pt x="617123" y="795401"/>
                      </a:cubicBezTo>
                      <a:lnTo>
                        <a:pt x="617123" y="910597"/>
                      </a:lnTo>
                      <a:cubicBezTo>
                        <a:pt x="617123" y="940768"/>
                        <a:pt x="592439" y="962710"/>
                        <a:pt x="562267" y="959967"/>
                      </a:cubicBezTo>
                      <a:lnTo>
                        <a:pt x="447071" y="951739"/>
                      </a:lnTo>
                      <a:cubicBezTo>
                        <a:pt x="414159" y="948996"/>
                        <a:pt x="389473" y="973681"/>
                        <a:pt x="389473" y="1006594"/>
                      </a:cubicBezTo>
                      <a:lnTo>
                        <a:pt x="389473" y="1050478"/>
                      </a:lnTo>
                      <a:lnTo>
                        <a:pt x="224907" y="1050478"/>
                      </a:lnTo>
                      <a:cubicBezTo>
                        <a:pt x="216679" y="1050478"/>
                        <a:pt x="208451" y="1058706"/>
                        <a:pt x="208451" y="1066935"/>
                      </a:cubicBezTo>
                      <a:cubicBezTo>
                        <a:pt x="208451" y="1075163"/>
                        <a:pt x="216679" y="1083391"/>
                        <a:pt x="224907" y="1083391"/>
                      </a:cubicBezTo>
                      <a:lnTo>
                        <a:pt x="408673" y="1083391"/>
                      </a:lnTo>
                      <a:cubicBezTo>
                        <a:pt x="422387" y="1083391"/>
                        <a:pt x="433357" y="1094362"/>
                        <a:pt x="433357" y="1108076"/>
                      </a:cubicBezTo>
                      <a:cubicBezTo>
                        <a:pt x="433357" y="1121790"/>
                        <a:pt x="422387" y="1132761"/>
                        <a:pt x="408673" y="1132761"/>
                      </a:cubicBezTo>
                      <a:lnTo>
                        <a:pt x="98741" y="1132761"/>
                      </a:lnTo>
                      <a:cubicBezTo>
                        <a:pt x="85027" y="1130018"/>
                        <a:pt x="74055" y="1119047"/>
                        <a:pt x="74055" y="1105333"/>
                      </a:cubicBezTo>
                      <a:lnTo>
                        <a:pt x="74055" y="1105333"/>
                      </a:lnTo>
                      <a:close/>
                      <a:moveTo>
                        <a:pt x="718605" y="1105333"/>
                      </a:moveTo>
                      <a:cubicBezTo>
                        <a:pt x="718605" y="1119047"/>
                        <a:pt x="707634" y="1130018"/>
                        <a:pt x="693920" y="1130018"/>
                      </a:cubicBezTo>
                      <a:lnTo>
                        <a:pt x="460785" y="1130018"/>
                      </a:lnTo>
                      <a:cubicBezTo>
                        <a:pt x="463528" y="1121790"/>
                        <a:pt x="466270" y="1113561"/>
                        <a:pt x="466270" y="1105333"/>
                      </a:cubicBezTo>
                      <a:cubicBezTo>
                        <a:pt x="466270" y="1097105"/>
                        <a:pt x="463528" y="1088877"/>
                        <a:pt x="460785" y="1080648"/>
                      </a:cubicBezTo>
                      <a:lnTo>
                        <a:pt x="693920" y="1080648"/>
                      </a:lnTo>
                      <a:cubicBezTo>
                        <a:pt x="707634" y="1077906"/>
                        <a:pt x="718605" y="1091619"/>
                        <a:pt x="718605" y="1105333"/>
                      </a:cubicBezTo>
                      <a:lnTo>
                        <a:pt x="718605" y="1105333"/>
                      </a:lnTo>
                      <a:close/>
                      <a:moveTo>
                        <a:pt x="976426" y="721347"/>
                      </a:moveTo>
                      <a:lnTo>
                        <a:pt x="938027" y="735060"/>
                      </a:lnTo>
                      <a:cubicBezTo>
                        <a:pt x="916085" y="743289"/>
                        <a:pt x="899627" y="765231"/>
                        <a:pt x="899627" y="789916"/>
                      </a:cubicBezTo>
                      <a:lnTo>
                        <a:pt x="899627" y="905112"/>
                      </a:lnTo>
                      <a:cubicBezTo>
                        <a:pt x="899627" y="935282"/>
                        <a:pt x="874943" y="957224"/>
                        <a:pt x="844772" y="954481"/>
                      </a:cubicBezTo>
                      <a:lnTo>
                        <a:pt x="729577" y="946253"/>
                      </a:lnTo>
                      <a:cubicBezTo>
                        <a:pt x="696664" y="943510"/>
                        <a:pt x="671978" y="968195"/>
                        <a:pt x="671978" y="1001108"/>
                      </a:cubicBezTo>
                      <a:lnTo>
                        <a:pt x="671978" y="1044992"/>
                      </a:lnTo>
                      <a:lnTo>
                        <a:pt x="419643" y="1044992"/>
                      </a:lnTo>
                      <a:lnTo>
                        <a:pt x="419643" y="1001108"/>
                      </a:lnTo>
                      <a:cubicBezTo>
                        <a:pt x="419643" y="990137"/>
                        <a:pt x="430615" y="979166"/>
                        <a:pt x="441587" y="981909"/>
                      </a:cubicBezTo>
                      <a:lnTo>
                        <a:pt x="556781" y="990137"/>
                      </a:lnTo>
                      <a:cubicBezTo>
                        <a:pt x="606153" y="992880"/>
                        <a:pt x="647294" y="954481"/>
                        <a:pt x="647294" y="907854"/>
                      </a:cubicBezTo>
                      <a:lnTo>
                        <a:pt x="647294" y="792658"/>
                      </a:lnTo>
                      <a:cubicBezTo>
                        <a:pt x="647294" y="781687"/>
                        <a:pt x="652778" y="773459"/>
                        <a:pt x="663750" y="767973"/>
                      </a:cubicBezTo>
                      <a:lnTo>
                        <a:pt x="702149" y="754260"/>
                      </a:lnTo>
                      <a:cubicBezTo>
                        <a:pt x="737805" y="740546"/>
                        <a:pt x="751519" y="696662"/>
                        <a:pt x="729577" y="663749"/>
                      </a:cubicBezTo>
                      <a:cubicBezTo>
                        <a:pt x="685692" y="595180"/>
                        <a:pt x="652778" y="570495"/>
                        <a:pt x="647294" y="518382"/>
                      </a:cubicBezTo>
                      <a:cubicBezTo>
                        <a:pt x="647294" y="512897"/>
                        <a:pt x="647294" y="510154"/>
                        <a:pt x="644550" y="504668"/>
                      </a:cubicBezTo>
                      <a:lnTo>
                        <a:pt x="877686" y="504668"/>
                      </a:lnTo>
                      <a:cubicBezTo>
                        <a:pt x="888657" y="504668"/>
                        <a:pt x="896885" y="512897"/>
                        <a:pt x="896885" y="521125"/>
                      </a:cubicBezTo>
                      <a:lnTo>
                        <a:pt x="896885" y="521125"/>
                      </a:lnTo>
                      <a:cubicBezTo>
                        <a:pt x="905113" y="586951"/>
                        <a:pt x="943513" y="617122"/>
                        <a:pt x="987396" y="682948"/>
                      </a:cubicBezTo>
                      <a:cubicBezTo>
                        <a:pt x="998368" y="693919"/>
                        <a:pt x="992882" y="713118"/>
                        <a:pt x="976426" y="721347"/>
                      </a:cubicBezTo>
                      <a:lnTo>
                        <a:pt x="976426" y="721347"/>
                      </a:lnTo>
                      <a:close/>
                    </a:path>
                  </a:pathLst>
                </a:custGeom>
                <a:grpFill/>
                <a:ln w="27426" cap="flat">
                  <a:noFill/>
                  <a:prstDash val="solid"/>
                  <a:miter/>
                </a:ln>
              </p:spPr>
              <p:txBody>
                <a:bodyPr rtlCol="0" anchor="ctr"/>
                <a:lstStyle/>
                <a:p>
                  <a:endParaRPr lang="en-US"/>
                </a:p>
              </p:txBody>
            </p:sp>
          </p:grpSp>
        </p:grpSp>
      </p:grpSp>
      <p:cxnSp>
        <p:nvCxnSpPr>
          <p:cNvPr id="76" name="Straight Connector 75">
            <a:extLst>
              <a:ext uri="{FF2B5EF4-FFF2-40B4-BE49-F238E27FC236}">
                <a16:creationId xmlns:a16="http://schemas.microsoft.com/office/drawing/2014/main" id="{0C65C96E-43E4-11A1-C292-563815262EE9}"/>
              </a:ext>
            </a:extLst>
          </p:cNvPr>
          <p:cNvCxnSpPr/>
          <p:nvPr/>
        </p:nvCxnSpPr>
        <p:spPr>
          <a:xfrm>
            <a:off x="3953023" y="1705807"/>
            <a:ext cx="8238976"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BD961CB0-1D39-7604-9FE9-B53575F44757}"/>
              </a:ext>
            </a:extLst>
          </p:cNvPr>
          <p:cNvCxnSpPr/>
          <p:nvPr/>
        </p:nvCxnSpPr>
        <p:spPr>
          <a:xfrm>
            <a:off x="3953023" y="3438264"/>
            <a:ext cx="8238976"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63CFBF68-2771-2571-D821-F2CCC76C215B}"/>
              </a:ext>
            </a:extLst>
          </p:cNvPr>
          <p:cNvCxnSpPr/>
          <p:nvPr/>
        </p:nvCxnSpPr>
        <p:spPr>
          <a:xfrm>
            <a:off x="3953024" y="5048098"/>
            <a:ext cx="8238976"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1173296"/>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8927ADD-EC99-3527-9DF1-A82E200C24BC}"/>
              </a:ext>
            </a:extLst>
          </p:cNvPr>
          <p:cNvSpPr>
            <a:spLocks noGrp="1"/>
          </p:cNvSpPr>
          <p:nvPr>
            <p:ph type="body" sz="quarter" idx="18"/>
          </p:nvPr>
        </p:nvSpPr>
        <p:spPr>
          <a:xfrm>
            <a:off x="518039" y="3157239"/>
            <a:ext cx="3613090" cy="3157772"/>
          </a:xfrm>
        </p:spPr>
        <p:txBody>
          <a:bodyPr>
            <a:normAutofit/>
          </a:bodyPr>
          <a:lstStyle/>
          <a:p>
            <a:pPr marL="14288" indent="-14288"/>
            <a:r>
              <a:rPr lang="en-US" sz="2200"/>
              <a:t>El primer paso para resolver un problema es saber a qué hay que enfrentarse. El término crisis no está definido de manera uniforme en la literatura académica, pero hay un acuerdo general a la hora de describir los efectos de una crisis en una empresa.</a:t>
            </a:r>
          </a:p>
          <a:p>
            <a:endParaRPr lang="en-US" sz="2200"/>
          </a:p>
          <a:p>
            <a:endParaRPr lang="en-US" sz="2200"/>
          </a:p>
        </p:txBody>
      </p:sp>
      <p:sp>
        <p:nvSpPr>
          <p:cNvPr id="2" name="Textplatzhalter 1">
            <a:extLst>
              <a:ext uri="{FF2B5EF4-FFF2-40B4-BE49-F238E27FC236}">
                <a16:creationId xmlns:a16="http://schemas.microsoft.com/office/drawing/2014/main" id="{79441155-F233-4D7B-BE18-27144DF2C0A2}"/>
              </a:ext>
            </a:extLst>
          </p:cNvPr>
          <p:cNvSpPr>
            <a:spLocks noGrp="1"/>
          </p:cNvSpPr>
          <p:nvPr>
            <p:ph type="body" sz="quarter" idx="16"/>
          </p:nvPr>
        </p:nvSpPr>
        <p:spPr>
          <a:xfrm>
            <a:off x="529758" y="642971"/>
            <a:ext cx="3897349" cy="2361485"/>
          </a:xfrm>
        </p:spPr>
        <p:txBody>
          <a:bodyPr>
            <a:normAutofit/>
          </a:bodyPr>
          <a:lstStyle/>
          <a:p>
            <a:r>
              <a:rPr lang="en-US" b="1"/>
              <a:t>¿Qué define una crisis empresarial?  </a:t>
            </a:r>
            <a:r>
              <a:rPr lang="en-US" b="1">
                <a:solidFill>
                  <a:srgbClr val="B41F7A"/>
                </a:solidFill>
              </a:rPr>
              <a:t>Definiciones importantes</a:t>
            </a:r>
          </a:p>
          <a:p>
            <a:endParaRPr lang="en-GB"/>
          </a:p>
        </p:txBody>
      </p:sp>
      <p:sp>
        <p:nvSpPr>
          <p:cNvPr id="8" name="Shape 348">
            <a:extLst>
              <a:ext uri="{FF2B5EF4-FFF2-40B4-BE49-F238E27FC236}">
                <a16:creationId xmlns:a16="http://schemas.microsoft.com/office/drawing/2014/main" id="{B0732C3B-2512-4BE2-A51C-5A611032A824}"/>
              </a:ext>
            </a:extLst>
          </p:cNvPr>
          <p:cNvSpPr/>
          <p:nvPr/>
        </p:nvSpPr>
        <p:spPr>
          <a:xfrm>
            <a:off x="4427107" y="0"/>
            <a:ext cx="7764893" cy="6892976"/>
          </a:xfrm>
          <a:prstGeom prst="rect">
            <a:avLst/>
          </a:prstGeom>
          <a:solidFill>
            <a:srgbClr val="B41F7A"/>
          </a:solidFill>
          <a:ln w="12700" cap="flat">
            <a:noFill/>
            <a:miter lim="400000"/>
          </a:ln>
          <a:effectLst/>
        </p:spPr>
        <p:txBody>
          <a:bodyPr wrap="square" lIns="0" tIns="0" rIns="0" bIns="0" numCol="1" anchor="t">
            <a:noAutofit/>
          </a:bodyPr>
          <a:lstStyle/>
          <a:p>
            <a:endParaRPr lang="en-GB" sz="1899">
              <a:latin typeface="+mj-lt"/>
            </a:endParaRPr>
          </a:p>
        </p:txBody>
      </p:sp>
      <p:sp>
        <p:nvSpPr>
          <p:cNvPr id="14" name="TextBox 23">
            <a:extLst>
              <a:ext uri="{FF2B5EF4-FFF2-40B4-BE49-F238E27FC236}">
                <a16:creationId xmlns:a16="http://schemas.microsoft.com/office/drawing/2014/main" id="{C5D7FD72-497C-4F23-997B-D8242B4826B6}"/>
              </a:ext>
            </a:extLst>
          </p:cNvPr>
          <p:cNvSpPr txBox="1"/>
          <p:nvPr/>
        </p:nvSpPr>
        <p:spPr>
          <a:xfrm>
            <a:off x="4527146" y="642971"/>
            <a:ext cx="7258708" cy="6817251"/>
          </a:xfrm>
          <a:prstGeom prst="rect">
            <a:avLst/>
          </a:prstGeom>
          <a:noFill/>
        </p:spPr>
        <p:txBody>
          <a:bodyPr wrap="square" rtlCol="0" anchor="ctr">
            <a:spAutoFit/>
          </a:bodyPr>
          <a:lstStyle/>
          <a:p>
            <a:r>
              <a:rPr lang="en-GB" sz="2000" b="1">
                <a:solidFill>
                  <a:srgbClr val="F16924"/>
                </a:solidFill>
                <a:highlight>
                  <a:srgbClr val="F16924"/>
                </a:highlight>
                <a:latin typeface="Calibri" panose="020F0502020204030204" pitchFamily="34" charset="0"/>
                <a:cs typeface="Calibri" panose="020F0502020204030204" pitchFamily="34" charset="0"/>
              </a:rPr>
              <a:t> Gestión de crisis . La gestión de crisis </a:t>
            </a:r>
            <a:r>
              <a:rPr lang="en-GB" sz="2000">
                <a:solidFill>
                  <a:schemeClr val="bg1"/>
                </a:solidFill>
                <a:latin typeface="Calibri" panose="020F0502020204030204" pitchFamily="34" charset="0"/>
                <a:cs typeface="Calibri" panose="020F0502020204030204" pitchFamily="34" charset="0"/>
              </a:rPr>
              <a:t>se define como un proceso sistemático, apoyado por las partes interesadas tanto internas como externas, para detectar las señales de crisis, prevenir y prepararse para los posibles daños, así como recuperarse y aprender de las crisis </a:t>
            </a:r>
            <a:r>
              <a:rPr lang="en-GB" sz="1100">
                <a:solidFill>
                  <a:schemeClr val="bg1"/>
                </a:solidFill>
                <a:latin typeface="Calibri" panose="020F0502020204030204" pitchFamily="34" charset="0"/>
                <a:cs typeface="Calibri" panose="020F0502020204030204" pitchFamily="34" charset="0"/>
              </a:rPr>
              <a:t>(Mitroff, 1988; Pearson y Mitroff, 1993; Pearson y Claire, 1998) tanto para los impactos negativos como para los positivos (Fink, 1986; Shrivastava, 1993). </a:t>
            </a:r>
            <a:endParaRPr lang="en-GB" sz="2000">
              <a:solidFill>
                <a:schemeClr val="bg1"/>
              </a:solidFill>
              <a:latin typeface="Calibri" panose="020F0502020204030204" pitchFamily="34" charset="0"/>
              <a:ea typeface="Lato Light" panose="020F0502020204030203" pitchFamily="34" charset="0"/>
              <a:cs typeface="Calibri" panose="020F0502020204030204" pitchFamily="34" charset="0"/>
            </a:endParaRPr>
          </a:p>
          <a:p>
            <a:endParaRPr lang="en-GB" sz="2000">
              <a:solidFill>
                <a:schemeClr val="bg1"/>
              </a:solidFill>
              <a:latin typeface="Calibri" panose="020F0502020204030204" pitchFamily="34" charset="0"/>
              <a:ea typeface="Lato Light" panose="020F0502020204030203" pitchFamily="34" charset="0"/>
              <a:cs typeface="Calibri" panose="020F0502020204030204" pitchFamily="34" charset="0"/>
            </a:endParaRPr>
          </a:p>
          <a:p>
            <a:r>
              <a:rPr lang="en-GB" sz="2000" b="1">
                <a:solidFill>
                  <a:schemeClr val="bg1"/>
                </a:solidFill>
                <a:highlight>
                  <a:srgbClr val="F16924"/>
                </a:highlight>
                <a:latin typeface="Calibri" panose="020F0502020204030204" pitchFamily="34" charset="0"/>
                <a:cs typeface="Calibri" panose="020F0502020204030204" pitchFamily="34" charset="0"/>
              </a:rPr>
              <a:t> Mecanismos de detección temprana </a:t>
            </a:r>
            <a:r>
              <a:rPr lang="en-GB" sz="2000">
                <a:solidFill>
                  <a:schemeClr val="bg1"/>
                </a:solidFill>
                <a:latin typeface="Calibri" panose="020F0502020204030204" pitchFamily="34" charset="0"/>
                <a:cs typeface="Calibri" panose="020F0502020204030204" pitchFamily="34" charset="0"/>
              </a:rPr>
              <a:t>Los sistemas de alerta temprana se utilizan principalmente para detectar las crisis antes de que se produzcan daños</a:t>
            </a:r>
            <a:endParaRPr lang="en-GB" sz="2000" b="1">
              <a:solidFill>
                <a:schemeClr val="bg1"/>
              </a:solidFill>
              <a:highlight>
                <a:srgbClr val="F16924"/>
              </a:highlight>
              <a:latin typeface="Calibri" panose="020F0502020204030204" pitchFamily="34" charset="0"/>
              <a:cs typeface="Calibri" panose="020F0502020204030204" pitchFamily="34" charset="0"/>
            </a:endParaRPr>
          </a:p>
          <a:p>
            <a:endParaRPr lang="en-GB" sz="2000" b="1">
              <a:solidFill>
                <a:schemeClr val="bg1"/>
              </a:solidFill>
              <a:highlight>
                <a:srgbClr val="F16924"/>
              </a:highlight>
              <a:latin typeface="Calibri" panose="020F0502020204030204" pitchFamily="34" charset="0"/>
              <a:cs typeface="Calibri" panose="020F0502020204030204" pitchFamily="34" charset="0"/>
            </a:endParaRPr>
          </a:p>
          <a:p>
            <a:r>
              <a:rPr lang="en-GB" sz="2000" b="1">
                <a:solidFill>
                  <a:schemeClr val="bg1"/>
                </a:solidFill>
                <a:highlight>
                  <a:srgbClr val="F16924"/>
                </a:highlight>
                <a:latin typeface="Calibri" panose="020F0502020204030204" pitchFamily="34" charset="0"/>
                <a:cs typeface="Calibri" panose="020F0502020204030204" pitchFamily="34" charset="0"/>
              </a:rPr>
              <a:t>Insolvencia </a:t>
            </a:r>
            <a:r>
              <a:rPr lang="en-GB" sz="2000" b="1">
                <a:solidFill>
                  <a:srgbClr val="F16924"/>
                </a:solidFill>
                <a:highlight>
                  <a:srgbClr val="F16924"/>
                </a:highlight>
                <a:latin typeface="Calibri" panose="020F0502020204030204" pitchFamily="34" charset="0"/>
                <a:cs typeface="Calibri" panose="020F0502020204030204" pitchFamily="34" charset="0"/>
              </a:rPr>
              <a:t>. </a:t>
            </a:r>
            <a:r>
              <a:rPr lang="en-GB" sz="2000">
                <a:solidFill>
                  <a:schemeClr val="bg1"/>
                </a:solidFill>
                <a:latin typeface="Calibri" panose="020F0502020204030204" pitchFamily="34" charset="0"/>
                <a:ea typeface="Lato Light" panose="020F0502020204030203" pitchFamily="34" charset="0"/>
                <a:cs typeface="Calibri" panose="020F0502020204030204" pitchFamily="34" charset="0"/>
              </a:rPr>
              <a:t>En un sentido jurídico simplificado: la insolvencia es la incapacidad de cumplir permanentemente las obligaciones financieras existentes. Las formas de insolvencia son la incapacidad de pago y el sobreendeudamiento.  La insolvencia es, por definición, un procedimiento judicial</a:t>
            </a:r>
          </a:p>
          <a:p>
            <a:endParaRPr lang="en-GB" sz="2000">
              <a:solidFill>
                <a:schemeClr val="bg1"/>
              </a:solidFill>
              <a:latin typeface="Calibri" panose="020F0502020204030204" pitchFamily="34" charset="0"/>
              <a:ea typeface="Lato Light" panose="020F0502020204030203" pitchFamily="34" charset="0"/>
              <a:cs typeface="Calibri" panose="020F0502020204030204" pitchFamily="34" charset="0"/>
            </a:endParaRPr>
          </a:p>
          <a:p>
            <a:r>
              <a:rPr lang="en-GB" sz="2000" b="1">
                <a:solidFill>
                  <a:srgbClr val="F16924"/>
                </a:solidFill>
                <a:highlight>
                  <a:srgbClr val="F16924"/>
                </a:highlight>
                <a:latin typeface="Calibri" panose="020F0502020204030204" pitchFamily="34" charset="0"/>
                <a:cs typeface="Calibri" panose="020F0502020204030204" pitchFamily="34" charset="0"/>
              </a:rPr>
              <a:t>La gestión de turnos . </a:t>
            </a:r>
            <a:r>
              <a:rPr lang="en-GB" sz="2000">
                <a:solidFill>
                  <a:schemeClr val="bg1"/>
                </a:solidFill>
                <a:latin typeface="Calibri" panose="020F0502020204030204" pitchFamily="34" charset="0"/>
                <a:ea typeface="Lato Light" panose="020F0502020204030203" pitchFamily="34" charset="0"/>
                <a:cs typeface="Calibri" panose="020F0502020204030204" pitchFamily="34" charset="0"/>
              </a:rPr>
              <a:t>es la aplicación de una serie de medidas necesarias para proteger a la empresa de la insolvencia y devolverla a la normalidad operativa y a la solvencia.  La gestión de la recuperación suele requerir un fuerte liderazgo y puede incluir la reestructuración y los despidos, la investigación de las causas del fracaso y los programas a largo plazo para reactivar la empresa.</a:t>
            </a:r>
          </a:p>
          <a:p>
            <a:endParaRPr lang="en-GB" sz="2200">
              <a:solidFill>
                <a:schemeClr val="bg1"/>
              </a:solidFill>
              <a:latin typeface="Calibri" panose="020F0502020204030204" pitchFamily="34" charset="0"/>
              <a:ea typeface="Lato Light" panose="020F0502020204030203" pitchFamily="34" charset="0"/>
              <a:cs typeface="Calibri" panose="020F0502020204030204" pitchFamily="34" charset="0"/>
            </a:endParaRPr>
          </a:p>
          <a:p>
            <a:endParaRPr lang="en-GB" sz="2200">
              <a:solidFill>
                <a:schemeClr val="bg1"/>
              </a:solidFill>
              <a:latin typeface="Calibri" panose="020F0502020204030204" pitchFamily="34" charset="0"/>
              <a:ea typeface="Lato Light" panose="020F0502020204030203"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37CA4AEC-7EBB-E180-455A-FC770FCFCBE4}"/>
              </a:ext>
            </a:extLst>
          </p:cNvPr>
          <p:cNvSpPr/>
          <p:nvPr/>
        </p:nvSpPr>
        <p:spPr>
          <a:xfrm>
            <a:off x="629797" y="2917730"/>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Montserrat Light" charset="0"/>
            </a:endParaRPr>
          </a:p>
        </p:txBody>
      </p:sp>
    </p:spTree>
    <p:extLst>
      <p:ext uri="{BB962C8B-B14F-4D97-AF65-F5344CB8AC3E}">
        <p14:creationId xmlns:p14="http://schemas.microsoft.com/office/powerpoint/2010/main" val="198064623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NET" val="6.0.8"/>
  <p:tag name="AS_OS" val="Unix 5.11.0.1022"/>
  <p:tag name="AS_RELEASE_DATE" val="2022.10.14"/>
  <p:tag name="AS_TITLE" val="Aspose.Slides for .NET5"/>
  <p:tag name="AS_VERSION" val="22.1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80</TotalTime>
  <Words>7099</Words>
  <Application>Microsoft Office PowerPoint</Application>
  <PresentationFormat>Panorámica</PresentationFormat>
  <Paragraphs>568</Paragraphs>
  <Slides>53</Slides>
  <Notes>10</Notes>
  <HiddenSlides>0</HiddenSlides>
  <MMClips>1</MMClips>
  <ScaleCrop>false</ScaleCrop>
  <HeadingPairs>
    <vt:vector size="8" baseType="variant">
      <vt:variant>
        <vt:lpstr>Fuentes usadas</vt:lpstr>
      </vt:variant>
      <vt:variant>
        <vt:i4>11</vt:i4>
      </vt:variant>
      <vt:variant>
        <vt:lpstr>Tema</vt:lpstr>
      </vt:variant>
      <vt:variant>
        <vt:i4>1</vt:i4>
      </vt:variant>
      <vt:variant>
        <vt:lpstr>Servidores OLE incrustados</vt:lpstr>
      </vt:variant>
      <vt:variant>
        <vt:i4>1</vt:i4>
      </vt:variant>
      <vt:variant>
        <vt:lpstr>Títulos de diapositiva</vt:lpstr>
      </vt:variant>
      <vt:variant>
        <vt:i4>53</vt:i4>
      </vt:variant>
    </vt:vector>
  </HeadingPairs>
  <TitlesOfParts>
    <vt:vector size="66" baseType="lpstr">
      <vt:lpstr>Arial</vt:lpstr>
      <vt:lpstr>Calibri</vt:lpstr>
      <vt:lpstr>Calibri Light</vt:lpstr>
      <vt:lpstr>Finlandica</vt:lpstr>
      <vt:lpstr>Lato Regular</vt:lpstr>
      <vt:lpstr>Montserrat</vt:lpstr>
      <vt:lpstr>Montserrat Light</vt:lpstr>
      <vt:lpstr>Montserrat Medium</vt:lpstr>
      <vt:lpstr>Nuacht Serif Text</vt:lpstr>
      <vt:lpstr>Quattrocento Sans</vt:lpstr>
      <vt:lpstr>Times New Roman</vt:lpstr>
      <vt:lpstr>Office Theme</vt:lpstr>
      <vt:lpstr>think-cell Foli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keywords>, docId:18C6BD2A27C74012ED9602D5DDA3EDA7</cp:keywords>
  <cp:lastModifiedBy>ances</cp:lastModifiedBy>
  <cp:revision>290</cp:revision>
  <cp:lastPrinted>2022-09-17T08:27:20Z</cp:lastPrinted>
  <dcterms:created xsi:type="dcterms:W3CDTF">2020-10-14T13:32:04Z</dcterms:created>
  <dcterms:modified xsi:type="dcterms:W3CDTF">2022-11-07T15:26:41Z</dcterms:modified>
</cp:coreProperties>
</file>